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5.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 id="2147483697" r:id="rId5"/>
    <p:sldMasterId id="2147483743" r:id="rId6"/>
    <p:sldMasterId id="2147483836" r:id="rId7"/>
    <p:sldMasterId id="2147483857" r:id="rId8"/>
    <p:sldMasterId id="2147484034" r:id="rId9"/>
  </p:sldMasterIdLst>
  <p:notesMasterIdLst>
    <p:notesMasterId r:id="rId30"/>
  </p:notesMasterIdLst>
  <p:handoutMasterIdLst>
    <p:handoutMasterId r:id="rId31"/>
  </p:handoutMasterIdLst>
  <p:sldIdLst>
    <p:sldId id="259" r:id="rId10"/>
    <p:sldId id="338" r:id="rId11"/>
    <p:sldId id="445" r:id="rId12"/>
    <p:sldId id="399" r:id="rId13"/>
    <p:sldId id="400" r:id="rId14"/>
    <p:sldId id="4168" r:id="rId15"/>
    <p:sldId id="405" r:id="rId16"/>
    <p:sldId id="406" r:id="rId17"/>
    <p:sldId id="347" r:id="rId18"/>
    <p:sldId id="412" r:id="rId19"/>
    <p:sldId id="413" r:id="rId20"/>
    <p:sldId id="414" r:id="rId21"/>
    <p:sldId id="282" r:id="rId22"/>
    <p:sldId id="407" r:id="rId23"/>
    <p:sldId id="408" r:id="rId24"/>
    <p:sldId id="402" r:id="rId25"/>
    <p:sldId id="409" r:id="rId26"/>
    <p:sldId id="403" r:id="rId27"/>
    <p:sldId id="446" r:id="rId28"/>
    <p:sldId id="401" r:id="rId29"/>
  </p:sldIdLst>
  <p:sldSz cx="12192000" cy="6858000"/>
  <p:notesSz cx="6797675" cy="9926638"/>
  <p:embeddedFontLst>
    <p:embeddedFont>
      <p:font typeface="Ericsson Capital TT" panose="02000503000000020004" pitchFamily="2" charset="0"/>
      <p:regular r:id="rId32"/>
    </p:embeddedFont>
    <p:embeddedFont>
      <p:font typeface="Ericsson Technical Icons" panose="00000500000000000000" pitchFamily="2" charset="0"/>
      <p:regular r:id="rId33"/>
    </p:embeddedFont>
    <p:embeddedFont>
      <p:font typeface="Ericsson Hilda" panose="00000500000000000000" pitchFamily="2" charset="0"/>
      <p:regular r:id="rId34"/>
      <p:bold r:id="rId35"/>
      <p:italic r:id="rId36"/>
      <p:boldItalic r:id="rId37"/>
    </p:embeddedFont>
    <p:embeddedFont>
      <p:font typeface="Arial Unicode MS" panose="020B0604020202020204" charset="0"/>
      <p:regular r:id="rId38"/>
    </p:embeddedFont>
    <p:embeddedFont>
      <p:font typeface="MS PGothic" panose="020B0600070205080204" pitchFamily="34" charset="-128"/>
      <p:regular r:id="rId39"/>
    </p:embeddedFont>
    <p:embeddedFont>
      <p:font typeface="Ericsson Hilda Light" panose="00000600000000000000" pitchFamily="2" charset="0"/>
      <p:regular r:id="rId40"/>
      <p:bold r:id="rId41"/>
    </p:embeddedFont>
    <p:embeddedFont>
      <p:font typeface="Segoe UI Semilight" panose="020B0402040204020203" pitchFamily="34" charset="0"/>
      <p:regular r:id="rId42"/>
      <p:italic r:id="rId43"/>
    </p:embeddedFont>
    <p:embeddedFont>
      <p:font typeface="Hilda Light" panose="020B0604020202020204" charset="0"/>
      <p:regular r:id="rId44"/>
      <p:bold r:id="rId45"/>
      <p:italic r:id="rId46"/>
      <p:boldItalic r:id="rId47"/>
    </p:embeddedFont>
    <p:embeddedFont>
      <p:font typeface="Batang" panose="02030600000101010101" pitchFamily="18" charset="-127"/>
      <p:regular r:id="rId48"/>
    </p:embeddedFont>
    <p:embeddedFont>
      <p:font typeface="MS PGothic" panose="020B0600070205080204" pitchFamily="34" charset="-128"/>
      <p:regular r:id="rId39"/>
    </p:embeddedFont>
    <p:embeddedFont>
      <p:font typeface="Calibri" panose="020F0502020204030204" pitchFamily="34" charset="0"/>
      <p:regular r:id="rId49"/>
      <p:bold r:id="rId50"/>
      <p:italic r:id="rId51"/>
      <p:boldItalic r:id="rId5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D300"/>
    <a:srgbClr val="767676"/>
    <a:srgbClr val="FFFFFF"/>
    <a:srgbClr val="E0E0E0"/>
    <a:srgbClr val="FFFCF4"/>
    <a:srgbClr val="181818"/>
    <a:srgbClr val="2424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8318EF-0676-4AF2-B908-ADF63CAFAA72}" v="2046" dt="2019-02-12T15:10:35.7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907" autoAdjust="0"/>
  </p:normalViewPr>
  <p:slideViewPr>
    <p:cSldViewPr snapToGrid="0" snapToObjects="1" showGuides="1">
      <p:cViewPr varScale="1">
        <p:scale>
          <a:sx n="41" d="100"/>
          <a:sy n="41" d="100"/>
        </p:scale>
        <p:origin x="330" y="90"/>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font" Target="fonts/font8.fntdata"/><Relationship Id="rId21" Type="http://schemas.openxmlformats.org/officeDocument/2006/relationships/slide" Target="slides/slide12.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font" Target="fonts/font10.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5.fntdata"/><Relationship Id="rId49" Type="http://schemas.openxmlformats.org/officeDocument/2006/relationships/font" Target="fonts/font18.fntdata"/><Relationship Id="rId57"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handoutMaster" Target="handoutMasters/handoutMaster1.xml"/><Relationship Id="rId44" Type="http://schemas.openxmlformats.org/officeDocument/2006/relationships/font" Target="fonts/font13.fntdata"/><Relationship Id="rId52" Type="http://schemas.openxmlformats.org/officeDocument/2006/relationships/font" Target="fonts/font21.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20.fntdata"/><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nu Moodley" userId="a692efb4-2302-46bf-a652-3ae1b1cbf713" providerId="ADAL" clId="{928318EF-0676-4AF2-B908-ADF63CAFAA72}"/>
    <pc:docChg chg="undo redo custSel addSld delSld modSld modMainMaster modSection modHandout">
      <pc:chgData name="Ranu Moodley" userId="a692efb4-2302-46bf-a652-3ae1b1cbf713" providerId="ADAL" clId="{928318EF-0676-4AF2-B908-ADF63CAFAA72}" dt="2019-02-12T15:10:35.703" v="3431"/>
      <pc:docMkLst>
        <pc:docMk/>
      </pc:docMkLst>
      <pc:sldChg chg="modSp modNotes">
        <pc:chgData name="Ranu Moodley" userId="a692efb4-2302-46bf-a652-3ae1b1cbf713" providerId="ADAL" clId="{928318EF-0676-4AF2-B908-ADF63CAFAA72}" dt="2019-02-12T13:58:27.282" v="3210" actId="20577"/>
        <pc:sldMkLst>
          <pc:docMk/>
          <pc:sldMk cId="2189475887" sldId="259"/>
        </pc:sldMkLst>
        <pc:spChg chg="mod">
          <ac:chgData name="Ranu Moodley" userId="a692efb4-2302-46bf-a652-3ae1b1cbf713" providerId="ADAL" clId="{928318EF-0676-4AF2-B908-ADF63CAFAA72}" dt="2019-02-09T08:41:18.367" v="3165" actId="1076"/>
          <ac:spMkLst>
            <pc:docMk/>
            <pc:sldMk cId="2189475887" sldId="259"/>
            <ac:spMk id="2" creationId="{3B965DB9-990D-42FA-8A96-AE9E2B1A33B1}"/>
          </ac:spMkLst>
        </pc:spChg>
        <pc:spChg chg="mod">
          <ac:chgData name="Ranu Moodley" userId="a692efb4-2302-46bf-a652-3ae1b1cbf713" providerId="ADAL" clId="{928318EF-0676-4AF2-B908-ADF63CAFAA72}" dt="2019-02-09T08:38:38.302" v="3160" actId="1076"/>
          <ac:spMkLst>
            <pc:docMk/>
            <pc:sldMk cId="2189475887" sldId="259"/>
            <ac:spMk id="3" creationId="{BB1DC945-4710-4796-AC34-0832F26E36A9}"/>
          </ac:spMkLst>
        </pc:spChg>
      </pc:sldChg>
      <pc:sldChg chg="modSp modTransition">
        <pc:chgData name="Ranu Moodley" userId="a692efb4-2302-46bf-a652-3ae1b1cbf713" providerId="ADAL" clId="{928318EF-0676-4AF2-B908-ADF63CAFAA72}" dt="2019-02-12T15:10:35.703" v="3431"/>
        <pc:sldMkLst>
          <pc:docMk/>
          <pc:sldMk cId="1442471101" sldId="289"/>
        </pc:sldMkLst>
        <pc:spChg chg="mod">
          <ac:chgData name="Ranu Moodley" userId="a692efb4-2302-46bf-a652-3ae1b1cbf713" providerId="ADAL" clId="{928318EF-0676-4AF2-B908-ADF63CAFAA72}" dt="2019-02-12T15:10:20.914" v="3430" actId="207"/>
          <ac:spMkLst>
            <pc:docMk/>
            <pc:sldMk cId="1442471101" sldId="289"/>
            <ac:spMk id="234" creationId="{C0881973-FB60-4D19-A60A-2142B87EA610}"/>
          </ac:spMkLst>
        </pc:spChg>
      </pc:sldChg>
      <pc:sldChg chg="modNotes">
        <pc:chgData name="Ranu Moodley" userId="a692efb4-2302-46bf-a652-3ae1b1cbf713" providerId="ADAL" clId="{928318EF-0676-4AF2-B908-ADF63CAFAA72}" dt="2019-02-12T13:58:27.290" v="3214" actId="20577"/>
        <pc:sldMkLst>
          <pc:docMk/>
          <pc:sldMk cId="3541182326" sldId="338"/>
        </pc:sldMkLst>
      </pc:sldChg>
      <pc:sldChg chg="delSp modSp modNotes">
        <pc:chgData name="Ranu Moodley" userId="a692efb4-2302-46bf-a652-3ae1b1cbf713" providerId="ADAL" clId="{928318EF-0676-4AF2-B908-ADF63CAFAA72}" dt="2019-02-12T14:52:59.541" v="3374" actId="478"/>
        <pc:sldMkLst>
          <pc:docMk/>
          <pc:sldMk cId="2317220314" sldId="382"/>
        </pc:sldMkLst>
        <pc:spChg chg="del">
          <ac:chgData name="Ranu Moodley" userId="a692efb4-2302-46bf-a652-3ae1b1cbf713" providerId="ADAL" clId="{928318EF-0676-4AF2-B908-ADF63CAFAA72}" dt="2019-02-09T11:38:40.034" v="3168" actId="478"/>
          <ac:spMkLst>
            <pc:docMk/>
            <pc:sldMk cId="2317220314" sldId="382"/>
            <ac:spMk id="4" creationId="{00000000-0000-0000-0000-000000000000}"/>
          </ac:spMkLst>
        </pc:spChg>
        <pc:spChg chg="mod">
          <ac:chgData name="Ranu Moodley" userId="a692efb4-2302-46bf-a652-3ae1b1cbf713" providerId="ADAL" clId="{928318EF-0676-4AF2-B908-ADF63CAFAA72}" dt="2019-02-12T14:52:02.935" v="3358" actId="20577"/>
          <ac:spMkLst>
            <pc:docMk/>
            <pc:sldMk cId="2317220314" sldId="382"/>
            <ac:spMk id="15" creationId="{00000000-0000-0000-0000-000000000000}"/>
          </ac:spMkLst>
        </pc:spChg>
        <pc:spChg chg="mod">
          <ac:chgData name="Ranu Moodley" userId="a692efb4-2302-46bf-a652-3ae1b1cbf713" providerId="ADAL" clId="{928318EF-0676-4AF2-B908-ADF63CAFAA72}" dt="2019-02-12T14:52:47.580" v="3373" actId="20577"/>
          <ac:spMkLst>
            <pc:docMk/>
            <pc:sldMk cId="2317220314" sldId="382"/>
            <ac:spMk id="41" creationId="{00000000-0000-0000-0000-000000000000}"/>
          </ac:spMkLst>
        </pc:spChg>
        <pc:spChg chg="mod">
          <ac:chgData name="Ranu Moodley" userId="a692efb4-2302-46bf-a652-3ae1b1cbf713" providerId="ADAL" clId="{928318EF-0676-4AF2-B908-ADF63CAFAA72}" dt="2019-02-12T14:51:34.567" v="3347" actId="6549"/>
          <ac:spMkLst>
            <pc:docMk/>
            <pc:sldMk cId="2317220314" sldId="382"/>
            <ac:spMk id="51" creationId="{00000000-0000-0000-0000-000000000000}"/>
          </ac:spMkLst>
        </pc:spChg>
        <pc:picChg chg="del mod">
          <ac:chgData name="Ranu Moodley" userId="a692efb4-2302-46bf-a652-3ae1b1cbf713" providerId="ADAL" clId="{928318EF-0676-4AF2-B908-ADF63CAFAA72}" dt="2019-02-12T14:51:44.262" v="3349" actId="478"/>
          <ac:picMkLst>
            <pc:docMk/>
            <pc:sldMk cId="2317220314" sldId="382"/>
            <ac:picMk id="50" creationId="{00000000-0000-0000-0000-000000000000}"/>
          </ac:picMkLst>
        </pc:picChg>
        <pc:cxnChg chg="del">
          <ac:chgData name="Ranu Moodley" userId="a692efb4-2302-46bf-a652-3ae1b1cbf713" providerId="ADAL" clId="{928318EF-0676-4AF2-B908-ADF63CAFAA72}" dt="2019-02-12T14:52:59.541" v="3374" actId="478"/>
          <ac:cxnSpMkLst>
            <pc:docMk/>
            <pc:sldMk cId="2317220314" sldId="382"/>
            <ac:cxnSpMk id="12" creationId="{00000000-0000-0000-0000-000000000000}"/>
          </ac:cxnSpMkLst>
        </pc:cxnChg>
        <pc:cxnChg chg="del">
          <ac:chgData name="Ranu Moodley" userId="a692efb4-2302-46bf-a652-3ae1b1cbf713" providerId="ADAL" clId="{928318EF-0676-4AF2-B908-ADF63CAFAA72}" dt="2019-02-12T14:52:59.541" v="3374" actId="478"/>
          <ac:cxnSpMkLst>
            <pc:docMk/>
            <pc:sldMk cId="2317220314" sldId="382"/>
            <ac:cxnSpMk id="17" creationId="{00000000-0000-0000-0000-000000000000}"/>
          </ac:cxnSpMkLst>
        </pc:cxnChg>
      </pc:sldChg>
      <pc:sldChg chg="modSp modNotes">
        <pc:chgData name="Ranu Moodley" userId="a692efb4-2302-46bf-a652-3ae1b1cbf713" providerId="ADAL" clId="{928318EF-0676-4AF2-B908-ADF63CAFAA72}" dt="2019-02-12T15:07:40.998" v="3428" actId="1076"/>
        <pc:sldMkLst>
          <pc:docMk/>
          <pc:sldMk cId="1139863456" sldId="399"/>
        </pc:sldMkLst>
        <pc:spChg chg="mod">
          <ac:chgData name="Ranu Moodley" userId="a692efb4-2302-46bf-a652-3ae1b1cbf713" providerId="ADAL" clId="{928318EF-0676-4AF2-B908-ADF63CAFAA72}" dt="2019-02-12T15:07:40.998" v="3428" actId="1076"/>
          <ac:spMkLst>
            <pc:docMk/>
            <pc:sldMk cId="1139863456" sldId="399"/>
            <ac:spMk id="2" creationId="{335EA362-9C20-4073-8555-20D45FCB778E}"/>
          </ac:spMkLst>
        </pc:spChg>
      </pc:sldChg>
      <pc:sldChg chg="addSp delSp modSp modNotes">
        <pc:chgData name="Ranu Moodley" userId="a692efb4-2302-46bf-a652-3ae1b1cbf713" providerId="ADAL" clId="{928318EF-0676-4AF2-B908-ADF63CAFAA72}" dt="2019-02-12T15:07:07.508" v="3424" actId="122"/>
        <pc:sldMkLst>
          <pc:docMk/>
          <pc:sldMk cId="655945556" sldId="400"/>
        </pc:sldMkLst>
        <pc:spChg chg="del">
          <ac:chgData name="Ranu Moodley" userId="a692efb4-2302-46bf-a652-3ae1b1cbf713" providerId="ADAL" clId="{928318EF-0676-4AF2-B908-ADF63CAFAA72}" dt="2019-01-24T05:57:27.789" v="2811" actId="478"/>
          <ac:spMkLst>
            <pc:docMk/>
            <pc:sldMk cId="655945556" sldId="400"/>
            <ac:spMk id="2" creationId="{F6C8F042-1B2D-4100-A348-0B3B7C297952}"/>
          </ac:spMkLst>
        </pc:spChg>
        <pc:spChg chg="del">
          <ac:chgData name="Ranu Moodley" userId="a692efb4-2302-46bf-a652-3ae1b1cbf713" providerId="ADAL" clId="{928318EF-0676-4AF2-B908-ADF63CAFAA72}" dt="2019-01-24T05:57:27.789" v="2811" actId="478"/>
          <ac:spMkLst>
            <pc:docMk/>
            <pc:sldMk cId="655945556" sldId="400"/>
            <ac:spMk id="3" creationId="{226E21F6-5D17-414E-BA75-3799EC6A1D49}"/>
          </ac:spMkLst>
        </pc:spChg>
        <pc:spChg chg="del">
          <ac:chgData name="Ranu Moodley" userId="a692efb4-2302-46bf-a652-3ae1b1cbf713" providerId="ADAL" clId="{928318EF-0676-4AF2-B908-ADF63CAFAA72}" dt="2019-01-24T05:57:27.789" v="2811" actId="478"/>
          <ac:spMkLst>
            <pc:docMk/>
            <pc:sldMk cId="655945556" sldId="400"/>
            <ac:spMk id="5" creationId="{D23AD4BD-B843-494A-ABDC-E1A187C56F52}"/>
          </ac:spMkLst>
        </pc:spChg>
        <pc:spChg chg="add mod">
          <ac:chgData name="Ranu Moodley" userId="a692efb4-2302-46bf-a652-3ae1b1cbf713" providerId="ADAL" clId="{928318EF-0676-4AF2-B908-ADF63CAFAA72}" dt="2019-01-24T05:57:40.008" v="2812" actId="14100"/>
          <ac:spMkLst>
            <pc:docMk/>
            <pc:sldMk cId="655945556" sldId="400"/>
            <ac:spMk id="7" creationId="{4511EBBA-A88E-406A-8857-DDF93DFF0748}"/>
          </ac:spMkLst>
        </pc:spChg>
        <pc:spChg chg="add mod">
          <ac:chgData name="Ranu Moodley" userId="a692efb4-2302-46bf-a652-3ae1b1cbf713" providerId="ADAL" clId="{928318EF-0676-4AF2-B908-ADF63CAFAA72}" dt="2019-01-24T05:57:40.008" v="2812" actId="14100"/>
          <ac:spMkLst>
            <pc:docMk/>
            <pc:sldMk cId="655945556" sldId="400"/>
            <ac:spMk id="17" creationId="{356BD799-D9CB-4B1F-84C1-4320E7080CA5}"/>
          </ac:spMkLst>
        </pc:spChg>
        <pc:spChg chg="mod">
          <ac:chgData name="Ranu Moodley" userId="a692efb4-2302-46bf-a652-3ae1b1cbf713" providerId="ADAL" clId="{928318EF-0676-4AF2-B908-ADF63CAFAA72}" dt="2019-02-12T15:07:07.508" v="3424" actId="122"/>
          <ac:spMkLst>
            <pc:docMk/>
            <pc:sldMk cId="655945556" sldId="400"/>
            <ac:spMk id="18" creationId="{19C78D74-C475-47E5-AC05-3F0142FF0806}"/>
          </ac:spMkLst>
        </pc:spChg>
        <pc:spChg chg="add mod">
          <ac:chgData name="Ranu Moodley" userId="a692efb4-2302-46bf-a652-3ae1b1cbf713" providerId="ADAL" clId="{928318EF-0676-4AF2-B908-ADF63CAFAA72}" dt="2019-01-24T05:57:40.008" v="2812" actId="14100"/>
          <ac:spMkLst>
            <pc:docMk/>
            <pc:sldMk cId="655945556" sldId="400"/>
            <ac:spMk id="19" creationId="{63398C00-7AE2-41E4-A9F7-811CAB77C4D0}"/>
          </ac:spMkLst>
        </pc:spChg>
        <pc:spChg chg="mod">
          <ac:chgData name="Ranu Moodley" userId="a692efb4-2302-46bf-a652-3ae1b1cbf713" providerId="ADAL" clId="{928318EF-0676-4AF2-B908-ADF63CAFAA72}" dt="2019-02-09T10:52:36.988" v="3167" actId="1076"/>
          <ac:spMkLst>
            <pc:docMk/>
            <pc:sldMk cId="655945556" sldId="400"/>
            <ac:spMk id="44" creationId="{A6ACF11F-10B1-4113-B6E2-9927A0892568}"/>
          </ac:spMkLst>
        </pc:spChg>
      </pc:sldChg>
      <pc:sldChg chg="modNotes">
        <pc:chgData name="Ranu Moodley" userId="a692efb4-2302-46bf-a652-3ae1b1cbf713" providerId="ADAL" clId="{928318EF-0676-4AF2-B908-ADF63CAFAA72}" dt="2019-02-12T13:58:27.358" v="3250" actId="20577"/>
        <pc:sldMkLst>
          <pc:docMk/>
          <pc:sldMk cId="2022206809" sldId="401"/>
        </pc:sldMkLst>
      </pc:sldChg>
      <pc:sldChg chg="addSp delSp modSp modNotes">
        <pc:chgData name="Ranu Moodley" userId="a692efb4-2302-46bf-a652-3ae1b1cbf713" providerId="ADAL" clId="{928318EF-0676-4AF2-B908-ADF63CAFAA72}" dt="2019-02-12T13:58:27.390" v="3266" actId="20577"/>
        <pc:sldMkLst>
          <pc:docMk/>
          <pc:sldMk cId="2906885567" sldId="402"/>
        </pc:sldMkLst>
        <pc:spChg chg="mod">
          <ac:chgData name="Ranu Moodley" userId="a692efb4-2302-46bf-a652-3ae1b1cbf713" providerId="ADAL" clId="{928318EF-0676-4AF2-B908-ADF63CAFAA72}" dt="2019-01-14T07:45:20.400" v="467" actId="207"/>
          <ac:spMkLst>
            <pc:docMk/>
            <pc:sldMk cId="2906885567" sldId="402"/>
            <ac:spMk id="3" creationId="{2AFE6A04-2BED-4644-ACC2-027A476EF2F6}"/>
          </ac:spMkLst>
        </pc:spChg>
        <pc:spChg chg="mod">
          <ac:chgData name="Ranu Moodley" userId="a692efb4-2302-46bf-a652-3ae1b1cbf713" providerId="ADAL" clId="{928318EF-0676-4AF2-B908-ADF63CAFAA72}" dt="2019-01-14T07:43:34.397" v="448" actId="122"/>
          <ac:spMkLst>
            <pc:docMk/>
            <pc:sldMk cId="2906885567" sldId="402"/>
            <ac:spMk id="15" creationId="{4AB9647B-995B-4E42-A8C0-C1754BB9AD8B}"/>
          </ac:spMkLst>
        </pc:spChg>
        <pc:spChg chg="mod">
          <ac:chgData name="Ranu Moodley" userId="a692efb4-2302-46bf-a652-3ae1b1cbf713" providerId="ADAL" clId="{928318EF-0676-4AF2-B908-ADF63CAFAA72}" dt="2019-01-14T07:43:34.397" v="448" actId="122"/>
          <ac:spMkLst>
            <pc:docMk/>
            <pc:sldMk cId="2906885567" sldId="402"/>
            <ac:spMk id="16" creationId="{198E8A7D-FE76-4B49-A44B-A625DCA325CC}"/>
          </ac:spMkLst>
        </pc:spChg>
        <pc:spChg chg="mod">
          <ac:chgData name="Ranu Moodley" userId="a692efb4-2302-46bf-a652-3ae1b1cbf713" providerId="ADAL" clId="{928318EF-0676-4AF2-B908-ADF63CAFAA72}" dt="2019-01-14T07:44:20.861" v="459" actId="208"/>
          <ac:spMkLst>
            <pc:docMk/>
            <pc:sldMk cId="2906885567" sldId="402"/>
            <ac:spMk id="18" creationId="{728A5B50-4CC3-4774-918E-5C5900256711}"/>
          </ac:spMkLst>
        </pc:spChg>
        <pc:spChg chg="mod">
          <ac:chgData name="Ranu Moodley" userId="a692efb4-2302-46bf-a652-3ae1b1cbf713" providerId="ADAL" clId="{928318EF-0676-4AF2-B908-ADF63CAFAA72}" dt="2019-01-14T07:44:27.365" v="460" actId="207"/>
          <ac:spMkLst>
            <pc:docMk/>
            <pc:sldMk cId="2906885567" sldId="402"/>
            <ac:spMk id="19" creationId="{D61E2896-8229-4237-975B-BB8B3777CBEB}"/>
          </ac:spMkLst>
        </pc:spChg>
        <pc:spChg chg="del mod">
          <ac:chgData name="Ranu Moodley" userId="a692efb4-2302-46bf-a652-3ae1b1cbf713" providerId="ADAL" clId="{928318EF-0676-4AF2-B908-ADF63CAFAA72}" dt="2019-01-14T07:37:43.332" v="324" actId="478"/>
          <ac:spMkLst>
            <pc:docMk/>
            <pc:sldMk cId="2906885567" sldId="402"/>
            <ac:spMk id="20" creationId="{5B2ACD0F-6E23-4EF3-ADF1-4D788946EE3C}"/>
          </ac:spMkLst>
        </pc:spChg>
        <pc:spChg chg="add del">
          <ac:chgData name="Ranu Moodley" userId="a692efb4-2302-46bf-a652-3ae1b1cbf713" providerId="ADAL" clId="{928318EF-0676-4AF2-B908-ADF63CAFAA72}" dt="2019-01-11T15:30:39.470" v="257" actId="1076"/>
          <ac:spMkLst>
            <pc:docMk/>
            <pc:sldMk cId="2906885567" sldId="402"/>
            <ac:spMk id="23" creationId="{CC86CDD3-F010-438D-AA61-99D216E1087D}"/>
          </ac:spMkLst>
        </pc:spChg>
        <pc:spChg chg="del">
          <ac:chgData name="Ranu Moodley" userId="a692efb4-2302-46bf-a652-3ae1b1cbf713" providerId="ADAL" clId="{928318EF-0676-4AF2-B908-ADF63CAFAA72}" dt="2019-01-14T07:33:39.235" v="317" actId="478"/>
          <ac:spMkLst>
            <pc:docMk/>
            <pc:sldMk cId="2906885567" sldId="402"/>
            <ac:spMk id="24" creationId="{D4B18608-69AD-4BA5-9077-6B6F1CD6AB49}"/>
          </ac:spMkLst>
        </pc:spChg>
        <pc:spChg chg="add del">
          <ac:chgData name="Ranu Moodley" userId="a692efb4-2302-46bf-a652-3ae1b1cbf713" providerId="ADAL" clId="{928318EF-0676-4AF2-B908-ADF63CAFAA72}" dt="2019-01-11T15:30:39.470" v="257" actId="1076"/>
          <ac:spMkLst>
            <pc:docMk/>
            <pc:sldMk cId="2906885567" sldId="402"/>
            <ac:spMk id="25" creationId="{0BB62D33-7F6B-4730-8EB7-3DF93D91665E}"/>
          </ac:spMkLst>
        </pc:spChg>
        <pc:spChg chg="add del">
          <ac:chgData name="Ranu Moodley" userId="a692efb4-2302-46bf-a652-3ae1b1cbf713" providerId="ADAL" clId="{928318EF-0676-4AF2-B908-ADF63CAFAA72}" dt="2019-01-11T15:30:39.470" v="257" actId="1076"/>
          <ac:spMkLst>
            <pc:docMk/>
            <pc:sldMk cId="2906885567" sldId="402"/>
            <ac:spMk id="30" creationId="{5C509570-A960-40EE-BD76-F7BE8B6173C8}"/>
          </ac:spMkLst>
        </pc:spChg>
        <pc:spChg chg="add del">
          <ac:chgData name="Ranu Moodley" userId="a692efb4-2302-46bf-a652-3ae1b1cbf713" providerId="ADAL" clId="{928318EF-0676-4AF2-B908-ADF63CAFAA72}" dt="2019-01-11T15:30:39.470" v="257" actId="1076"/>
          <ac:spMkLst>
            <pc:docMk/>
            <pc:sldMk cId="2906885567" sldId="402"/>
            <ac:spMk id="31" creationId="{759C817F-C0FC-4A2D-8C9D-F22C268C5676}"/>
          </ac:spMkLst>
        </pc:spChg>
        <pc:spChg chg="add del">
          <ac:chgData name="Ranu Moodley" userId="a692efb4-2302-46bf-a652-3ae1b1cbf713" providerId="ADAL" clId="{928318EF-0676-4AF2-B908-ADF63CAFAA72}" dt="2019-01-11T15:30:39.470" v="257" actId="1076"/>
          <ac:spMkLst>
            <pc:docMk/>
            <pc:sldMk cId="2906885567" sldId="402"/>
            <ac:spMk id="32" creationId="{860FA28A-D0BE-4588-AC25-0FD39C8CB45B}"/>
          </ac:spMkLst>
        </pc:spChg>
        <pc:spChg chg="add del">
          <ac:chgData name="Ranu Moodley" userId="a692efb4-2302-46bf-a652-3ae1b1cbf713" providerId="ADAL" clId="{928318EF-0676-4AF2-B908-ADF63CAFAA72}" dt="2019-01-11T15:30:39.470" v="257" actId="1076"/>
          <ac:spMkLst>
            <pc:docMk/>
            <pc:sldMk cId="2906885567" sldId="402"/>
            <ac:spMk id="33" creationId="{E5CA8BC9-70F2-4B1A-A925-F5021682FDB2}"/>
          </ac:spMkLst>
        </pc:spChg>
        <pc:spChg chg="del">
          <ac:chgData name="Ranu Moodley" userId="a692efb4-2302-46bf-a652-3ae1b1cbf713" providerId="ADAL" clId="{928318EF-0676-4AF2-B908-ADF63CAFAA72}" dt="2019-01-14T07:37:43.332" v="324" actId="478"/>
          <ac:spMkLst>
            <pc:docMk/>
            <pc:sldMk cId="2906885567" sldId="402"/>
            <ac:spMk id="34" creationId="{27B471AE-BDC4-44D4-8687-58E9CE040A56}"/>
          </ac:spMkLst>
        </pc:spChg>
        <pc:spChg chg="mod">
          <ac:chgData name="Ranu Moodley" userId="a692efb4-2302-46bf-a652-3ae1b1cbf713" providerId="ADAL" clId="{928318EF-0676-4AF2-B908-ADF63CAFAA72}" dt="2019-01-14T07:37:57.157" v="328" actId="14100"/>
          <ac:spMkLst>
            <pc:docMk/>
            <pc:sldMk cId="2906885567" sldId="402"/>
            <ac:spMk id="35" creationId="{CC03EC0E-2877-4F7D-84E9-CC96FE0276A6}"/>
          </ac:spMkLst>
        </pc:spChg>
        <pc:spChg chg="mod">
          <ac:chgData name="Ranu Moodley" userId="a692efb4-2302-46bf-a652-3ae1b1cbf713" providerId="ADAL" clId="{928318EF-0676-4AF2-B908-ADF63CAFAA72}" dt="2019-01-14T07:50:41.294" v="510" actId="1076"/>
          <ac:spMkLst>
            <pc:docMk/>
            <pc:sldMk cId="2906885567" sldId="402"/>
            <ac:spMk id="36" creationId="{61F9FF38-58D9-4353-ABC8-D9D7C3A91A4F}"/>
          </ac:spMkLst>
        </pc:spChg>
        <pc:spChg chg="mod">
          <ac:chgData name="Ranu Moodley" userId="a692efb4-2302-46bf-a652-3ae1b1cbf713" providerId="ADAL" clId="{928318EF-0676-4AF2-B908-ADF63CAFAA72}" dt="2019-01-14T07:44:43.785" v="462" actId="207"/>
          <ac:spMkLst>
            <pc:docMk/>
            <pc:sldMk cId="2906885567" sldId="402"/>
            <ac:spMk id="39" creationId="{5133D2F5-DD5C-4BAF-B767-C13BE777472C}"/>
          </ac:spMkLst>
        </pc:spChg>
        <pc:spChg chg="mod">
          <ac:chgData name="Ranu Moodley" userId="a692efb4-2302-46bf-a652-3ae1b1cbf713" providerId="ADAL" clId="{928318EF-0676-4AF2-B908-ADF63CAFAA72}" dt="2019-01-14T07:44:43.785" v="462" actId="207"/>
          <ac:spMkLst>
            <pc:docMk/>
            <pc:sldMk cId="2906885567" sldId="402"/>
            <ac:spMk id="40" creationId="{4F25F5A6-DAC1-402F-99C8-4A5E0BFBC760}"/>
          </ac:spMkLst>
        </pc:spChg>
        <pc:spChg chg="mod">
          <ac:chgData name="Ranu Moodley" userId="a692efb4-2302-46bf-a652-3ae1b1cbf713" providerId="ADAL" clId="{928318EF-0676-4AF2-B908-ADF63CAFAA72}" dt="2019-01-14T07:38:13.211" v="333" actId="403"/>
          <ac:spMkLst>
            <pc:docMk/>
            <pc:sldMk cId="2906885567" sldId="402"/>
            <ac:spMk id="41" creationId="{8F5048F0-0A65-4568-8497-08BCA94F4EA2}"/>
          </ac:spMkLst>
        </pc:spChg>
        <pc:spChg chg="mod">
          <ac:chgData name="Ranu Moodley" userId="a692efb4-2302-46bf-a652-3ae1b1cbf713" providerId="ADAL" clId="{928318EF-0676-4AF2-B908-ADF63CAFAA72}" dt="2019-01-14T07:38:13.211" v="333" actId="403"/>
          <ac:spMkLst>
            <pc:docMk/>
            <pc:sldMk cId="2906885567" sldId="402"/>
            <ac:spMk id="42" creationId="{35015E2B-2988-4D26-8A3D-0C1F470B73D4}"/>
          </ac:spMkLst>
        </pc:spChg>
        <pc:spChg chg="mod">
          <ac:chgData name="Ranu Moodley" userId="a692efb4-2302-46bf-a652-3ae1b1cbf713" providerId="ADAL" clId="{928318EF-0676-4AF2-B908-ADF63CAFAA72}" dt="2019-01-14T07:44:43.785" v="462" actId="207"/>
          <ac:spMkLst>
            <pc:docMk/>
            <pc:sldMk cId="2906885567" sldId="402"/>
            <ac:spMk id="43" creationId="{C255E3B6-3BF3-4A55-8FE5-4A414F338CD1}"/>
          </ac:spMkLst>
        </pc:spChg>
        <pc:spChg chg="mod">
          <ac:chgData name="Ranu Moodley" userId="a692efb4-2302-46bf-a652-3ae1b1cbf713" providerId="ADAL" clId="{928318EF-0676-4AF2-B908-ADF63CAFAA72}" dt="2019-01-14T07:38:13.211" v="333" actId="403"/>
          <ac:spMkLst>
            <pc:docMk/>
            <pc:sldMk cId="2906885567" sldId="402"/>
            <ac:spMk id="44" creationId="{B46B811F-9473-4464-A286-3F252691CF2F}"/>
          </ac:spMkLst>
        </pc:spChg>
        <pc:spChg chg="add mod">
          <ac:chgData name="Ranu Moodley" userId="a692efb4-2302-46bf-a652-3ae1b1cbf713" providerId="ADAL" clId="{928318EF-0676-4AF2-B908-ADF63CAFAA72}" dt="2019-01-14T07:44:04.395" v="458" actId="1076"/>
          <ac:spMkLst>
            <pc:docMk/>
            <pc:sldMk cId="2906885567" sldId="402"/>
            <ac:spMk id="62" creationId="{5869EDB8-061A-4B58-9FCA-2CA01382B8B2}"/>
          </ac:spMkLst>
        </pc:spChg>
        <pc:grpChg chg="del">
          <ac:chgData name="Ranu Moodley" userId="a692efb4-2302-46bf-a652-3ae1b1cbf713" providerId="ADAL" clId="{928318EF-0676-4AF2-B908-ADF63CAFAA72}" dt="2019-01-14T07:37:43.332" v="324" actId="478"/>
          <ac:grpSpMkLst>
            <pc:docMk/>
            <pc:sldMk cId="2906885567" sldId="402"/>
            <ac:grpSpMk id="8" creationId="{94432922-F218-4E9E-82AE-DF36B4CCD7EB}"/>
          </ac:grpSpMkLst>
        </pc:grpChg>
        <pc:grpChg chg="add mod">
          <ac:chgData name="Ranu Moodley" userId="a692efb4-2302-46bf-a652-3ae1b1cbf713" providerId="ADAL" clId="{928318EF-0676-4AF2-B908-ADF63CAFAA72}" dt="2019-01-14T07:38:21.180" v="335" actId="1076"/>
          <ac:grpSpMkLst>
            <pc:docMk/>
            <pc:sldMk cId="2906885567" sldId="402"/>
            <ac:grpSpMk id="37" creationId="{4583BFCC-CEB0-4243-897C-35470C5D2A15}"/>
          </ac:grpSpMkLst>
        </pc:grpChg>
        <pc:grpChg chg="add del">
          <ac:chgData name="Ranu Moodley" userId="a692efb4-2302-46bf-a652-3ae1b1cbf713" providerId="ADAL" clId="{928318EF-0676-4AF2-B908-ADF63CAFAA72}" dt="2019-01-11T15:32:46.921" v="273" actId="1076"/>
          <ac:grpSpMkLst>
            <pc:docMk/>
            <pc:sldMk cId="2906885567" sldId="402"/>
            <ac:grpSpMk id="45" creationId="{490FB1E2-AC7A-4666-8FC5-CFA15B89D447}"/>
          </ac:grpSpMkLst>
        </pc:grpChg>
        <pc:grpChg chg="add del">
          <ac:chgData name="Ranu Moodley" userId="a692efb4-2302-46bf-a652-3ae1b1cbf713" providerId="ADAL" clId="{928318EF-0676-4AF2-B908-ADF63CAFAA72}" dt="2019-01-11T15:32:53.129" v="275" actId="1076"/>
          <ac:grpSpMkLst>
            <pc:docMk/>
            <pc:sldMk cId="2906885567" sldId="402"/>
            <ac:grpSpMk id="53" creationId="{006D2750-C6E6-4402-BF55-3F03B1CCCE49}"/>
          </ac:grpSpMkLst>
        </pc:grpChg>
        <pc:graphicFrameChg chg="add mod modGraphic">
          <ac:chgData name="Ranu Moodley" userId="a692efb4-2302-46bf-a652-3ae1b1cbf713" providerId="ADAL" clId="{928318EF-0676-4AF2-B908-ADF63CAFAA72}" dt="2019-01-14T07:45:05.521" v="464" actId="12385"/>
          <ac:graphicFrameMkLst>
            <pc:docMk/>
            <pc:sldMk cId="2906885567" sldId="402"/>
            <ac:graphicFrameMk id="61" creationId="{5DB4C92C-671D-4693-83D4-84770CB696BD}"/>
          </ac:graphicFrameMkLst>
        </pc:graphicFrameChg>
        <pc:picChg chg="del">
          <ac:chgData name="Ranu Moodley" userId="a692efb4-2302-46bf-a652-3ae1b1cbf713" providerId="ADAL" clId="{928318EF-0676-4AF2-B908-ADF63CAFAA72}" dt="2019-01-14T07:43:59.581" v="456" actId="478"/>
          <ac:picMkLst>
            <pc:docMk/>
            <pc:sldMk cId="2906885567" sldId="402"/>
            <ac:picMk id="17" creationId="{85CFAB05-0C9C-4455-BFF7-60E51B32A1A5}"/>
          </ac:picMkLst>
        </pc:picChg>
        <pc:cxnChg chg="add del">
          <ac:chgData name="Ranu Moodley" userId="a692efb4-2302-46bf-a652-3ae1b1cbf713" providerId="ADAL" clId="{928318EF-0676-4AF2-B908-ADF63CAFAA72}" dt="2019-01-11T15:30:39.470" v="257" actId="1076"/>
          <ac:cxnSpMkLst>
            <pc:docMk/>
            <pc:sldMk cId="2906885567" sldId="402"/>
            <ac:cxnSpMk id="22" creationId="{C79F04C0-E156-457F-9B76-524161A1FEB9}"/>
          </ac:cxnSpMkLst>
        </pc:cxnChg>
        <pc:cxnChg chg="mod">
          <ac:chgData name="Ranu Moodley" userId="a692efb4-2302-46bf-a652-3ae1b1cbf713" providerId="ADAL" clId="{928318EF-0676-4AF2-B908-ADF63CAFAA72}" dt="2019-01-14T07:44:50.558" v="463" actId="208"/>
          <ac:cxnSpMkLst>
            <pc:docMk/>
            <pc:sldMk cId="2906885567" sldId="402"/>
            <ac:cxnSpMk id="38" creationId="{5ADF4E5A-0FC1-4455-A356-A9A470416A41}"/>
          </ac:cxnSpMkLst>
        </pc:cxnChg>
      </pc:sldChg>
      <pc:sldChg chg="addSp delSp modSp modNotes">
        <pc:chgData name="Ranu Moodley" userId="a692efb4-2302-46bf-a652-3ae1b1cbf713" providerId="ADAL" clId="{928318EF-0676-4AF2-B908-ADF63CAFAA72}" dt="2019-02-12T13:58:27.409" v="3274" actId="20577"/>
        <pc:sldMkLst>
          <pc:docMk/>
          <pc:sldMk cId="1097928807" sldId="403"/>
        </pc:sldMkLst>
        <pc:spChg chg="add del mod">
          <ac:chgData name="Ranu Moodley" userId="a692efb4-2302-46bf-a652-3ae1b1cbf713" providerId="ADAL" clId="{928318EF-0676-4AF2-B908-ADF63CAFAA72}" dt="2019-01-14T08:34:50.599" v="916" actId="478"/>
          <ac:spMkLst>
            <pc:docMk/>
            <pc:sldMk cId="1097928807" sldId="403"/>
            <ac:spMk id="2" creationId="{AA60C266-7D0C-4A65-89BE-D8702DD85A02}"/>
          </ac:spMkLst>
        </pc:spChg>
        <pc:spChg chg="add mod">
          <ac:chgData name="Ranu Moodley" userId="a692efb4-2302-46bf-a652-3ae1b1cbf713" providerId="ADAL" clId="{928318EF-0676-4AF2-B908-ADF63CAFAA72}" dt="2019-01-14T08:48:15.850" v="1068" actId="404"/>
          <ac:spMkLst>
            <pc:docMk/>
            <pc:sldMk cId="1097928807" sldId="403"/>
            <ac:spMk id="3" creationId="{94B68C1F-1D07-4DD9-A978-76330D32E6BB}"/>
          </ac:spMkLst>
        </pc:spChg>
        <pc:spChg chg="del mod">
          <ac:chgData name="Ranu Moodley" userId="a692efb4-2302-46bf-a652-3ae1b1cbf713" providerId="ADAL" clId="{928318EF-0676-4AF2-B908-ADF63CAFAA72}" dt="2019-01-14T08:35:17.182" v="923" actId="478"/>
          <ac:spMkLst>
            <pc:docMk/>
            <pc:sldMk cId="1097928807" sldId="403"/>
            <ac:spMk id="15" creationId="{4AB9647B-995B-4E42-A8C0-C1754BB9AD8B}"/>
          </ac:spMkLst>
        </pc:spChg>
        <pc:spChg chg="del">
          <ac:chgData name="Ranu Moodley" userId="a692efb4-2302-46bf-a652-3ae1b1cbf713" providerId="ADAL" clId="{928318EF-0676-4AF2-B908-ADF63CAFAA72}" dt="2019-01-14T08:35:17.182" v="923" actId="478"/>
          <ac:spMkLst>
            <pc:docMk/>
            <pc:sldMk cId="1097928807" sldId="403"/>
            <ac:spMk id="16" creationId="{198E8A7D-FE76-4B49-A44B-A625DCA325CC}"/>
          </ac:spMkLst>
        </pc:spChg>
        <pc:spChg chg="mod">
          <ac:chgData name="Ranu Moodley" userId="a692efb4-2302-46bf-a652-3ae1b1cbf713" providerId="ADAL" clId="{928318EF-0676-4AF2-B908-ADF63CAFAA72}" dt="2019-01-14T08:35:07.821" v="920" actId="208"/>
          <ac:spMkLst>
            <pc:docMk/>
            <pc:sldMk cId="1097928807" sldId="403"/>
            <ac:spMk id="18" creationId="{728A5B50-4CC3-4774-918E-5C5900256711}"/>
          </ac:spMkLst>
        </pc:spChg>
        <pc:spChg chg="del mod">
          <ac:chgData name="Ranu Moodley" userId="a692efb4-2302-46bf-a652-3ae1b1cbf713" providerId="ADAL" clId="{928318EF-0676-4AF2-B908-ADF63CAFAA72}" dt="2019-01-14T08:35:17.182" v="923" actId="478"/>
          <ac:spMkLst>
            <pc:docMk/>
            <pc:sldMk cId="1097928807" sldId="403"/>
            <ac:spMk id="19" creationId="{D61E2896-8229-4237-975B-BB8B3777CBEB}"/>
          </ac:spMkLst>
        </pc:spChg>
        <pc:spChg chg="add del mod">
          <ac:chgData name="Ranu Moodley" userId="a692efb4-2302-46bf-a652-3ae1b1cbf713" providerId="ADAL" clId="{928318EF-0676-4AF2-B908-ADF63CAFAA72}" dt="2019-01-14T08:52:18.264" v="1114" actId="20577"/>
          <ac:spMkLst>
            <pc:docMk/>
            <pc:sldMk cId="1097928807" sldId="403"/>
            <ac:spMk id="22" creationId="{DB77BD9B-C9DD-4036-8C75-3281900DFFEA}"/>
          </ac:spMkLst>
        </pc:spChg>
        <pc:spChg chg="mod">
          <ac:chgData name="Ranu Moodley" userId="a692efb4-2302-46bf-a652-3ae1b1cbf713" providerId="ADAL" clId="{928318EF-0676-4AF2-B908-ADF63CAFAA72}" dt="2019-01-14T08:35:45.170" v="927" actId="207"/>
          <ac:spMkLst>
            <pc:docMk/>
            <pc:sldMk cId="1097928807" sldId="403"/>
            <ac:spMk id="25" creationId="{E7F88667-CA38-4082-93E6-E3D929A8676C}"/>
          </ac:spMkLst>
        </pc:spChg>
        <pc:spChg chg="mod">
          <ac:chgData name="Ranu Moodley" userId="a692efb4-2302-46bf-a652-3ae1b1cbf713" providerId="ADAL" clId="{928318EF-0676-4AF2-B908-ADF63CAFAA72}" dt="2019-01-14T08:35:53.360" v="929" actId="207"/>
          <ac:spMkLst>
            <pc:docMk/>
            <pc:sldMk cId="1097928807" sldId="403"/>
            <ac:spMk id="30" creationId="{A8FF8576-CFE0-4BF1-96B8-33CA9D398A7C}"/>
          </ac:spMkLst>
        </pc:spChg>
        <pc:spChg chg="mod">
          <ac:chgData name="Ranu Moodley" userId="a692efb4-2302-46bf-a652-3ae1b1cbf713" providerId="ADAL" clId="{928318EF-0676-4AF2-B908-ADF63CAFAA72}" dt="2019-01-14T08:34:46.279" v="915" actId="6549"/>
          <ac:spMkLst>
            <pc:docMk/>
            <pc:sldMk cId="1097928807" sldId="403"/>
            <ac:spMk id="31" creationId="{7099E95D-9F35-497E-A51F-6CA42C4060DC}"/>
          </ac:spMkLst>
        </pc:spChg>
        <pc:spChg chg="mod">
          <ac:chgData name="Ranu Moodley" userId="a692efb4-2302-46bf-a652-3ae1b1cbf713" providerId="ADAL" clId="{928318EF-0676-4AF2-B908-ADF63CAFAA72}" dt="2019-01-14T08:35:49.578" v="928" actId="207"/>
          <ac:spMkLst>
            <pc:docMk/>
            <pc:sldMk cId="1097928807" sldId="403"/>
            <ac:spMk id="32" creationId="{F271F2FE-A976-4BE4-87BE-403370E1FA53}"/>
          </ac:spMkLst>
        </pc:spChg>
        <pc:spChg chg="del">
          <ac:chgData name="Ranu Moodley" userId="a692efb4-2302-46bf-a652-3ae1b1cbf713" providerId="ADAL" clId="{928318EF-0676-4AF2-B908-ADF63CAFAA72}" dt="2019-01-14T07:57:37.935" v="563" actId="478"/>
          <ac:spMkLst>
            <pc:docMk/>
            <pc:sldMk cId="1097928807" sldId="403"/>
            <ac:spMk id="33" creationId="{EC5F2C05-A9F0-4B44-A342-11A542A0CBCC}"/>
          </ac:spMkLst>
        </pc:spChg>
        <pc:spChg chg="add">
          <ac:chgData name="Ranu Moodley" userId="a692efb4-2302-46bf-a652-3ae1b1cbf713" providerId="ADAL" clId="{928318EF-0676-4AF2-B908-ADF63CAFAA72}" dt="2019-01-14T08:35:29.394" v="925" actId="20577"/>
          <ac:spMkLst>
            <pc:docMk/>
            <pc:sldMk cId="1097928807" sldId="403"/>
            <ac:spMk id="34" creationId="{886A348C-51B4-4F32-9254-3DF3CE99BA9D}"/>
          </ac:spMkLst>
        </pc:spChg>
        <pc:spChg chg="add">
          <ac:chgData name="Ranu Moodley" userId="a692efb4-2302-46bf-a652-3ae1b1cbf713" providerId="ADAL" clId="{928318EF-0676-4AF2-B908-ADF63CAFAA72}" dt="2019-01-14T08:35:29.394" v="925" actId="20577"/>
          <ac:spMkLst>
            <pc:docMk/>
            <pc:sldMk cId="1097928807" sldId="403"/>
            <ac:spMk id="35" creationId="{F0905820-D35B-4935-BA62-4FB43AFC77B4}"/>
          </ac:spMkLst>
        </pc:spChg>
        <pc:spChg chg="del mod">
          <ac:chgData name="Ranu Moodley" userId="a692efb4-2302-46bf-a652-3ae1b1cbf713" providerId="ADAL" clId="{928318EF-0676-4AF2-B908-ADF63CAFAA72}" dt="2019-01-14T08:35:17.182" v="923" actId="478"/>
          <ac:spMkLst>
            <pc:docMk/>
            <pc:sldMk cId="1097928807" sldId="403"/>
            <ac:spMk id="36" creationId="{61F9FF38-58D9-4353-ABC8-D9D7C3A91A4F}"/>
          </ac:spMkLst>
        </pc:spChg>
        <pc:spChg chg="add">
          <ac:chgData name="Ranu Moodley" userId="a692efb4-2302-46bf-a652-3ae1b1cbf713" providerId="ADAL" clId="{928318EF-0676-4AF2-B908-ADF63CAFAA72}" dt="2019-01-14T08:35:29.394" v="925" actId="20577"/>
          <ac:spMkLst>
            <pc:docMk/>
            <pc:sldMk cId="1097928807" sldId="403"/>
            <ac:spMk id="37" creationId="{528F6933-595B-4EAA-8F25-982B67E41A06}"/>
          </ac:spMkLst>
        </pc:spChg>
        <pc:spChg chg="del">
          <ac:chgData name="Ranu Moodley" userId="a692efb4-2302-46bf-a652-3ae1b1cbf713" providerId="ADAL" clId="{928318EF-0676-4AF2-B908-ADF63CAFAA72}" dt="2019-01-14T07:57:37.935" v="563" actId="478"/>
          <ac:spMkLst>
            <pc:docMk/>
            <pc:sldMk cId="1097928807" sldId="403"/>
            <ac:spMk id="38" creationId="{66359047-B250-4D1C-84AE-118AF510246D}"/>
          </ac:spMkLst>
        </pc:spChg>
        <pc:spChg chg="mod">
          <ac:chgData name="Ranu Moodley" userId="a692efb4-2302-46bf-a652-3ae1b1cbf713" providerId="ADAL" clId="{928318EF-0676-4AF2-B908-ADF63CAFAA72}" dt="2019-01-14T08:35:58.532" v="930" actId="207"/>
          <ac:spMkLst>
            <pc:docMk/>
            <pc:sldMk cId="1097928807" sldId="403"/>
            <ac:spMk id="39" creationId="{45B2A900-D265-4450-9386-E1A47376273D}"/>
          </ac:spMkLst>
        </pc:spChg>
        <pc:spChg chg="add">
          <ac:chgData name="Ranu Moodley" userId="a692efb4-2302-46bf-a652-3ae1b1cbf713" providerId="ADAL" clId="{928318EF-0676-4AF2-B908-ADF63CAFAA72}" dt="2019-01-14T08:35:29.394" v="925" actId="20577"/>
          <ac:spMkLst>
            <pc:docMk/>
            <pc:sldMk cId="1097928807" sldId="403"/>
            <ac:spMk id="40" creationId="{4D998DD4-190C-43E4-B971-BC42B5BF4DB3}"/>
          </ac:spMkLst>
        </pc:spChg>
        <pc:spChg chg="add del mod">
          <ac:chgData name="Ranu Moodley" userId="a692efb4-2302-46bf-a652-3ae1b1cbf713" providerId="ADAL" clId="{928318EF-0676-4AF2-B908-ADF63CAFAA72}" dt="2019-01-24T05:14:43.793" v="2810" actId="20577"/>
          <ac:spMkLst>
            <pc:docMk/>
            <pc:sldMk cId="1097928807" sldId="403"/>
            <ac:spMk id="41" creationId="{37695025-039B-4E6E-BC58-FC941D7A2B6C}"/>
          </ac:spMkLst>
        </pc:spChg>
        <pc:spChg chg="mod">
          <ac:chgData name="Ranu Moodley" userId="a692efb4-2302-46bf-a652-3ae1b1cbf713" providerId="ADAL" clId="{928318EF-0676-4AF2-B908-ADF63CAFAA72}" dt="2019-01-14T08:39:53.496" v="1054" actId="1076"/>
          <ac:spMkLst>
            <pc:docMk/>
            <pc:sldMk cId="1097928807" sldId="403"/>
            <ac:spMk id="42" creationId="{DB84F855-22A1-4500-ADBF-204911DB7910}"/>
          </ac:spMkLst>
        </pc:spChg>
        <pc:spChg chg="mod">
          <ac:chgData name="Ranu Moodley" userId="a692efb4-2302-46bf-a652-3ae1b1cbf713" providerId="ADAL" clId="{928318EF-0676-4AF2-B908-ADF63CAFAA72}" dt="2019-01-14T08:39:53.496" v="1054" actId="1076"/>
          <ac:spMkLst>
            <pc:docMk/>
            <pc:sldMk cId="1097928807" sldId="403"/>
            <ac:spMk id="43" creationId="{D64B5993-6A9B-49B8-A816-18C48D312091}"/>
          </ac:spMkLst>
        </pc:spChg>
        <pc:spChg chg="add">
          <ac:chgData name="Ranu Moodley" userId="a692efb4-2302-46bf-a652-3ae1b1cbf713" providerId="ADAL" clId="{928318EF-0676-4AF2-B908-ADF63CAFAA72}" dt="2019-01-14T08:35:29.394" v="925" actId="20577"/>
          <ac:spMkLst>
            <pc:docMk/>
            <pc:sldMk cId="1097928807" sldId="403"/>
            <ac:spMk id="44" creationId="{2B2FB879-517E-4920-8A43-D4BC5EEB71D2}"/>
          </ac:spMkLst>
        </pc:spChg>
        <pc:spChg chg="mod">
          <ac:chgData name="Ranu Moodley" userId="a692efb4-2302-46bf-a652-3ae1b1cbf713" providerId="ADAL" clId="{928318EF-0676-4AF2-B908-ADF63CAFAA72}" dt="2019-01-14T08:32:33.766" v="759" actId="20577"/>
          <ac:spMkLst>
            <pc:docMk/>
            <pc:sldMk cId="1097928807" sldId="403"/>
            <ac:spMk id="45" creationId="{9BA3D18D-A48E-4781-8BF2-329F36A007CA}"/>
          </ac:spMkLst>
        </pc:spChg>
        <pc:spChg chg="del">
          <ac:chgData name="Ranu Moodley" userId="a692efb4-2302-46bf-a652-3ae1b1cbf713" providerId="ADAL" clId="{928318EF-0676-4AF2-B908-ADF63CAFAA72}" dt="2019-01-14T07:57:37.935" v="563" actId="478"/>
          <ac:spMkLst>
            <pc:docMk/>
            <pc:sldMk cId="1097928807" sldId="403"/>
            <ac:spMk id="52" creationId="{0BEB2DAE-1FF7-42FA-818A-B06419257E09}"/>
          </ac:spMkLst>
        </pc:spChg>
        <pc:spChg chg="add del mod">
          <ac:chgData name="Ranu Moodley" userId="a692efb4-2302-46bf-a652-3ae1b1cbf713" providerId="ADAL" clId="{928318EF-0676-4AF2-B908-ADF63CAFAA72}" dt="2019-01-14T08:39:11.415" v="1006" actId="20577"/>
          <ac:spMkLst>
            <pc:docMk/>
            <pc:sldMk cId="1097928807" sldId="403"/>
            <ac:spMk id="54" creationId="{14BB08D8-659E-4AF9-8A04-FFB2C23BE8E2}"/>
          </ac:spMkLst>
        </pc:spChg>
        <pc:spChg chg="add mod">
          <ac:chgData name="Ranu Moodley" userId="a692efb4-2302-46bf-a652-3ae1b1cbf713" providerId="ADAL" clId="{928318EF-0676-4AF2-B908-ADF63CAFAA72}" dt="2019-01-14T08:48:07.510" v="1066" actId="404"/>
          <ac:spMkLst>
            <pc:docMk/>
            <pc:sldMk cId="1097928807" sldId="403"/>
            <ac:spMk id="59" creationId="{838076B4-1314-4986-9F9D-DDB6946BDB3D}"/>
          </ac:spMkLst>
        </pc:spChg>
        <pc:grpChg chg="mod">
          <ac:chgData name="Ranu Moodley" userId="a692efb4-2302-46bf-a652-3ae1b1cbf713" providerId="ADAL" clId="{928318EF-0676-4AF2-B908-ADF63CAFAA72}" dt="2019-01-14T08:39:10.978" v="1005" actId="1076"/>
          <ac:grpSpMkLst>
            <pc:docMk/>
            <pc:sldMk cId="1097928807" sldId="403"/>
            <ac:grpSpMk id="9" creationId="{6FBC696B-11E1-4AC2-B5E9-559265D190A4}"/>
          </ac:grpSpMkLst>
        </pc:grpChg>
        <pc:grpChg chg="add del mod">
          <ac:chgData name="Ranu Moodley" userId="a692efb4-2302-46bf-a652-3ae1b1cbf713" providerId="ADAL" clId="{928318EF-0676-4AF2-B908-ADF63CAFAA72}" dt="2019-01-14T08:39:11.415" v="1006" actId="20577"/>
          <ac:grpSpMkLst>
            <pc:docMk/>
            <pc:sldMk cId="1097928807" sldId="403"/>
            <ac:grpSpMk id="47" creationId="{E74F45EF-CCBE-42D9-A4F2-5DB1B1010B85}"/>
          </ac:grpSpMkLst>
        </pc:grpChg>
        <pc:grpChg chg="add mod">
          <ac:chgData name="Ranu Moodley" userId="a692efb4-2302-46bf-a652-3ae1b1cbf713" providerId="ADAL" clId="{928318EF-0676-4AF2-B908-ADF63CAFAA72}" dt="2019-01-14T08:39:39.070" v="1052" actId="1036"/>
          <ac:grpSpMkLst>
            <pc:docMk/>
            <pc:sldMk cId="1097928807" sldId="403"/>
            <ac:grpSpMk id="55" creationId="{1AEFBB5A-668D-4A6D-9C0C-74E1FA5FE7BC}"/>
          </ac:grpSpMkLst>
        </pc:grpChg>
        <pc:picChg chg="del">
          <ac:chgData name="Ranu Moodley" userId="a692efb4-2302-46bf-a652-3ae1b1cbf713" providerId="ADAL" clId="{928318EF-0676-4AF2-B908-ADF63CAFAA72}" dt="2019-01-14T08:35:19.197" v="924" actId="478"/>
          <ac:picMkLst>
            <pc:docMk/>
            <pc:sldMk cId="1097928807" sldId="403"/>
            <ac:picMk id="17" creationId="{85CFAB05-0C9C-4455-BFF7-60E51B32A1A5}"/>
          </ac:picMkLst>
        </pc:picChg>
        <pc:cxnChg chg="del">
          <ac:chgData name="Ranu Moodley" userId="a692efb4-2302-46bf-a652-3ae1b1cbf713" providerId="ADAL" clId="{928318EF-0676-4AF2-B908-ADF63CAFAA72}" dt="2019-01-14T07:54:56.372" v="560" actId="478"/>
          <ac:cxnSpMkLst>
            <pc:docMk/>
            <pc:sldMk cId="1097928807" sldId="403"/>
            <ac:cxnSpMk id="28" creationId="{17099CC2-8C57-4125-A6B0-131BDB9C2228}"/>
          </ac:cxnSpMkLst>
        </pc:cxnChg>
        <pc:cxnChg chg="mod">
          <ac:chgData name="Ranu Moodley" userId="a692efb4-2302-46bf-a652-3ae1b1cbf713" providerId="ADAL" clId="{928318EF-0676-4AF2-B908-ADF63CAFAA72}" dt="2019-01-14T08:39:47.039" v="1053" actId="1076"/>
          <ac:cxnSpMkLst>
            <pc:docMk/>
            <pc:sldMk cId="1097928807" sldId="403"/>
            <ac:cxnSpMk id="57" creationId="{4DF2C4EF-3137-4C3F-9BD4-BA13EFBD4032}"/>
          </ac:cxnSpMkLst>
        </pc:cxnChg>
      </pc:sldChg>
      <pc:sldChg chg="modNotes">
        <pc:chgData name="Ranu Moodley" userId="a692efb4-2302-46bf-a652-3ae1b1cbf713" providerId="ADAL" clId="{928318EF-0676-4AF2-B908-ADF63CAFAA72}" dt="2019-02-12T13:58:27.330" v="3234" actId="20577"/>
        <pc:sldMkLst>
          <pc:docMk/>
          <pc:sldMk cId="3877823276" sldId="405"/>
        </pc:sldMkLst>
      </pc:sldChg>
      <pc:sldChg chg="addSp delSp modSp modNotes">
        <pc:chgData name="Ranu Moodley" userId="a692efb4-2302-46bf-a652-3ae1b1cbf713" providerId="ADAL" clId="{928318EF-0676-4AF2-B908-ADF63CAFAA72}" dt="2019-02-12T13:58:27.338" v="3238" actId="20577"/>
        <pc:sldMkLst>
          <pc:docMk/>
          <pc:sldMk cId="3374021560" sldId="406"/>
        </pc:sldMkLst>
        <pc:spChg chg="add del mod">
          <ac:chgData name="Ranu Moodley" userId="a692efb4-2302-46bf-a652-3ae1b1cbf713" providerId="ADAL" clId="{928318EF-0676-4AF2-B908-ADF63CAFAA72}" dt="2019-01-24T05:12:03.407" v="2757" actId="208"/>
          <ac:spMkLst>
            <pc:docMk/>
            <pc:sldMk cId="3374021560" sldId="406"/>
            <ac:spMk id="2" creationId="{F6C8F042-1B2D-4100-A348-0B3B7C297952}"/>
          </ac:spMkLst>
        </pc:spChg>
        <pc:spChg chg="add del mod">
          <ac:chgData name="Ranu Moodley" userId="a692efb4-2302-46bf-a652-3ae1b1cbf713" providerId="ADAL" clId="{928318EF-0676-4AF2-B908-ADF63CAFAA72}" dt="2019-02-07T11:08:36.067" v="2876" actId="207"/>
          <ac:spMkLst>
            <pc:docMk/>
            <pc:sldMk cId="3374021560" sldId="406"/>
            <ac:spMk id="3" creationId="{226E21F6-5D17-414E-BA75-3799EC6A1D49}"/>
          </ac:spMkLst>
        </pc:spChg>
        <pc:spChg chg="add del mod">
          <ac:chgData name="Ranu Moodley" userId="a692efb4-2302-46bf-a652-3ae1b1cbf713" providerId="ADAL" clId="{928318EF-0676-4AF2-B908-ADF63CAFAA72}" dt="2019-01-14T13:48:26.770" v="1264" actId="478"/>
          <ac:spMkLst>
            <pc:docMk/>
            <pc:sldMk cId="3374021560" sldId="406"/>
            <ac:spMk id="5" creationId="{D23AD4BD-B843-494A-ABDC-E1A187C56F52}"/>
          </ac:spMkLst>
        </pc:spChg>
        <pc:spChg chg="del mod">
          <ac:chgData name="Ranu Moodley" userId="a692efb4-2302-46bf-a652-3ae1b1cbf713" providerId="ADAL" clId="{928318EF-0676-4AF2-B908-ADF63CAFAA72}" dt="2019-01-14T13:47:57.456" v="1242" actId="478"/>
          <ac:spMkLst>
            <pc:docMk/>
            <pc:sldMk cId="3374021560" sldId="406"/>
            <ac:spMk id="6" creationId="{7504DE81-815E-4EFD-9A4B-1133E3B96084}"/>
          </ac:spMkLst>
        </pc:spChg>
        <pc:spChg chg="add del mod">
          <ac:chgData name="Ranu Moodley" userId="a692efb4-2302-46bf-a652-3ae1b1cbf713" providerId="ADAL" clId="{928318EF-0676-4AF2-B908-ADF63CAFAA72}" dt="2019-01-14T13:48:11.940" v="1262" actId="478"/>
          <ac:spMkLst>
            <pc:docMk/>
            <pc:sldMk cId="3374021560" sldId="406"/>
            <ac:spMk id="7" creationId="{5E100FE3-2AD9-4370-81D4-4520AEEB6572}"/>
          </ac:spMkLst>
        </pc:spChg>
        <pc:spChg chg="del">
          <ac:chgData name="Ranu Moodley" userId="a692efb4-2302-46bf-a652-3ae1b1cbf713" providerId="ADAL" clId="{928318EF-0676-4AF2-B908-ADF63CAFAA72}" dt="2019-01-14T13:47:24.427" v="1232" actId="478"/>
          <ac:spMkLst>
            <pc:docMk/>
            <pc:sldMk cId="3374021560" sldId="406"/>
            <ac:spMk id="8" creationId="{7038179E-46A7-4C95-83C5-D828DA7C87F5}"/>
          </ac:spMkLst>
        </pc:spChg>
        <pc:spChg chg="del">
          <ac:chgData name="Ranu Moodley" userId="a692efb4-2302-46bf-a652-3ae1b1cbf713" providerId="ADAL" clId="{928318EF-0676-4AF2-B908-ADF63CAFAA72}" dt="2019-01-14T13:47:09.012" v="1231" actId="478"/>
          <ac:spMkLst>
            <pc:docMk/>
            <pc:sldMk cId="3374021560" sldId="406"/>
            <ac:spMk id="9" creationId="{A30C7CDB-752F-441A-9B99-4F82F3D80B8C}"/>
          </ac:spMkLst>
        </pc:spChg>
        <pc:spChg chg="add del mod">
          <ac:chgData name="Ranu Moodley" userId="a692efb4-2302-46bf-a652-3ae1b1cbf713" providerId="ADAL" clId="{928318EF-0676-4AF2-B908-ADF63CAFAA72}" dt="2019-01-18T13:34:12.193" v="2341" actId="14100"/>
          <ac:spMkLst>
            <pc:docMk/>
            <pc:sldMk cId="3374021560" sldId="406"/>
            <ac:spMk id="17" creationId="{F77ED170-5F10-4D4B-A38F-B887D7258FE8}"/>
          </ac:spMkLst>
        </pc:spChg>
        <pc:spChg chg="add mod">
          <ac:chgData name="Ranu Moodley" userId="a692efb4-2302-46bf-a652-3ae1b1cbf713" providerId="ADAL" clId="{928318EF-0676-4AF2-B908-ADF63CAFAA72}" dt="2019-01-18T13:42:49.930" v="2393" actId="14100"/>
          <ac:spMkLst>
            <pc:docMk/>
            <pc:sldMk cId="3374021560" sldId="406"/>
            <ac:spMk id="19" creationId="{DAE62291-8427-4BAA-BA09-61D116E1DC8F}"/>
          </ac:spMkLst>
        </pc:spChg>
        <pc:spChg chg="add del mod">
          <ac:chgData name="Ranu Moodley" userId="a692efb4-2302-46bf-a652-3ae1b1cbf713" providerId="ADAL" clId="{928318EF-0676-4AF2-B908-ADF63CAFAA72}" dt="2019-01-14T13:48:11.940" v="1262" actId="478"/>
          <ac:spMkLst>
            <pc:docMk/>
            <pc:sldMk cId="3374021560" sldId="406"/>
            <ac:spMk id="20" creationId="{0675B1E0-E57D-4F0F-8A1A-A9FF3283647A}"/>
          </ac:spMkLst>
        </pc:spChg>
        <pc:spChg chg="mod">
          <ac:chgData name="Ranu Moodley" userId="a692efb4-2302-46bf-a652-3ae1b1cbf713" providerId="ADAL" clId="{928318EF-0676-4AF2-B908-ADF63CAFAA72}" dt="2019-02-07T11:05:47.144" v="2855" actId="14100"/>
          <ac:spMkLst>
            <pc:docMk/>
            <pc:sldMk cId="3374021560" sldId="406"/>
            <ac:spMk id="21" creationId="{F9861F1B-2C90-4BBE-A107-3980D0F8C39B}"/>
          </ac:spMkLst>
        </pc:spChg>
        <pc:spChg chg="add del mod">
          <ac:chgData name="Ranu Moodley" userId="a692efb4-2302-46bf-a652-3ae1b1cbf713" providerId="ADAL" clId="{928318EF-0676-4AF2-B908-ADF63CAFAA72}" dt="2019-01-14T13:48:11.940" v="1262" actId="478"/>
          <ac:spMkLst>
            <pc:docMk/>
            <pc:sldMk cId="3374021560" sldId="406"/>
            <ac:spMk id="22" creationId="{3C93FEE4-5543-40AC-AAE5-AA24DC1761F4}"/>
          </ac:spMkLst>
        </pc:spChg>
        <pc:spChg chg="mod">
          <ac:chgData name="Ranu Moodley" userId="a692efb4-2302-46bf-a652-3ae1b1cbf713" providerId="ADAL" clId="{928318EF-0676-4AF2-B908-ADF63CAFAA72}" dt="2019-02-07T11:20:04.723" v="3128" actId="14100"/>
          <ac:spMkLst>
            <pc:docMk/>
            <pc:sldMk cId="3374021560" sldId="406"/>
            <ac:spMk id="22" creationId="{F19E5A2C-D237-499A-A6BB-88FBA2732654}"/>
          </ac:spMkLst>
        </pc:spChg>
        <pc:spChg chg="del mod">
          <ac:chgData name="Ranu Moodley" userId="a692efb4-2302-46bf-a652-3ae1b1cbf713" providerId="ADAL" clId="{928318EF-0676-4AF2-B908-ADF63CAFAA72}" dt="2019-02-07T11:05:04.226" v="2848" actId="478"/>
          <ac:spMkLst>
            <pc:docMk/>
            <pc:sldMk cId="3374021560" sldId="406"/>
            <ac:spMk id="23" creationId="{57E390D0-2975-449D-BF7E-06272F08BC3E}"/>
          </ac:spMkLst>
        </pc:spChg>
        <pc:spChg chg="mod">
          <ac:chgData name="Ranu Moodley" userId="a692efb4-2302-46bf-a652-3ae1b1cbf713" providerId="ADAL" clId="{928318EF-0676-4AF2-B908-ADF63CAFAA72}" dt="2019-02-07T11:19:51.430" v="3126" actId="14100"/>
          <ac:spMkLst>
            <pc:docMk/>
            <pc:sldMk cId="3374021560" sldId="406"/>
            <ac:spMk id="24" creationId="{BD0628C8-43B2-410C-9F28-C5C2F7605958}"/>
          </ac:spMkLst>
        </pc:spChg>
        <pc:spChg chg="add del mod">
          <ac:chgData name="Ranu Moodley" userId="a692efb4-2302-46bf-a652-3ae1b1cbf713" providerId="ADAL" clId="{928318EF-0676-4AF2-B908-ADF63CAFAA72}" dt="2019-01-14T13:48:30.991" v="1265" actId="478"/>
          <ac:spMkLst>
            <pc:docMk/>
            <pc:sldMk cId="3374021560" sldId="406"/>
            <ac:spMk id="24" creationId="{CDF63E1A-838A-4F72-BDDC-F714658B03F4}"/>
          </ac:spMkLst>
        </pc:spChg>
        <pc:spChg chg="del mod">
          <ac:chgData name="Ranu Moodley" userId="a692efb4-2302-46bf-a652-3ae1b1cbf713" providerId="ADAL" clId="{928318EF-0676-4AF2-B908-ADF63CAFAA72}" dt="2019-02-07T11:06:03.097" v="2856" actId="478"/>
          <ac:spMkLst>
            <pc:docMk/>
            <pc:sldMk cId="3374021560" sldId="406"/>
            <ac:spMk id="25" creationId="{B157704C-CF15-4D83-A92B-DA6241874B8A}"/>
          </ac:spMkLst>
        </pc:spChg>
        <pc:spChg chg="del mod">
          <ac:chgData name="Ranu Moodley" userId="a692efb4-2302-46bf-a652-3ae1b1cbf713" providerId="ADAL" clId="{928318EF-0676-4AF2-B908-ADF63CAFAA72}" dt="2019-02-07T11:07:13.586" v="2866" actId="478"/>
          <ac:spMkLst>
            <pc:docMk/>
            <pc:sldMk cId="3374021560" sldId="406"/>
            <ac:spMk id="26" creationId="{0BD5546C-6F73-4B02-B1ED-10938C9ACA28}"/>
          </ac:spMkLst>
        </pc:spChg>
        <pc:spChg chg="mod">
          <ac:chgData name="Ranu Moodley" userId="a692efb4-2302-46bf-a652-3ae1b1cbf713" providerId="ADAL" clId="{928318EF-0676-4AF2-B908-ADF63CAFAA72}" dt="2019-02-07T11:07:09.437" v="2865"/>
          <ac:spMkLst>
            <pc:docMk/>
            <pc:sldMk cId="3374021560" sldId="406"/>
            <ac:spMk id="27" creationId="{90662599-1F5F-4325-8CE7-B33559BA52CC}"/>
          </ac:spMkLst>
        </pc:spChg>
        <pc:spChg chg="mod">
          <ac:chgData name="Ranu Moodley" userId="a692efb4-2302-46bf-a652-3ae1b1cbf713" providerId="ADAL" clId="{928318EF-0676-4AF2-B908-ADF63CAFAA72}" dt="2019-02-07T11:18:26.114" v="3112" actId="14100"/>
          <ac:spMkLst>
            <pc:docMk/>
            <pc:sldMk cId="3374021560" sldId="406"/>
            <ac:spMk id="28" creationId="{5F142EA6-65A6-4DB5-B9BD-947828299A91}"/>
          </ac:spMkLst>
        </pc:spChg>
        <pc:spChg chg="mod">
          <ac:chgData name="Ranu Moodley" userId="a692efb4-2302-46bf-a652-3ae1b1cbf713" providerId="ADAL" clId="{928318EF-0676-4AF2-B908-ADF63CAFAA72}" dt="2019-02-07T11:10:04.089" v="3098" actId="20577"/>
          <ac:spMkLst>
            <pc:docMk/>
            <pc:sldMk cId="3374021560" sldId="406"/>
            <ac:spMk id="29" creationId="{E3DFDA5B-0EA4-44B0-B365-8842CFD0C745}"/>
          </ac:spMkLst>
        </pc:spChg>
        <pc:spChg chg="mod">
          <ac:chgData name="Ranu Moodley" userId="a692efb4-2302-46bf-a652-3ae1b1cbf713" providerId="ADAL" clId="{928318EF-0676-4AF2-B908-ADF63CAFAA72}" dt="2019-01-18T13:32:53.969" v="2325" actId="404"/>
          <ac:spMkLst>
            <pc:docMk/>
            <pc:sldMk cId="3374021560" sldId="406"/>
            <ac:spMk id="32" creationId="{866095D1-0566-42A3-9332-D4E16134BA29}"/>
          </ac:spMkLst>
        </pc:spChg>
        <pc:spChg chg="mod">
          <ac:chgData name="Ranu Moodley" userId="a692efb4-2302-46bf-a652-3ae1b1cbf713" providerId="ADAL" clId="{928318EF-0676-4AF2-B908-ADF63CAFAA72}" dt="2019-01-18T13:32:53.969" v="2325" actId="404"/>
          <ac:spMkLst>
            <pc:docMk/>
            <pc:sldMk cId="3374021560" sldId="406"/>
            <ac:spMk id="33" creationId="{82EE8805-BB53-4A12-8517-6B79AFCD3A64}"/>
          </ac:spMkLst>
        </pc:spChg>
        <pc:spChg chg="mod">
          <ac:chgData name="Ranu Moodley" userId="a692efb4-2302-46bf-a652-3ae1b1cbf713" providerId="ADAL" clId="{928318EF-0676-4AF2-B908-ADF63CAFAA72}" dt="2019-01-18T13:32:53.969" v="2325" actId="404"/>
          <ac:spMkLst>
            <pc:docMk/>
            <pc:sldMk cId="3374021560" sldId="406"/>
            <ac:spMk id="34" creationId="{019E3359-AA00-44CB-BFFF-239623856328}"/>
          </ac:spMkLst>
        </pc:spChg>
        <pc:spChg chg="mod">
          <ac:chgData name="Ranu Moodley" userId="a692efb4-2302-46bf-a652-3ae1b1cbf713" providerId="ADAL" clId="{928318EF-0676-4AF2-B908-ADF63CAFAA72}" dt="2019-01-18T13:32:53.969" v="2325" actId="404"/>
          <ac:spMkLst>
            <pc:docMk/>
            <pc:sldMk cId="3374021560" sldId="406"/>
            <ac:spMk id="35" creationId="{88BDB387-1DB1-49B0-93D0-564D75596970}"/>
          </ac:spMkLst>
        </pc:spChg>
        <pc:spChg chg="mod">
          <ac:chgData name="Ranu Moodley" userId="a692efb4-2302-46bf-a652-3ae1b1cbf713" providerId="ADAL" clId="{928318EF-0676-4AF2-B908-ADF63CAFAA72}" dt="2019-01-18T13:32:53.969" v="2325" actId="404"/>
          <ac:spMkLst>
            <pc:docMk/>
            <pc:sldMk cId="3374021560" sldId="406"/>
            <ac:spMk id="36" creationId="{C951396D-5F6E-4F68-A849-C56173B621D0}"/>
          </ac:spMkLst>
        </pc:spChg>
        <pc:spChg chg="mod">
          <ac:chgData name="Ranu Moodley" userId="a692efb4-2302-46bf-a652-3ae1b1cbf713" providerId="ADAL" clId="{928318EF-0676-4AF2-B908-ADF63CAFAA72}" dt="2019-01-18T13:32:53.969" v="2325" actId="404"/>
          <ac:spMkLst>
            <pc:docMk/>
            <pc:sldMk cId="3374021560" sldId="406"/>
            <ac:spMk id="37" creationId="{DBD7466F-F647-4AC1-BC4A-C24F03D1A961}"/>
          </ac:spMkLst>
        </pc:spChg>
        <pc:spChg chg="mod">
          <ac:chgData name="Ranu Moodley" userId="a692efb4-2302-46bf-a652-3ae1b1cbf713" providerId="ADAL" clId="{928318EF-0676-4AF2-B908-ADF63CAFAA72}" dt="2019-01-18T13:32:53.969" v="2325" actId="404"/>
          <ac:spMkLst>
            <pc:docMk/>
            <pc:sldMk cId="3374021560" sldId="406"/>
            <ac:spMk id="38" creationId="{88C4B608-0489-41D8-A842-0313330F8F8B}"/>
          </ac:spMkLst>
        </pc:spChg>
        <pc:spChg chg="mod">
          <ac:chgData name="Ranu Moodley" userId="a692efb4-2302-46bf-a652-3ae1b1cbf713" providerId="ADAL" clId="{928318EF-0676-4AF2-B908-ADF63CAFAA72}" dt="2019-01-18T13:32:53.969" v="2325" actId="404"/>
          <ac:spMkLst>
            <pc:docMk/>
            <pc:sldMk cId="3374021560" sldId="406"/>
            <ac:spMk id="39" creationId="{447F8A7C-0AB3-41CB-B863-52663DCF47CA}"/>
          </ac:spMkLst>
        </pc:spChg>
        <pc:spChg chg="mod">
          <ac:chgData name="Ranu Moodley" userId="a692efb4-2302-46bf-a652-3ae1b1cbf713" providerId="ADAL" clId="{928318EF-0676-4AF2-B908-ADF63CAFAA72}" dt="2019-01-18T13:32:53.969" v="2325" actId="404"/>
          <ac:spMkLst>
            <pc:docMk/>
            <pc:sldMk cId="3374021560" sldId="406"/>
            <ac:spMk id="40" creationId="{DE709941-2047-4864-A835-66E852994C3B}"/>
          </ac:spMkLst>
        </pc:spChg>
        <pc:spChg chg="mod">
          <ac:chgData name="Ranu Moodley" userId="a692efb4-2302-46bf-a652-3ae1b1cbf713" providerId="ADAL" clId="{928318EF-0676-4AF2-B908-ADF63CAFAA72}" dt="2019-01-18T13:32:53.969" v="2325" actId="404"/>
          <ac:spMkLst>
            <pc:docMk/>
            <pc:sldMk cId="3374021560" sldId="406"/>
            <ac:spMk id="41" creationId="{33366AF1-6267-46BC-AD54-2A26FCBABA03}"/>
          </ac:spMkLst>
        </pc:spChg>
        <pc:spChg chg="mod">
          <ac:chgData name="Ranu Moodley" userId="a692efb4-2302-46bf-a652-3ae1b1cbf713" providerId="ADAL" clId="{928318EF-0676-4AF2-B908-ADF63CAFAA72}" dt="2019-02-07T11:20:41.137" v="3132" actId="207"/>
          <ac:spMkLst>
            <pc:docMk/>
            <pc:sldMk cId="3374021560" sldId="406"/>
            <ac:spMk id="42" creationId="{FFEADEF4-DDE7-4110-B65F-709EB72E4FFC}"/>
          </ac:spMkLst>
        </pc:spChg>
        <pc:spChg chg="mod">
          <ac:chgData name="Ranu Moodley" userId="a692efb4-2302-46bf-a652-3ae1b1cbf713" providerId="ADAL" clId="{928318EF-0676-4AF2-B908-ADF63CAFAA72}" dt="2019-02-07T11:20:41.137" v="3132" actId="207"/>
          <ac:spMkLst>
            <pc:docMk/>
            <pc:sldMk cId="3374021560" sldId="406"/>
            <ac:spMk id="43" creationId="{977F5C47-EA41-4D39-BCB9-3C9B130C3E24}"/>
          </ac:spMkLst>
        </pc:spChg>
        <pc:spChg chg="mod">
          <ac:chgData name="Ranu Moodley" userId="a692efb4-2302-46bf-a652-3ae1b1cbf713" providerId="ADAL" clId="{928318EF-0676-4AF2-B908-ADF63CAFAA72}" dt="2019-02-07T11:20:41.137" v="3132" actId="207"/>
          <ac:spMkLst>
            <pc:docMk/>
            <pc:sldMk cId="3374021560" sldId="406"/>
            <ac:spMk id="44" creationId="{D76F9C13-D414-4B93-A5F8-413303C2CA54}"/>
          </ac:spMkLst>
        </pc:spChg>
        <pc:spChg chg="mod">
          <ac:chgData name="Ranu Moodley" userId="a692efb4-2302-46bf-a652-3ae1b1cbf713" providerId="ADAL" clId="{928318EF-0676-4AF2-B908-ADF63CAFAA72}" dt="2019-02-07T11:20:41.137" v="3132" actId="207"/>
          <ac:spMkLst>
            <pc:docMk/>
            <pc:sldMk cId="3374021560" sldId="406"/>
            <ac:spMk id="45" creationId="{D9F81E45-EA56-49B3-9BDC-5E3EC005ED35}"/>
          </ac:spMkLst>
        </pc:spChg>
        <pc:spChg chg="mod">
          <ac:chgData name="Ranu Moodley" userId="a692efb4-2302-46bf-a652-3ae1b1cbf713" providerId="ADAL" clId="{928318EF-0676-4AF2-B908-ADF63CAFAA72}" dt="2019-02-07T11:20:41.137" v="3132" actId="207"/>
          <ac:spMkLst>
            <pc:docMk/>
            <pc:sldMk cId="3374021560" sldId="406"/>
            <ac:spMk id="46" creationId="{87F332C3-821B-493B-AAB6-97A3B971217A}"/>
          </ac:spMkLst>
        </pc:spChg>
        <pc:spChg chg="mod">
          <ac:chgData name="Ranu Moodley" userId="a692efb4-2302-46bf-a652-3ae1b1cbf713" providerId="ADAL" clId="{928318EF-0676-4AF2-B908-ADF63CAFAA72}" dt="2019-02-07T11:20:41.137" v="3132" actId="207"/>
          <ac:spMkLst>
            <pc:docMk/>
            <pc:sldMk cId="3374021560" sldId="406"/>
            <ac:spMk id="47" creationId="{58349A2D-E558-44DB-9486-F42179FAA3C6}"/>
          </ac:spMkLst>
        </pc:spChg>
        <pc:spChg chg="mod">
          <ac:chgData name="Ranu Moodley" userId="a692efb4-2302-46bf-a652-3ae1b1cbf713" providerId="ADAL" clId="{928318EF-0676-4AF2-B908-ADF63CAFAA72}" dt="2019-02-07T11:20:41.137" v="3132" actId="207"/>
          <ac:spMkLst>
            <pc:docMk/>
            <pc:sldMk cId="3374021560" sldId="406"/>
            <ac:spMk id="48" creationId="{2AAC7DF1-1D9D-420C-AF6A-D10094484D02}"/>
          </ac:spMkLst>
        </pc:spChg>
        <pc:spChg chg="mod">
          <ac:chgData name="Ranu Moodley" userId="a692efb4-2302-46bf-a652-3ae1b1cbf713" providerId="ADAL" clId="{928318EF-0676-4AF2-B908-ADF63CAFAA72}" dt="2019-02-07T11:20:41.137" v="3132" actId="207"/>
          <ac:spMkLst>
            <pc:docMk/>
            <pc:sldMk cId="3374021560" sldId="406"/>
            <ac:spMk id="49" creationId="{5316FA99-86FF-41A2-BDF2-AF1867887A52}"/>
          </ac:spMkLst>
        </pc:spChg>
        <pc:spChg chg="mod">
          <ac:chgData name="Ranu Moodley" userId="a692efb4-2302-46bf-a652-3ae1b1cbf713" providerId="ADAL" clId="{928318EF-0676-4AF2-B908-ADF63CAFAA72}" dt="2019-02-07T11:20:41.137" v="3132" actId="207"/>
          <ac:spMkLst>
            <pc:docMk/>
            <pc:sldMk cId="3374021560" sldId="406"/>
            <ac:spMk id="50" creationId="{E3EF66A8-25CC-4128-B596-7C051CB9446A}"/>
          </ac:spMkLst>
        </pc:spChg>
        <pc:spChg chg="add mod">
          <ac:chgData name="Ranu Moodley" userId="a692efb4-2302-46bf-a652-3ae1b1cbf713" providerId="ADAL" clId="{928318EF-0676-4AF2-B908-ADF63CAFAA72}" dt="2019-01-24T05:12:03.407" v="2757" actId="208"/>
          <ac:spMkLst>
            <pc:docMk/>
            <pc:sldMk cId="3374021560" sldId="406"/>
            <ac:spMk id="51" creationId="{0FC0DAFE-5D33-4D9E-92E4-C53249B03B41}"/>
          </ac:spMkLst>
        </pc:spChg>
        <pc:spChg chg="add mod">
          <ac:chgData name="Ranu Moodley" userId="a692efb4-2302-46bf-a652-3ae1b1cbf713" providerId="ADAL" clId="{928318EF-0676-4AF2-B908-ADF63CAFAA72}" dt="2019-01-18T13:43:02.313" v="2397" actId="14100"/>
          <ac:spMkLst>
            <pc:docMk/>
            <pc:sldMk cId="3374021560" sldId="406"/>
            <ac:spMk id="52" creationId="{036AF3C2-6828-4FCC-B681-6BC96A930135}"/>
          </ac:spMkLst>
        </pc:spChg>
        <pc:spChg chg="add mod">
          <ac:chgData name="Ranu Moodley" userId="a692efb4-2302-46bf-a652-3ae1b1cbf713" providerId="ADAL" clId="{928318EF-0676-4AF2-B908-ADF63CAFAA72}" dt="2019-01-23T09:50:32.506" v="2403" actId="207"/>
          <ac:spMkLst>
            <pc:docMk/>
            <pc:sldMk cId="3374021560" sldId="406"/>
            <ac:spMk id="53" creationId="{C6F2A08F-66B7-417B-88D4-88FA6BD5217D}"/>
          </ac:spMkLst>
        </pc:spChg>
        <pc:spChg chg="add mod">
          <ac:chgData name="Ranu Moodley" userId="a692efb4-2302-46bf-a652-3ae1b1cbf713" providerId="ADAL" clId="{928318EF-0676-4AF2-B908-ADF63CAFAA72}" dt="2019-02-07T11:20:16.801" v="3131" actId="1076"/>
          <ac:spMkLst>
            <pc:docMk/>
            <pc:sldMk cId="3374021560" sldId="406"/>
            <ac:spMk id="54" creationId="{5F770504-33CE-4EF7-8883-682E7FFF20BE}"/>
          </ac:spMkLst>
        </pc:spChg>
        <pc:spChg chg="add del mod">
          <ac:chgData name="Ranu Moodley" userId="a692efb4-2302-46bf-a652-3ae1b1cbf713" providerId="ADAL" clId="{928318EF-0676-4AF2-B908-ADF63CAFAA72}" dt="2019-02-07T11:06:21.344" v="2859" actId="478"/>
          <ac:spMkLst>
            <pc:docMk/>
            <pc:sldMk cId="3374021560" sldId="406"/>
            <ac:spMk id="55" creationId="{10317658-AC66-4B11-9996-EEAF9E476061}"/>
          </ac:spMkLst>
        </pc:spChg>
        <pc:spChg chg="add mod">
          <ac:chgData name="Ranu Moodley" userId="a692efb4-2302-46bf-a652-3ae1b1cbf713" providerId="ADAL" clId="{928318EF-0676-4AF2-B908-ADF63CAFAA72}" dt="2019-02-07T11:18:35.800" v="3113" actId="14100"/>
          <ac:spMkLst>
            <pc:docMk/>
            <pc:sldMk cId="3374021560" sldId="406"/>
            <ac:spMk id="56" creationId="{94CF52E6-092E-41FC-9759-5DF9510BF891}"/>
          </ac:spMkLst>
        </pc:spChg>
        <pc:spChg chg="add del">
          <ac:chgData name="Ranu Moodley" userId="a692efb4-2302-46bf-a652-3ae1b1cbf713" providerId="ADAL" clId="{928318EF-0676-4AF2-B908-ADF63CAFAA72}" dt="2019-02-07T11:07:37.625" v="2873"/>
          <ac:spMkLst>
            <pc:docMk/>
            <pc:sldMk cId="3374021560" sldId="406"/>
            <ac:spMk id="57" creationId="{F578478A-C34F-40F4-B8D5-5F90DCC214D4}"/>
          </ac:spMkLst>
        </pc:spChg>
        <pc:spChg chg="add mod">
          <ac:chgData name="Ranu Moodley" userId="a692efb4-2302-46bf-a652-3ae1b1cbf713" providerId="ADAL" clId="{928318EF-0676-4AF2-B908-ADF63CAFAA72}" dt="2019-02-07T11:09:27.378" v="2943" actId="20577"/>
          <ac:spMkLst>
            <pc:docMk/>
            <pc:sldMk cId="3374021560" sldId="406"/>
            <ac:spMk id="58" creationId="{C9AD648E-488B-467A-A591-757649ABBABF}"/>
          </ac:spMkLst>
        </pc:spChg>
        <pc:grpChg chg="add mod">
          <ac:chgData name="Ranu Moodley" userId="a692efb4-2302-46bf-a652-3ae1b1cbf713" providerId="ADAL" clId="{928318EF-0676-4AF2-B908-ADF63CAFAA72}" dt="2019-02-07T11:19:50.411" v="3125" actId="1076"/>
          <ac:grpSpMkLst>
            <pc:docMk/>
            <pc:sldMk cId="3374021560" sldId="406"/>
            <ac:grpSpMk id="12" creationId="{C32A9C66-AF59-4EF0-8538-249454BD96CC}"/>
          </ac:grpSpMkLst>
        </pc:grpChg>
        <pc:graphicFrameChg chg="add del mod">
          <ac:chgData name="Ranu Moodley" userId="a692efb4-2302-46bf-a652-3ae1b1cbf713" providerId="ADAL" clId="{928318EF-0676-4AF2-B908-ADF63CAFAA72}" dt="2019-01-18T13:19:39.757" v="2316" actId="478"/>
          <ac:graphicFrameMkLst>
            <pc:docMk/>
            <pc:sldMk cId="3374021560" sldId="406"/>
            <ac:graphicFrameMk id="4" creationId="{AC3AA329-D4F8-4C3F-BADE-17D20F1D8E90}"/>
          </ac:graphicFrameMkLst>
        </pc:graphicFrameChg>
        <pc:picChg chg="del">
          <ac:chgData name="Ranu Moodley" userId="a692efb4-2302-46bf-a652-3ae1b1cbf713" providerId="ADAL" clId="{928318EF-0676-4AF2-B908-ADF63CAFAA72}" dt="2019-01-14T13:47:38.024" v="1237" actId="478"/>
          <ac:picMkLst>
            <pc:docMk/>
            <pc:sldMk cId="3374021560" sldId="406"/>
            <ac:picMk id="11" creationId="{5A81D607-025C-4B17-B757-A28D2563A48B}"/>
          </ac:picMkLst>
        </pc:picChg>
        <pc:picChg chg="add del">
          <ac:chgData name="Ranu Moodley" userId="a692efb4-2302-46bf-a652-3ae1b1cbf713" providerId="ADAL" clId="{928318EF-0676-4AF2-B908-ADF63CAFAA72}" dt="2019-01-14T13:47:38.024" v="1237" actId="478"/>
          <ac:picMkLst>
            <pc:docMk/>
            <pc:sldMk cId="3374021560" sldId="406"/>
            <ac:picMk id="12" creationId="{21777F3C-975D-43B4-AF39-6170096E78BE}"/>
          </ac:picMkLst>
        </pc:picChg>
        <pc:picChg chg="mod">
          <ac:chgData name="Ranu Moodley" userId="a692efb4-2302-46bf-a652-3ae1b1cbf713" providerId="ADAL" clId="{928318EF-0676-4AF2-B908-ADF63CAFAA72}" dt="2019-01-14T13:53:58.557" v="1279" actId="208"/>
          <ac:picMkLst>
            <pc:docMk/>
            <pc:sldMk cId="3374021560" sldId="406"/>
            <ac:picMk id="13" creationId="{4941EAEB-46C9-42AE-AD27-0CB0CA1B2F7E}"/>
          </ac:picMkLst>
        </pc:picChg>
        <pc:picChg chg="mod">
          <ac:chgData name="Ranu Moodley" userId="a692efb4-2302-46bf-a652-3ae1b1cbf713" providerId="ADAL" clId="{928318EF-0676-4AF2-B908-ADF63CAFAA72}" dt="2019-01-18T13:42:53.303" v="2394" actId="1076"/>
          <ac:picMkLst>
            <pc:docMk/>
            <pc:sldMk cId="3374021560" sldId="406"/>
            <ac:picMk id="14" creationId="{10A820C3-445C-4F86-AE5C-6BE6E306D4D4}"/>
          </ac:picMkLst>
        </pc:picChg>
        <pc:cxnChg chg="mod">
          <ac:chgData name="Ranu Moodley" userId="a692efb4-2302-46bf-a652-3ae1b1cbf713" providerId="ADAL" clId="{928318EF-0676-4AF2-B908-ADF63CAFAA72}" dt="2019-02-07T11:17:29.180" v="3108" actId="1076"/>
          <ac:cxnSpMkLst>
            <pc:docMk/>
            <pc:sldMk cId="3374021560" sldId="406"/>
            <ac:cxnSpMk id="30" creationId="{E3C6DB60-6643-49D4-9D6F-104C2575E6A0}"/>
          </ac:cxnSpMkLst>
        </pc:cxnChg>
      </pc:sldChg>
      <pc:sldChg chg="modNotes">
        <pc:chgData name="Ranu Moodley" userId="a692efb4-2302-46bf-a652-3ae1b1cbf713" providerId="ADAL" clId="{928318EF-0676-4AF2-B908-ADF63CAFAA72}" dt="2019-02-12T13:58:27.342" v="3242" actId="20577"/>
        <pc:sldMkLst>
          <pc:docMk/>
          <pc:sldMk cId="1927238142" sldId="407"/>
        </pc:sldMkLst>
      </pc:sldChg>
      <pc:sldChg chg="addSp delSp modSp modNotes">
        <pc:chgData name="Ranu Moodley" userId="a692efb4-2302-46bf-a652-3ae1b1cbf713" providerId="ADAL" clId="{928318EF-0676-4AF2-B908-ADF63CAFAA72}" dt="2019-02-12T13:58:27.350" v="3246" actId="20577"/>
        <pc:sldMkLst>
          <pc:docMk/>
          <pc:sldMk cId="2189140699" sldId="408"/>
        </pc:sldMkLst>
        <pc:spChg chg="mod">
          <ac:chgData name="Ranu Moodley" userId="a692efb4-2302-46bf-a652-3ae1b1cbf713" providerId="ADAL" clId="{928318EF-0676-4AF2-B908-ADF63CAFAA72}" dt="2019-01-14T08:57:38.544" v="1116" actId="208"/>
          <ac:spMkLst>
            <pc:docMk/>
            <pc:sldMk cId="2189140699" sldId="408"/>
            <ac:spMk id="2" creationId="{F6C8F042-1B2D-4100-A348-0B3B7C297952}"/>
          </ac:spMkLst>
        </pc:spChg>
        <pc:spChg chg="del">
          <ac:chgData name="Ranu Moodley" userId="a692efb4-2302-46bf-a652-3ae1b1cbf713" providerId="ADAL" clId="{928318EF-0676-4AF2-B908-ADF63CAFAA72}" dt="2019-01-11T12:54:18.627" v="16" actId="478"/>
          <ac:spMkLst>
            <pc:docMk/>
            <pc:sldMk cId="2189140699" sldId="408"/>
            <ac:spMk id="3" creationId="{226E21F6-5D17-414E-BA75-3799EC6A1D49}"/>
          </ac:spMkLst>
        </pc:spChg>
        <pc:spChg chg="del mod">
          <ac:chgData name="Ranu Moodley" userId="a692efb4-2302-46bf-a652-3ae1b1cbf713" providerId="ADAL" clId="{928318EF-0676-4AF2-B908-ADF63CAFAA72}" dt="2019-01-11T12:55:48.534" v="28" actId="208"/>
          <ac:spMkLst>
            <pc:docMk/>
            <pc:sldMk cId="2189140699" sldId="408"/>
            <ac:spMk id="5" creationId="{D23AD4BD-B843-494A-ABDC-E1A187C56F52}"/>
          </ac:spMkLst>
        </pc:spChg>
        <pc:spChg chg="del mod">
          <ac:chgData name="Ranu Moodley" userId="a692efb4-2302-46bf-a652-3ae1b1cbf713" providerId="ADAL" clId="{928318EF-0676-4AF2-B908-ADF63CAFAA72}" dt="2019-01-11T12:54:24.310" v="18" actId="478"/>
          <ac:spMkLst>
            <pc:docMk/>
            <pc:sldMk cId="2189140699" sldId="408"/>
            <ac:spMk id="6" creationId="{7504DE81-815E-4EFD-9A4B-1133E3B96084}"/>
          </ac:spMkLst>
        </pc:spChg>
        <pc:spChg chg="add del mod">
          <ac:chgData name="Ranu Moodley" userId="a692efb4-2302-46bf-a652-3ae1b1cbf713" providerId="ADAL" clId="{928318EF-0676-4AF2-B908-ADF63CAFAA72}" dt="2019-01-11T12:54:21.615" v="17" actId="478"/>
          <ac:spMkLst>
            <pc:docMk/>
            <pc:sldMk cId="2189140699" sldId="408"/>
            <ac:spMk id="7" creationId="{49C51EF8-DFFF-4B49-AA23-907F14311513}"/>
          </ac:spMkLst>
        </pc:spChg>
        <pc:spChg chg="mod">
          <ac:chgData name="Ranu Moodley" userId="a692efb4-2302-46bf-a652-3ae1b1cbf713" providerId="ADAL" clId="{928318EF-0676-4AF2-B908-ADF63CAFAA72}" dt="2019-01-14T13:46:58.571" v="1229" actId="208"/>
          <ac:spMkLst>
            <pc:docMk/>
            <pc:sldMk cId="2189140699" sldId="408"/>
            <ac:spMk id="8" creationId="{7038179E-46A7-4C95-83C5-D828DA7C87F5}"/>
          </ac:spMkLst>
        </pc:spChg>
        <pc:spChg chg="mod">
          <ac:chgData name="Ranu Moodley" userId="a692efb4-2302-46bf-a652-3ae1b1cbf713" providerId="ADAL" clId="{928318EF-0676-4AF2-B908-ADF63CAFAA72}" dt="2019-01-14T13:46:58.571" v="1229" actId="208"/>
          <ac:spMkLst>
            <pc:docMk/>
            <pc:sldMk cId="2189140699" sldId="408"/>
            <ac:spMk id="9" creationId="{A30C7CDB-752F-441A-9B99-4F82F3D80B8C}"/>
          </ac:spMkLst>
        </pc:spChg>
        <pc:spChg chg="mod">
          <ac:chgData name="Ranu Moodley" userId="a692efb4-2302-46bf-a652-3ae1b1cbf713" providerId="ADAL" clId="{928318EF-0676-4AF2-B908-ADF63CAFAA72}" dt="2019-01-11T12:56:37.640" v="33" actId="208"/>
          <ac:spMkLst>
            <pc:docMk/>
            <pc:sldMk cId="2189140699" sldId="408"/>
            <ac:spMk id="20" creationId="{5C726A55-8F4F-42BF-A65D-420D8109EC30}"/>
          </ac:spMkLst>
        </pc:spChg>
        <pc:spChg chg="mod">
          <ac:chgData name="Ranu Moodley" userId="a692efb4-2302-46bf-a652-3ae1b1cbf713" providerId="ADAL" clId="{928318EF-0676-4AF2-B908-ADF63CAFAA72}" dt="2019-01-11T12:56:37.640" v="33" actId="208"/>
          <ac:spMkLst>
            <pc:docMk/>
            <pc:sldMk cId="2189140699" sldId="408"/>
            <ac:spMk id="21" creationId="{7727B246-672E-42EC-B079-80731FBD814A}"/>
          </ac:spMkLst>
        </pc:spChg>
        <pc:spChg chg="mod">
          <ac:chgData name="Ranu Moodley" userId="a692efb4-2302-46bf-a652-3ae1b1cbf713" providerId="ADAL" clId="{928318EF-0676-4AF2-B908-ADF63CAFAA72}" dt="2019-01-11T12:56:37.640" v="33" actId="208"/>
          <ac:spMkLst>
            <pc:docMk/>
            <pc:sldMk cId="2189140699" sldId="408"/>
            <ac:spMk id="22" creationId="{92CF7792-522D-4065-A392-668A30C141CF}"/>
          </ac:spMkLst>
        </pc:spChg>
        <pc:spChg chg="mod">
          <ac:chgData name="Ranu Moodley" userId="a692efb4-2302-46bf-a652-3ae1b1cbf713" providerId="ADAL" clId="{928318EF-0676-4AF2-B908-ADF63CAFAA72}" dt="2019-01-11T12:56:37.640" v="33" actId="208"/>
          <ac:spMkLst>
            <pc:docMk/>
            <pc:sldMk cId="2189140699" sldId="408"/>
            <ac:spMk id="23" creationId="{AD1740CD-29C5-4375-B2AF-BCB8881055E7}"/>
          </ac:spMkLst>
        </pc:spChg>
        <pc:spChg chg="mod">
          <ac:chgData name="Ranu Moodley" userId="a692efb4-2302-46bf-a652-3ae1b1cbf713" providerId="ADAL" clId="{928318EF-0676-4AF2-B908-ADF63CAFAA72}" dt="2019-01-11T12:56:37.640" v="33" actId="208"/>
          <ac:spMkLst>
            <pc:docMk/>
            <pc:sldMk cId="2189140699" sldId="408"/>
            <ac:spMk id="27" creationId="{8BA30F2D-4978-4CB7-B312-515E7F01ADBC}"/>
          </ac:spMkLst>
        </pc:spChg>
        <pc:spChg chg="mod">
          <ac:chgData name="Ranu Moodley" userId="a692efb4-2302-46bf-a652-3ae1b1cbf713" providerId="ADAL" clId="{928318EF-0676-4AF2-B908-ADF63CAFAA72}" dt="2019-01-11T12:56:37.640" v="33" actId="208"/>
          <ac:spMkLst>
            <pc:docMk/>
            <pc:sldMk cId="2189140699" sldId="408"/>
            <ac:spMk id="28" creationId="{C586A20E-0E43-44FC-8122-D3C3BB8E5C18}"/>
          </ac:spMkLst>
        </pc:spChg>
        <pc:spChg chg="mod">
          <ac:chgData name="Ranu Moodley" userId="a692efb4-2302-46bf-a652-3ae1b1cbf713" providerId="ADAL" clId="{928318EF-0676-4AF2-B908-ADF63CAFAA72}" dt="2019-01-11T12:56:37.640" v="33" actId="208"/>
          <ac:spMkLst>
            <pc:docMk/>
            <pc:sldMk cId="2189140699" sldId="408"/>
            <ac:spMk id="29" creationId="{89996C0E-082E-46DA-B876-AD64F312DF16}"/>
          </ac:spMkLst>
        </pc:spChg>
        <pc:spChg chg="mod">
          <ac:chgData name="Ranu Moodley" userId="a692efb4-2302-46bf-a652-3ae1b1cbf713" providerId="ADAL" clId="{928318EF-0676-4AF2-B908-ADF63CAFAA72}" dt="2019-01-11T12:56:37.640" v="33" actId="208"/>
          <ac:spMkLst>
            <pc:docMk/>
            <pc:sldMk cId="2189140699" sldId="408"/>
            <ac:spMk id="30" creationId="{7EE6B49B-EC4B-4B55-8B6A-02D83B719824}"/>
          </ac:spMkLst>
        </pc:spChg>
        <pc:spChg chg="mod">
          <ac:chgData name="Ranu Moodley" userId="a692efb4-2302-46bf-a652-3ae1b1cbf713" providerId="ADAL" clId="{928318EF-0676-4AF2-B908-ADF63CAFAA72}" dt="2019-01-11T12:56:37.640" v="33" actId="208"/>
          <ac:spMkLst>
            <pc:docMk/>
            <pc:sldMk cId="2189140699" sldId="408"/>
            <ac:spMk id="31" creationId="{DD5CD2DE-8FA8-42D7-AF70-65DFE468AC58}"/>
          </ac:spMkLst>
        </pc:spChg>
        <pc:spChg chg="mod">
          <ac:chgData name="Ranu Moodley" userId="a692efb4-2302-46bf-a652-3ae1b1cbf713" providerId="ADAL" clId="{928318EF-0676-4AF2-B908-ADF63CAFAA72}" dt="2019-01-11T12:56:37.640" v="33" actId="208"/>
          <ac:spMkLst>
            <pc:docMk/>
            <pc:sldMk cId="2189140699" sldId="408"/>
            <ac:spMk id="32" creationId="{0489DEA7-3461-4D74-8831-1D194246E4FB}"/>
          </ac:spMkLst>
        </pc:spChg>
        <pc:grpChg chg="add mod">
          <ac:chgData name="Ranu Moodley" userId="a692efb4-2302-46bf-a652-3ae1b1cbf713" providerId="ADAL" clId="{928318EF-0676-4AF2-B908-ADF63CAFAA72}" dt="2019-01-11T12:57:46.731" v="40" actId="1076"/>
          <ac:grpSpMkLst>
            <pc:docMk/>
            <pc:sldMk cId="2189140699" sldId="408"/>
            <ac:grpSpMk id="19" creationId="{12826FCD-306B-496F-96B1-CB48DA057376}"/>
          </ac:grpSpMkLst>
        </pc:grpChg>
        <pc:picChg chg="add mod">
          <ac:chgData name="Ranu Moodley" userId="a692efb4-2302-46bf-a652-3ae1b1cbf713" providerId="ADAL" clId="{928318EF-0676-4AF2-B908-ADF63CAFAA72}" dt="2019-01-11T12:57:53.291" v="41" actId="1076"/>
          <ac:picMkLst>
            <pc:docMk/>
            <pc:sldMk cId="2189140699" sldId="408"/>
            <ac:picMk id="10" creationId="{D0C0C768-D42A-47D5-AECA-EB96850CF966}"/>
          </ac:picMkLst>
        </pc:picChg>
        <pc:picChg chg="mod">
          <ac:chgData name="Ranu Moodley" userId="a692efb4-2302-46bf-a652-3ae1b1cbf713" providerId="ADAL" clId="{928318EF-0676-4AF2-B908-ADF63CAFAA72}" dt="2019-01-11T13:25:19.523" v="168" actId="1076"/>
          <ac:picMkLst>
            <pc:docMk/>
            <pc:sldMk cId="2189140699" sldId="408"/>
            <ac:picMk id="11" creationId="{5A81D607-025C-4B17-B757-A28D2563A48B}"/>
          </ac:picMkLst>
        </pc:picChg>
        <pc:picChg chg="mod">
          <ac:chgData name="Ranu Moodley" userId="a692efb4-2302-46bf-a652-3ae1b1cbf713" providerId="ADAL" clId="{928318EF-0676-4AF2-B908-ADF63CAFAA72}" dt="2019-01-11T13:25:19.523" v="168" actId="1076"/>
          <ac:picMkLst>
            <pc:docMk/>
            <pc:sldMk cId="2189140699" sldId="408"/>
            <ac:picMk id="12" creationId="{21777F3C-975D-43B4-AF39-6170096E78BE}"/>
          </ac:picMkLst>
        </pc:picChg>
        <pc:picChg chg="del">
          <ac:chgData name="Ranu Moodley" userId="a692efb4-2302-46bf-a652-3ae1b1cbf713" providerId="ADAL" clId="{928318EF-0676-4AF2-B908-ADF63CAFAA72}" dt="2019-01-11T12:54:27.023" v="19" actId="478"/>
          <ac:picMkLst>
            <pc:docMk/>
            <pc:sldMk cId="2189140699" sldId="408"/>
            <ac:picMk id="13" creationId="{4941EAEB-46C9-42AE-AD27-0CB0CA1B2F7E}"/>
          </ac:picMkLst>
        </pc:picChg>
        <pc:picChg chg="mod">
          <ac:chgData name="Ranu Moodley" userId="a692efb4-2302-46bf-a652-3ae1b1cbf713" providerId="ADAL" clId="{928318EF-0676-4AF2-B908-ADF63CAFAA72}" dt="2019-01-11T13:25:25.530" v="169" actId="1076"/>
          <ac:picMkLst>
            <pc:docMk/>
            <pc:sldMk cId="2189140699" sldId="408"/>
            <ac:picMk id="14" creationId="{10A820C3-445C-4F86-AE5C-6BE6E306D4D4}"/>
          </ac:picMkLst>
        </pc:picChg>
        <pc:cxnChg chg="mod">
          <ac:chgData name="Ranu Moodley" userId="a692efb4-2302-46bf-a652-3ae1b1cbf713" providerId="ADAL" clId="{928318EF-0676-4AF2-B908-ADF63CAFAA72}" dt="2019-01-11T12:56:37.640" v="33" actId="208"/>
          <ac:cxnSpMkLst>
            <pc:docMk/>
            <pc:sldMk cId="2189140699" sldId="408"/>
            <ac:cxnSpMk id="24" creationId="{B3E95567-0F5E-434D-AB75-113CAEDB87A4}"/>
          </ac:cxnSpMkLst>
        </pc:cxnChg>
        <pc:cxnChg chg="mod">
          <ac:chgData name="Ranu Moodley" userId="a692efb4-2302-46bf-a652-3ae1b1cbf713" providerId="ADAL" clId="{928318EF-0676-4AF2-B908-ADF63CAFAA72}" dt="2019-01-11T12:56:37.640" v="33" actId="208"/>
          <ac:cxnSpMkLst>
            <pc:docMk/>
            <pc:sldMk cId="2189140699" sldId="408"/>
            <ac:cxnSpMk id="25" creationId="{F4DC5F4E-7DE8-41DC-8A11-2BBAF32CC0DD}"/>
          </ac:cxnSpMkLst>
        </pc:cxnChg>
        <pc:cxnChg chg="mod">
          <ac:chgData name="Ranu Moodley" userId="a692efb4-2302-46bf-a652-3ae1b1cbf713" providerId="ADAL" clId="{928318EF-0676-4AF2-B908-ADF63CAFAA72}" dt="2019-01-11T12:56:37.640" v="33" actId="208"/>
          <ac:cxnSpMkLst>
            <pc:docMk/>
            <pc:sldMk cId="2189140699" sldId="408"/>
            <ac:cxnSpMk id="26" creationId="{678D8ED7-4D97-40BA-AEC0-9DA780FE2D1C}"/>
          </ac:cxnSpMkLst>
        </pc:cxnChg>
      </pc:sldChg>
      <pc:sldChg chg="addSp delSp modSp add modNotes">
        <pc:chgData name="Ranu Moodley" userId="a692efb4-2302-46bf-a652-3ae1b1cbf713" providerId="ADAL" clId="{928318EF-0676-4AF2-B908-ADF63CAFAA72}" dt="2019-02-12T13:58:27.400" v="3270" actId="20577"/>
        <pc:sldMkLst>
          <pc:docMk/>
          <pc:sldMk cId="3886407726" sldId="409"/>
        </pc:sldMkLst>
        <pc:spChg chg="mod">
          <ac:chgData name="Ranu Moodley" userId="a692efb4-2302-46bf-a652-3ae1b1cbf713" providerId="ADAL" clId="{928318EF-0676-4AF2-B908-ADF63CAFAA72}" dt="2019-01-14T07:49:43.559" v="503" actId="1076"/>
          <ac:spMkLst>
            <pc:docMk/>
            <pc:sldMk cId="3886407726" sldId="409"/>
            <ac:spMk id="3" creationId="{2AFE6A04-2BED-4644-ACC2-027A476EF2F6}"/>
          </ac:spMkLst>
        </pc:spChg>
        <pc:spChg chg="mod">
          <ac:chgData name="Ranu Moodley" userId="a692efb4-2302-46bf-a652-3ae1b1cbf713" providerId="ADAL" clId="{928318EF-0676-4AF2-B908-ADF63CAFAA72}" dt="2019-01-14T07:46:05.798" v="474" actId="207"/>
          <ac:spMkLst>
            <pc:docMk/>
            <pc:sldMk cId="3886407726" sldId="409"/>
            <ac:spMk id="15" creationId="{4AB9647B-995B-4E42-A8C0-C1754BB9AD8B}"/>
          </ac:spMkLst>
        </pc:spChg>
        <pc:spChg chg="mod">
          <ac:chgData name="Ranu Moodley" userId="a692efb4-2302-46bf-a652-3ae1b1cbf713" providerId="ADAL" clId="{928318EF-0676-4AF2-B908-ADF63CAFAA72}" dt="2019-01-14T07:45:53.990" v="472" actId="207"/>
          <ac:spMkLst>
            <pc:docMk/>
            <pc:sldMk cId="3886407726" sldId="409"/>
            <ac:spMk id="19" creationId="{D61E2896-8229-4237-975B-BB8B3777CBEB}"/>
          </ac:spMkLst>
        </pc:spChg>
        <pc:spChg chg="add mod">
          <ac:chgData name="Ranu Moodley" userId="a692efb4-2302-46bf-a652-3ae1b1cbf713" providerId="ADAL" clId="{928318EF-0676-4AF2-B908-ADF63CAFAA72}" dt="2019-01-14T07:49:11.849" v="494" actId="403"/>
          <ac:spMkLst>
            <pc:docMk/>
            <pc:sldMk cId="3886407726" sldId="409"/>
            <ac:spMk id="21" creationId="{96EDE0AC-3DE9-4585-9C65-5C203D9A0350}"/>
          </ac:spMkLst>
        </pc:spChg>
        <pc:spChg chg="add mod">
          <ac:chgData name="Ranu Moodley" userId="a692efb4-2302-46bf-a652-3ae1b1cbf713" providerId="ADAL" clId="{928318EF-0676-4AF2-B908-ADF63CAFAA72}" dt="2019-01-14T07:49:11.849" v="494" actId="403"/>
          <ac:spMkLst>
            <pc:docMk/>
            <pc:sldMk cId="3886407726" sldId="409"/>
            <ac:spMk id="23" creationId="{84F78DD6-410D-4665-B6B2-5B5C2AE896E9}"/>
          </ac:spMkLst>
        </pc:spChg>
        <pc:spChg chg="add mod">
          <ac:chgData name="Ranu Moodley" userId="a692efb4-2302-46bf-a652-3ae1b1cbf713" providerId="ADAL" clId="{928318EF-0676-4AF2-B908-ADF63CAFAA72}" dt="2019-01-14T07:49:11.849" v="494" actId="403"/>
          <ac:spMkLst>
            <pc:docMk/>
            <pc:sldMk cId="3886407726" sldId="409"/>
            <ac:spMk id="24" creationId="{B14B9267-0F65-4E5C-9318-E4BDC867E0CD}"/>
          </ac:spMkLst>
        </pc:spChg>
        <pc:spChg chg="add mod">
          <ac:chgData name="Ranu Moodley" userId="a692efb4-2302-46bf-a652-3ae1b1cbf713" providerId="ADAL" clId="{928318EF-0676-4AF2-B908-ADF63CAFAA72}" dt="2019-01-14T07:49:11.849" v="494" actId="403"/>
          <ac:spMkLst>
            <pc:docMk/>
            <pc:sldMk cId="3886407726" sldId="409"/>
            <ac:spMk id="25" creationId="{A8FF5C05-0E5C-436E-B06C-F3FA30AB0C91}"/>
          </ac:spMkLst>
        </pc:spChg>
        <pc:spChg chg="del mod">
          <ac:chgData name="Ranu Moodley" userId="a692efb4-2302-46bf-a652-3ae1b1cbf713" providerId="ADAL" clId="{928318EF-0676-4AF2-B908-ADF63CAFAA72}" dt="2019-01-14T07:47:03.184" v="482" actId="478"/>
          <ac:spMkLst>
            <pc:docMk/>
            <pc:sldMk cId="3886407726" sldId="409"/>
            <ac:spMk id="35" creationId="{CC03EC0E-2877-4F7D-84E9-CC96FE0276A6}"/>
          </ac:spMkLst>
        </pc:spChg>
        <pc:spChg chg="mod">
          <ac:chgData name="Ranu Moodley" userId="a692efb4-2302-46bf-a652-3ae1b1cbf713" providerId="ADAL" clId="{928318EF-0676-4AF2-B908-ADF63CAFAA72}" dt="2019-01-14T07:50:35.183" v="509" actId="1076"/>
          <ac:spMkLst>
            <pc:docMk/>
            <pc:sldMk cId="3886407726" sldId="409"/>
            <ac:spMk id="36" creationId="{61F9FF38-58D9-4353-ABC8-D9D7C3A91A4F}"/>
          </ac:spMkLst>
        </pc:spChg>
        <pc:grpChg chg="add mod">
          <ac:chgData name="Ranu Moodley" userId="a692efb4-2302-46bf-a652-3ae1b1cbf713" providerId="ADAL" clId="{928318EF-0676-4AF2-B908-ADF63CAFAA72}" dt="2019-01-14T07:49:02.044" v="492" actId="164"/>
          <ac:grpSpMkLst>
            <pc:docMk/>
            <pc:sldMk cId="3886407726" sldId="409"/>
            <ac:grpSpMk id="6" creationId="{AFBB52FA-68C2-4775-BFA6-8908ECC39CB3}"/>
          </ac:grpSpMkLst>
        </pc:grpChg>
        <pc:grpChg chg="add mod">
          <ac:chgData name="Ranu Moodley" userId="a692efb4-2302-46bf-a652-3ae1b1cbf713" providerId="ADAL" clId="{928318EF-0676-4AF2-B908-ADF63CAFAA72}" dt="2019-01-14T07:49:49.973" v="504" actId="1076"/>
          <ac:grpSpMkLst>
            <pc:docMk/>
            <pc:sldMk cId="3886407726" sldId="409"/>
            <ac:grpSpMk id="7" creationId="{BB913602-505D-415D-BA02-1DB9A946DF0F}"/>
          </ac:grpSpMkLst>
        </pc:grpChg>
        <pc:grpChg chg="del">
          <ac:chgData name="Ranu Moodley" userId="a692efb4-2302-46bf-a652-3ae1b1cbf713" providerId="ADAL" clId="{928318EF-0676-4AF2-B908-ADF63CAFAA72}" dt="2019-01-14T07:46:15.627" v="475" actId="478"/>
          <ac:grpSpMkLst>
            <pc:docMk/>
            <pc:sldMk cId="3886407726" sldId="409"/>
            <ac:grpSpMk id="37" creationId="{4583BFCC-CEB0-4243-897C-35470C5D2A15}"/>
          </ac:grpSpMkLst>
        </pc:grpChg>
        <pc:graphicFrameChg chg="add mod">
          <ac:chgData name="Ranu Moodley" userId="a692efb4-2302-46bf-a652-3ae1b1cbf713" providerId="ADAL" clId="{928318EF-0676-4AF2-B908-ADF63CAFAA72}" dt="2019-01-14T07:49:18.482" v="495" actId="1076"/>
          <ac:graphicFrameMkLst>
            <pc:docMk/>
            <pc:sldMk cId="3886407726" sldId="409"/>
            <ac:graphicFrameMk id="20" creationId="{5DC829BA-27ED-4409-9B16-35B7ACD320F6}"/>
          </ac:graphicFrameMkLst>
        </pc:graphicFrameChg>
        <pc:graphicFrameChg chg="del mod modGraphic">
          <ac:chgData name="Ranu Moodley" userId="a692efb4-2302-46bf-a652-3ae1b1cbf713" providerId="ADAL" clId="{928318EF-0676-4AF2-B908-ADF63CAFAA72}" dt="2019-01-14T07:46:50.400" v="480" actId="478"/>
          <ac:graphicFrameMkLst>
            <pc:docMk/>
            <pc:sldMk cId="3886407726" sldId="409"/>
            <ac:graphicFrameMk id="61" creationId="{5DB4C92C-671D-4693-83D4-84770CB696BD}"/>
          </ac:graphicFrameMkLst>
        </pc:graphicFrameChg>
        <pc:cxnChg chg="add mod">
          <ac:chgData name="Ranu Moodley" userId="a692efb4-2302-46bf-a652-3ae1b1cbf713" providerId="ADAL" clId="{928318EF-0676-4AF2-B908-ADF63CAFAA72}" dt="2019-01-14T07:48:42.646" v="489" actId="164"/>
          <ac:cxnSpMkLst>
            <pc:docMk/>
            <pc:sldMk cId="3886407726" sldId="409"/>
            <ac:cxnSpMk id="22" creationId="{23E61CFC-9E12-417A-9192-AE1C3C60C331}"/>
          </ac:cxnSpMkLst>
        </pc:cxnChg>
        <pc:cxnChg chg="mod">
          <ac:chgData name="Ranu Moodley" userId="a692efb4-2302-46bf-a652-3ae1b1cbf713" providerId="ADAL" clId="{928318EF-0676-4AF2-B908-ADF63CAFAA72}" dt="2019-01-14T07:46:15.627" v="475" actId="478"/>
          <ac:cxnSpMkLst>
            <pc:docMk/>
            <pc:sldMk cId="3886407726" sldId="409"/>
            <ac:cxnSpMk id="38" creationId="{5ADF4E5A-0FC1-4455-A356-A9A470416A41}"/>
          </ac:cxnSpMkLst>
        </pc:cxnChg>
      </pc:sldChg>
      <pc:sldChg chg="addSp delSp modSp add modNotes">
        <pc:chgData name="Ranu Moodley" userId="a692efb4-2302-46bf-a652-3ae1b1cbf713" providerId="ADAL" clId="{928318EF-0676-4AF2-B908-ADF63CAFAA72}" dt="2019-02-12T13:58:27.366" v="3254" actId="20577"/>
        <pc:sldMkLst>
          <pc:docMk/>
          <pc:sldMk cId="2660778222" sldId="412"/>
        </pc:sldMkLst>
        <pc:spChg chg="mod">
          <ac:chgData name="Ranu Moodley" userId="a692efb4-2302-46bf-a652-3ae1b1cbf713" providerId="ADAL" clId="{928318EF-0676-4AF2-B908-ADF63CAFAA72}" dt="2019-01-23T10:37:34.767" v="2500" actId="208"/>
          <ac:spMkLst>
            <pc:docMk/>
            <pc:sldMk cId="2660778222" sldId="412"/>
            <ac:spMk id="3" creationId="{2AFE6A04-2BED-4644-ACC2-027A476EF2F6}"/>
          </ac:spMkLst>
        </pc:spChg>
        <pc:spChg chg="mod">
          <ac:chgData name="Ranu Moodley" userId="a692efb4-2302-46bf-a652-3ae1b1cbf713" providerId="ADAL" clId="{928318EF-0676-4AF2-B908-ADF63CAFAA72}" dt="2019-01-23T11:13:48.984" v="2586" actId="20577"/>
          <ac:spMkLst>
            <pc:docMk/>
            <pc:sldMk cId="2660778222" sldId="412"/>
            <ac:spMk id="15" creationId="{4AB9647B-995B-4E42-A8C0-C1754BB9AD8B}"/>
          </ac:spMkLst>
        </pc:spChg>
        <pc:spChg chg="mod">
          <ac:chgData name="Ranu Moodley" userId="a692efb4-2302-46bf-a652-3ae1b1cbf713" providerId="ADAL" clId="{928318EF-0676-4AF2-B908-ADF63CAFAA72}" dt="2019-01-23T11:28:25.500" v="2755" actId="6549"/>
          <ac:spMkLst>
            <pc:docMk/>
            <pc:sldMk cId="2660778222" sldId="412"/>
            <ac:spMk id="16" creationId="{198E8A7D-FE76-4B49-A44B-A625DCA325CC}"/>
          </ac:spMkLst>
        </pc:spChg>
        <pc:spChg chg="mod">
          <ac:chgData name="Ranu Moodley" userId="a692efb4-2302-46bf-a652-3ae1b1cbf713" providerId="ADAL" clId="{928318EF-0676-4AF2-B908-ADF63CAFAA72}" dt="2019-01-23T10:35:58.077" v="2411" actId="208"/>
          <ac:spMkLst>
            <pc:docMk/>
            <pc:sldMk cId="2660778222" sldId="412"/>
            <ac:spMk id="18" creationId="{728A5B50-4CC3-4774-918E-5C5900256711}"/>
          </ac:spMkLst>
        </pc:spChg>
        <pc:spChg chg="mod">
          <ac:chgData name="Ranu Moodley" userId="a692efb4-2302-46bf-a652-3ae1b1cbf713" providerId="ADAL" clId="{928318EF-0676-4AF2-B908-ADF63CAFAA72}" dt="2019-01-23T11:26:04.684" v="2750" actId="20577"/>
          <ac:spMkLst>
            <pc:docMk/>
            <pc:sldMk cId="2660778222" sldId="412"/>
            <ac:spMk id="19" creationId="{D61E2896-8229-4237-975B-BB8B3777CBEB}"/>
          </ac:spMkLst>
        </pc:spChg>
        <pc:spChg chg="mod">
          <ac:chgData name="Ranu Moodley" userId="a692efb4-2302-46bf-a652-3ae1b1cbf713" providerId="ADAL" clId="{928318EF-0676-4AF2-B908-ADF63CAFAA72}" dt="2019-01-23T11:12:42.585" v="2522" actId="1076"/>
          <ac:spMkLst>
            <pc:docMk/>
            <pc:sldMk cId="2660778222" sldId="412"/>
            <ac:spMk id="35" creationId="{CC03EC0E-2877-4F7D-84E9-CC96FE0276A6}"/>
          </ac:spMkLst>
        </pc:spChg>
        <pc:spChg chg="mod">
          <ac:chgData name="Ranu Moodley" userId="a692efb4-2302-46bf-a652-3ae1b1cbf713" providerId="ADAL" clId="{928318EF-0676-4AF2-B908-ADF63CAFAA72}" dt="2019-01-23T10:36:34.101" v="2480" actId="20577"/>
          <ac:spMkLst>
            <pc:docMk/>
            <pc:sldMk cId="2660778222" sldId="412"/>
            <ac:spMk id="36" creationId="{61F9FF38-58D9-4353-ABC8-D9D7C3A91A4F}"/>
          </ac:spMkLst>
        </pc:spChg>
        <pc:spChg chg="mod">
          <ac:chgData name="Ranu Moodley" userId="a692efb4-2302-46bf-a652-3ae1b1cbf713" providerId="ADAL" clId="{928318EF-0676-4AF2-B908-ADF63CAFAA72}" dt="2019-01-23T10:36:09.178" v="2416" actId="208"/>
          <ac:spMkLst>
            <pc:docMk/>
            <pc:sldMk cId="2660778222" sldId="412"/>
            <ac:spMk id="62" creationId="{5869EDB8-061A-4B58-9FCA-2CA01382B8B2}"/>
          </ac:spMkLst>
        </pc:spChg>
        <pc:grpChg chg="del mod">
          <ac:chgData name="Ranu Moodley" userId="a692efb4-2302-46bf-a652-3ae1b1cbf713" providerId="ADAL" clId="{928318EF-0676-4AF2-B908-ADF63CAFAA72}" dt="2019-01-23T10:35:36.276" v="2406" actId="478"/>
          <ac:grpSpMkLst>
            <pc:docMk/>
            <pc:sldMk cId="2660778222" sldId="412"/>
            <ac:grpSpMk id="37" creationId="{4583BFCC-CEB0-4243-897C-35470C5D2A15}"/>
          </ac:grpSpMkLst>
        </pc:grpChg>
        <pc:graphicFrameChg chg="add del">
          <ac:chgData name="Ranu Moodley" userId="a692efb4-2302-46bf-a652-3ae1b1cbf713" providerId="ADAL" clId="{928318EF-0676-4AF2-B908-ADF63CAFAA72}" dt="2019-01-23T11:22:43.491" v="2697"/>
          <ac:graphicFrameMkLst>
            <pc:docMk/>
            <pc:sldMk cId="2660778222" sldId="412"/>
            <ac:graphicFrameMk id="4" creationId="{46C57A57-5B35-4616-8CD2-4E696BCBC461}"/>
          </ac:graphicFrameMkLst>
        </pc:graphicFrameChg>
        <pc:graphicFrameChg chg="add mod">
          <ac:chgData name="Ranu Moodley" userId="a692efb4-2302-46bf-a652-3ae1b1cbf713" providerId="ADAL" clId="{928318EF-0676-4AF2-B908-ADF63CAFAA72}" dt="2019-01-23T11:25:35.279" v="2714" actId="12385"/>
          <ac:graphicFrameMkLst>
            <pc:docMk/>
            <pc:sldMk cId="2660778222" sldId="412"/>
            <ac:graphicFrameMk id="5" creationId="{88F46CC2-A7DA-446A-AC6D-3F9F6D3A73CB}"/>
          </ac:graphicFrameMkLst>
        </pc:graphicFrameChg>
        <pc:graphicFrameChg chg="add mod">
          <ac:chgData name="Ranu Moodley" userId="a692efb4-2302-46bf-a652-3ae1b1cbf713" providerId="ADAL" clId="{928318EF-0676-4AF2-B908-ADF63CAFAA72}" dt="2019-01-23T11:25:42.526" v="2715" actId="1076"/>
          <ac:graphicFrameMkLst>
            <pc:docMk/>
            <pc:sldMk cId="2660778222" sldId="412"/>
            <ac:graphicFrameMk id="22" creationId="{A57B2D20-89A5-4D65-AA29-3A59383E8997}"/>
          </ac:graphicFrameMkLst>
        </pc:graphicFrameChg>
        <pc:graphicFrameChg chg="del modGraphic">
          <ac:chgData name="Ranu Moodley" userId="a692efb4-2302-46bf-a652-3ae1b1cbf713" providerId="ADAL" clId="{928318EF-0676-4AF2-B908-ADF63CAFAA72}" dt="2019-01-23T10:35:41.269" v="2408" actId="478"/>
          <ac:graphicFrameMkLst>
            <pc:docMk/>
            <pc:sldMk cId="2660778222" sldId="412"/>
            <ac:graphicFrameMk id="61" creationId="{5DB4C92C-671D-4693-83D4-84770CB696BD}"/>
          </ac:graphicFrameMkLst>
        </pc:graphicFrameChg>
        <pc:picChg chg="add del mod">
          <ac:chgData name="Ranu Moodley" userId="a692efb4-2302-46bf-a652-3ae1b1cbf713" providerId="ADAL" clId="{928318EF-0676-4AF2-B908-ADF63CAFAA72}" dt="2019-01-23T11:22:41.353" v="2695" actId="478"/>
          <ac:picMkLst>
            <pc:docMk/>
            <pc:sldMk cId="2660778222" sldId="412"/>
            <ac:picMk id="2" creationId="{7B6ECB6C-32BF-4641-B3D1-07D510DB345E}"/>
          </ac:picMkLst>
        </pc:picChg>
        <pc:picChg chg="add del mod">
          <ac:chgData name="Ranu Moodley" userId="a692efb4-2302-46bf-a652-3ae1b1cbf713" providerId="ADAL" clId="{928318EF-0676-4AF2-B908-ADF63CAFAA72}" dt="2019-01-23T11:12:38.599" v="2519" actId="478"/>
          <ac:picMkLst>
            <pc:docMk/>
            <pc:sldMk cId="2660778222" sldId="412"/>
            <ac:picMk id="20" creationId="{05015956-D85F-45A9-A530-AE8D59182FE3}"/>
          </ac:picMkLst>
        </pc:picChg>
        <pc:cxnChg chg="mod">
          <ac:chgData name="Ranu Moodley" userId="a692efb4-2302-46bf-a652-3ae1b1cbf713" providerId="ADAL" clId="{928318EF-0676-4AF2-B908-ADF63CAFAA72}" dt="2019-01-23T10:35:36.276" v="2406" actId="478"/>
          <ac:cxnSpMkLst>
            <pc:docMk/>
            <pc:sldMk cId="2660778222" sldId="412"/>
            <ac:cxnSpMk id="38" creationId="{5ADF4E5A-0FC1-4455-A356-A9A470416A41}"/>
          </ac:cxnSpMkLst>
        </pc:cxnChg>
      </pc:sldChg>
      <pc:sldChg chg="addSp delSp modSp add modNotes">
        <pc:chgData name="Ranu Moodley" userId="a692efb4-2302-46bf-a652-3ae1b1cbf713" providerId="ADAL" clId="{928318EF-0676-4AF2-B908-ADF63CAFAA72}" dt="2019-02-12T13:58:27.374" v="3258" actId="20577"/>
        <pc:sldMkLst>
          <pc:docMk/>
          <pc:sldMk cId="2233024255" sldId="413"/>
        </pc:sldMkLst>
        <pc:spChg chg="del">
          <ac:chgData name="Ranu Moodley" userId="a692efb4-2302-46bf-a652-3ae1b1cbf713" providerId="ADAL" clId="{928318EF-0676-4AF2-B908-ADF63CAFAA72}" dt="2019-01-23T11:12:09.978" v="2515" actId="478"/>
          <ac:spMkLst>
            <pc:docMk/>
            <pc:sldMk cId="2233024255" sldId="413"/>
            <ac:spMk id="3" creationId="{2AFE6A04-2BED-4644-ACC2-027A476EF2F6}"/>
          </ac:spMkLst>
        </pc:spChg>
        <pc:spChg chg="add del mod">
          <ac:chgData name="Ranu Moodley" userId="a692efb4-2302-46bf-a652-3ae1b1cbf713" providerId="ADAL" clId="{928318EF-0676-4AF2-B908-ADF63CAFAA72}" dt="2019-01-23T11:24:00.434" v="2706" actId="478"/>
          <ac:spMkLst>
            <pc:docMk/>
            <pc:sldMk cId="2233024255" sldId="413"/>
            <ac:spMk id="12" creationId="{E8B6746C-C7F2-4405-9892-D94BD49FA12F}"/>
          </ac:spMkLst>
        </pc:spChg>
        <pc:spChg chg="add mod">
          <ac:chgData name="Ranu Moodley" userId="a692efb4-2302-46bf-a652-3ae1b1cbf713" providerId="ADAL" clId="{928318EF-0676-4AF2-B908-ADF63CAFAA72}" dt="2019-01-23T11:24:21.680" v="2709" actId="164"/>
          <ac:spMkLst>
            <pc:docMk/>
            <pc:sldMk cId="2233024255" sldId="413"/>
            <ac:spMk id="13" creationId="{3797F819-7FD2-402A-A92B-63542461C127}"/>
          </ac:spMkLst>
        </pc:spChg>
        <pc:spChg chg="add mod">
          <ac:chgData name="Ranu Moodley" userId="a692efb4-2302-46bf-a652-3ae1b1cbf713" providerId="ADAL" clId="{928318EF-0676-4AF2-B908-ADF63CAFAA72}" dt="2019-01-23T11:24:21.680" v="2709" actId="164"/>
          <ac:spMkLst>
            <pc:docMk/>
            <pc:sldMk cId="2233024255" sldId="413"/>
            <ac:spMk id="14" creationId="{B4FA1E6F-972B-4080-96EB-2BCC8479C448}"/>
          </ac:spMkLst>
        </pc:spChg>
        <pc:spChg chg="mod">
          <ac:chgData name="Ranu Moodley" userId="a692efb4-2302-46bf-a652-3ae1b1cbf713" providerId="ADAL" clId="{928318EF-0676-4AF2-B908-ADF63CAFAA72}" dt="2019-01-23T11:26:11.820" v="2751"/>
          <ac:spMkLst>
            <pc:docMk/>
            <pc:sldMk cId="2233024255" sldId="413"/>
            <ac:spMk id="15" creationId="{4AB9647B-995B-4E42-A8C0-C1754BB9AD8B}"/>
          </ac:spMkLst>
        </pc:spChg>
        <pc:spChg chg="mod">
          <ac:chgData name="Ranu Moodley" userId="a692efb4-2302-46bf-a652-3ae1b1cbf713" providerId="ADAL" clId="{928318EF-0676-4AF2-B908-ADF63CAFAA72}" dt="2019-01-23T11:28:19.859" v="2754" actId="6549"/>
          <ac:spMkLst>
            <pc:docMk/>
            <pc:sldMk cId="2233024255" sldId="413"/>
            <ac:spMk id="16" creationId="{198E8A7D-FE76-4B49-A44B-A625DCA325CC}"/>
          </ac:spMkLst>
        </pc:spChg>
        <pc:spChg chg="add mod">
          <ac:chgData name="Ranu Moodley" userId="a692efb4-2302-46bf-a652-3ae1b1cbf713" providerId="ADAL" clId="{928318EF-0676-4AF2-B908-ADF63CAFAA72}" dt="2019-01-23T11:24:21.680" v="2709" actId="164"/>
          <ac:spMkLst>
            <pc:docMk/>
            <pc:sldMk cId="2233024255" sldId="413"/>
            <ac:spMk id="17" creationId="{C277F2D3-0923-4967-BEB4-9A13E6A436C9}"/>
          </ac:spMkLst>
        </pc:spChg>
        <pc:spChg chg="mod">
          <ac:chgData name="Ranu Moodley" userId="a692efb4-2302-46bf-a652-3ae1b1cbf713" providerId="ADAL" clId="{928318EF-0676-4AF2-B908-ADF63CAFAA72}" dt="2019-01-23T11:13:37.808" v="2565" actId="20577"/>
          <ac:spMkLst>
            <pc:docMk/>
            <pc:sldMk cId="2233024255" sldId="413"/>
            <ac:spMk id="19" creationId="{D61E2896-8229-4237-975B-BB8B3777CBEB}"/>
          </ac:spMkLst>
        </pc:spChg>
        <pc:spChg chg="add mod">
          <ac:chgData name="Ranu Moodley" userId="a692efb4-2302-46bf-a652-3ae1b1cbf713" providerId="ADAL" clId="{928318EF-0676-4AF2-B908-ADF63CAFAA72}" dt="2019-01-23T11:24:21.680" v="2709" actId="164"/>
          <ac:spMkLst>
            <pc:docMk/>
            <pc:sldMk cId="2233024255" sldId="413"/>
            <ac:spMk id="21" creationId="{47FC3D8A-52D4-4535-BE97-E2654B98BB30}"/>
          </ac:spMkLst>
        </pc:spChg>
        <pc:spChg chg="add mod">
          <ac:chgData name="Ranu Moodley" userId="a692efb4-2302-46bf-a652-3ae1b1cbf713" providerId="ADAL" clId="{928318EF-0676-4AF2-B908-ADF63CAFAA72}" dt="2019-01-23T11:24:21.680" v="2709" actId="164"/>
          <ac:spMkLst>
            <pc:docMk/>
            <pc:sldMk cId="2233024255" sldId="413"/>
            <ac:spMk id="22" creationId="{05B5D84C-27AC-4A7F-BEFD-E44A79967969}"/>
          </ac:spMkLst>
        </pc:spChg>
        <pc:spChg chg="add mod">
          <ac:chgData name="Ranu Moodley" userId="a692efb4-2302-46bf-a652-3ae1b1cbf713" providerId="ADAL" clId="{928318EF-0676-4AF2-B908-ADF63CAFAA72}" dt="2019-01-23T11:24:21.680" v="2709" actId="164"/>
          <ac:spMkLst>
            <pc:docMk/>
            <pc:sldMk cId="2233024255" sldId="413"/>
            <ac:spMk id="23" creationId="{7148021D-AA52-4DAC-9533-2EBC4BBB0A0A}"/>
          </ac:spMkLst>
        </pc:spChg>
        <pc:spChg chg="add mod">
          <ac:chgData name="Ranu Moodley" userId="a692efb4-2302-46bf-a652-3ae1b1cbf713" providerId="ADAL" clId="{928318EF-0676-4AF2-B908-ADF63CAFAA72}" dt="2019-01-23T11:24:21.680" v="2709" actId="164"/>
          <ac:spMkLst>
            <pc:docMk/>
            <pc:sldMk cId="2233024255" sldId="413"/>
            <ac:spMk id="24" creationId="{F8098E36-6480-4046-A5C3-5458647E326C}"/>
          </ac:spMkLst>
        </pc:spChg>
        <pc:spChg chg="add mod">
          <ac:chgData name="Ranu Moodley" userId="a692efb4-2302-46bf-a652-3ae1b1cbf713" providerId="ADAL" clId="{928318EF-0676-4AF2-B908-ADF63CAFAA72}" dt="2019-01-23T11:24:21.680" v="2709" actId="164"/>
          <ac:spMkLst>
            <pc:docMk/>
            <pc:sldMk cId="2233024255" sldId="413"/>
            <ac:spMk id="25" creationId="{A65CBA75-882E-4BB6-AC5C-0D636F37299B}"/>
          </ac:spMkLst>
        </pc:spChg>
        <pc:spChg chg="add mod">
          <ac:chgData name="Ranu Moodley" userId="a692efb4-2302-46bf-a652-3ae1b1cbf713" providerId="ADAL" clId="{928318EF-0676-4AF2-B908-ADF63CAFAA72}" dt="2019-01-23T11:24:21.680" v="2709" actId="164"/>
          <ac:spMkLst>
            <pc:docMk/>
            <pc:sldMk cId="2233024255" sldId="413"/>
            <ac:spMk id="26" creationId="{F296D355-B5BC-4A7C-8003-024935128F3B}"/>
          </ac:spMkLst>
        </pc:spChg>
        <pc:spChg chg="add mod">
          <ac:chgData name="Ranu Moodley" userId="a692efb4-2302-46bf-a652-3ae1b1cbf713" providerId="ADAL" clId="{928318EF-0676-4AF2-B908-ADF63CAFAA72}" dt="2019-01-23T11:24:21.680" v="2709" actId="164"/>
          <ac:spMkLst>
            <pc:docMk/>
            <pc:sldMk cId="2233024255" sldId="413"/>
            <ac:spMk id="27" creationId="{E1180811-0926-4323-8393-73BBC8666FE9}"/>
          </ac:spMkLst>
        </pc:spChg>
        <pc:spChg chg="add mod">
          <ac:chgData name="Ranu Moodley" userId="a692efb4-2302-46bf-a652-3ae1b1cbf713" providerId="ADAL" clId="{928318EF-0676-4AF2-B908-ADF63CAFAA72}" dt="2019-01-23T11:24:21.680" v="2709" actId="164"/>
          <ac:spMkLst>
            <pc:docMk/>
            <pc:sldMk cId="2233024255" sldId="413"/>
            <ac:spMk id="28" creationId="{D9881671-38CA-423C-842C-531CB17DC9A3}"/>
          </ac:spMkLst>
        </pc:spChg>
        <pc:spChg chg="add mod">
          <ac:chgData name="Ranu Moodley" userId="a692efb4-2302-46bf-a652-3ae1b1cbf713" providerId="ADAL" clId="{928318EF-0676-4AF2-B908-ADF63CAFAA72}" dt="2019-01-23T11:24:21.680" v="2709" actId="164"/>
          <ac:spMkLst>
            <pc:docMk/>
            <pc:sldMk cId="2233024255" sldId="413"/>
            <ac:spMk id="29" creationId="{1A4BE709-250C-4208-AC24-664B851A3E25}"/>
          </ac:spMkLst>
        </pc:spChg>
        <pc:spChg chg="add mod">
          <ac:chgData name="Ranu Moodley" userId="a692efb4-2302-46bf-a652-3ae1b1cbf713" providerId="ADAL" clId="{928318EF-0676-4AF2-B908-ADF63CAFAA72}" dt="2019-01-23T11:24:21.680" v="2709" actId="164"/>
          <ac:spMkLst>
            <pc:docMk/>
            <pc:sldMk cId="2233024255" sldId="413"/>
            <ac:spMk id="30" creationId="{57F115B9-3439-4674-90D0-1CBE4A893C8C}"/>
          </ac:spMkLst>
        </pc:spChg>
        <pc:spChg chg="add mod">
          <ac:chgData name="Ranu Moodley" userId="a692efb4-2302-46bf-a652-3ae1b1cbf713" providerId="ADAL" clId="{928318EF-0676-4AF2-B908-ADF63CAFAA72}" dt="2019-01-23T11:24:21.680" v="2709" actId="164"/>
          <ac:spMkLst>
            <pc:docMk/>
            <pc:sldMk cId="2233024255" sldId="413"/>
            <ac:spMk id="31" creationId="{9A914D1E-307F-49F5-843B-0EC3D71752BE}"/>
          </ac:spMkLst>
        </pc:spChg>
        <pc:spChg chg="add mod">
          <ac:chgData name="Ranu Moodley" userId="a692efb4-2302-46bf-a652-3ae1b1cbf713" providerId="ADAL" clId="{928318EF-0676-4AF2-B908-ADF63CAFAA72}" dt="2019-01-23T11:24:21.680" v="2709" actId="164"/>
          <ac:spMkLst>
            <pc:docMk/>
            <pc:sldMk cId="2233024255" sldId="413"/>
            <ac:spMk id="32" creationId="{FD68E8D6-0248-4FEF-9FE5-B1026D973787}"/>
          </ac:spMkLst>
        </pc:spChg>
        <pc:spChg chg="add mod">
          <ac:chgData name="Ranu Moodley" userId="a692efb4-2302-46bf-a652-3ae1b1cbf713" providerId="ADAL" clId="{928318EF-0676-4AF2-B908-ADF63CAFAA72}" dt="2019-01-23T11:24:21.680" v="2709" actId="164"/>
          <ac:spMkLst>
            <pc:docMk/>
            <pc:sldMk cId="2233024255" sldId="413"/>
            <ac:spMk id="33" creationId="{2C3325F4-770A-4860-B5DC-18EBC2BC0A23}"/>
          </ac:spMkLst>
        </pc:spChg>
        <pc:spChg chg="add mod">
          <ac:chgData name="Ranu Moodley" userId="a692efb4-2302-46bf-a652-3ae1b1cbf713" providerId="ADAL" clId="{928318EF-0676-4AF2-B908-ADF63CAFAA72}" dt="2019-01-23T11:24:21.680" v="2709" actId="164"/>
          <ac:spMkLst>
            <pc:docMk/>
            <pc:sldMk cId="2233024255" sldId="413"/>
            <ac:spMk id="34" creationId="{FCA11B9C-3D74-4562-9EB6-F0F3CFF89862}"/>
          </ac:spMkLst>
        </pc:spChg>
        <pc:spChg chg="del">
          <ac:chgData name="Ranu Moodley" userId="a692efb4-2302-46bf-a652-3ae1b1cbf713" providerId="ADAL" clId="{928318EF-0676-4AF2-B908-ADF63CAFAA72}" dt="2019-01-23T11:23:57.848" v="2705" actId="478"/>
          <ac:spMkLst>
            <pc:docMk/>
            <pc:sldMk cId="2233024255" sldId="413"/>
            <ac:spMk id="35" creationId="{CC03EC0E-2877-4F7D-84E9-CC96FE0276A6}"/>
          </ac:spMkLst>
        </pc:spChg>
        <pc:spChg chg="add mod">
          <ac:chgData name="Ranu Moodley" userId="a692efb4-2302-46bf-a652-3ae1b1cbf713" providerId="ADAL" clId="{928318EF-0676-4AF2-B908-ADF63CAFAA72}" dt="2019-01-23T11:24:21.680" v="2709" actId="164"/>
          <ac:spMkLst>
            <pc:docMk/>
            <pc:sldMk cId="2233024255" sldId="413"/>
            <ac:spMk id="44" creationId="{694A53C7-C739-43A2-905A-17EEB000C82F}"/>
          </ac:spMkLst>
        </pc:spChg>
        <pc:spChg chg="add mod">
          <ac:chgData name="Ranu Moodley" userId="a692efb4-2302-46bf-a652-3ae1b1cbf713" providerId="ADAL" clId="{928318EF-0676-4AF2-B908-ADF63CAFAA72}" dt="2019-01-23T11:24:21.680" v="2709" actId="164"/>
          <ac:spMkLst>
            <pc:docMk/>
            <pc:sldMk cId="2233024255" sldId="413"/>
            <ac:spMk id="46" creationId="{E3CBDD8A-4CEA-4274-BA43-A527809F02B7}"/>
          </ac:spMkLst>
        </pc:spChg>
        <pc:spChg chg="add mod">
          <ac:chgData name="Ranu Moodley" userId="a692efb4-2302-46bf-a652-3ae1b1cbf713" providerId="ADAL" clId="{928318EF-0676-4AF2-B908-ADF63CAFAA72}" dt="2019-01-23T11:24:21.680" v="2709" actId="164"/>
          <ac:spMkLst>
            <pc:docMk/>
            <pc:sldMk cId="2233024255" sldId="413"/>
            <ac:spMk id="48" creationId="{1032FB4B-8B2C-47C2-B821-823D5F66126C}"/>
          </ac:spMkLst>
        </pc:spChg>
        <pc:spChg chg="add mod">
          <ac:chgData name="Ranu Moodley" userId="a692efb4-2302-46bf-a652-3ae1b1cbf713" providerId="ADAL" clId="{928318EF-0676-4AF2-B908-ADF63CAFAA72}" dt="2019-01-23T11:24:21.680" v="2709" actId="164"/>
          <ac:spMkLst>
            <pc:docMk/>
            <pc:sldMk cId="2233024255" sldId="413"/>
            <ac:spMk id="51" creationId="{5E398087-FAE2-45F0-BE6F-F2A7171214A2}"/>
          </ac:spMkLst>
        </pc:spChg>
        <pc:spChg chg="add mod">
          <ac:chgData name="Ranu Moodley" userId="a692efb4-2302-46bf-a652-3ae1b1cbf713" providerId="ADAL" clId="{928318EF-0676-4AF2-B908-ADF63CAFAA72}" dt="2019-01-23T11:24:21.680" v="2709" actId="164"/>
          <ac:spMkLst>
            <pc:docMk/>
            <pc:sldMk cId="2233024255" sldId="413"/>
            <ac:spMk id="52" creationId="{BF348875-B68A-4C76-9819-8B41D6C4BCDA}"/>
          </ac:spMkLst>
        </pc:spChg>
        <pc:spChg chg="add mod">
          <ac:chgData name="Ranu Moodley" userId="a692efb4-2302-46bf-a652-3ae1b1cbf713" providerId="ADAL" clId="{928318EF-0676-4AF2-B908-ADF63CAFAA72}" dt="2019-01-23T11:24:21.680" v="2709" actId="164"/>
          <ac:spMkLst>
            <pc:docMk/>
            <pc:sldMk cId="2233024255" sldId="413"/>
            <ac:spMk id="53" creationId="{9EB0D342-D4CA-4208-9417-78DC1A46D8B2}"/>
          </ac:spMkLst>
        </pc:spChg>
        <pc:spChg chg="add mod">
          <ac:chgData name="Ranu Moodley" userId="a692efb4-2302-46bf-a652-3ae1b1cbf713" providerId="ADAL" clId="{928318EF-0676-4AF2-B908-ADF63CAFAA72}" dt="2019-01-23T11:24:21.680" v="2709" actId="164"/>
          <ac:spMkLst>
            <pc:docMk/>
            <pc:sldMk cId="2233024255" sldId="413"/>
            <ac:spMk id="54" creationId="{B9753B51-03D7-4365-AF8C-5F0A8A23B93D}"/>
          </ac:spMkLst>
        </pc:spChg>
        <pc:spChg chg="add mod">
          <ac:chgData name="Ranu Moodley" userId="a692efb4-2302-46bf-a652-3ae1b1cbf713" providerId="ADAL" clId="{928318EF-0676-4AF2-B908-ADF63CAFAA72}" dt="2019-01-23T11:24:21.680" v="2709" actId="164"/>
          <ac:spMkLst>
            <pc:docMk/>
            <pc:sldMk cId="2233024255" sldId="413"/>
            <ac:spMk id="57" creationId="{6B6800B0-6666-45DC-8DC9-B883F89D2D09}"/>
          </ac:spMkLst>
        </pc:spChg>
        <pc:spChg chg="add mod">
          <ac:chgData name="Ranu Moodley" userId="a692efb4-2302-46bf-a652-3ae1b1cbf713" providerId="ADAL" clId="{928318EF-0676-4AF2-B908-ADF63CAFAA72}" dt="2019-01-23T11:24:21.680" v="2709" actId="164"/>
          <ac:spMkLst>
            <pc:docMk/>
            <pc:sldMk cId="2233024255" sldId="413"/>
            <ac:spMk id="59" creationId="{3B8F065E-DF64-42A0-9624-444C9FA1EED4}"/>
          </ac:spMkLst>
        </pc:spChg>
        <pc:spChg chg="add mod">
          <ac:chgData name="Ranu Moodley" userId="a692efb4-2302-46bf-a652-3ae1b1cbf713" providerId="ADAL" clId="{928318EF-0676-4AF2-B908-ADF63CAFAA72}" dt="2019-01-23T11:24:21.680" v="2709" actId="164"/>
          <ac:spMkLst>
            <pc:docMk/>
            <pc:sldMk cId="2233024255" sldId="413"/>
            <ac:spMk id="60" creationId="{E55E512E-93D7-4510-9582-3CA43F542136}"/>
          </ac:spMkLst>
        </pc:spChg>
        <pc:spChg chg="add mod">
          <ac:chgData name="Ranu Moodley" userId="a692efb4-2302-46bf-a652-3ae1b1cbf713" providerId="ADAL" clId="{928318EF-0676-4AF2-B908-ADF63CAFAA72}" dt="2019-01-23T11:24:21.680" v="2709" actId="164"/>
          <ac:spMkLst>
            <pc:docMk/>
            <pc:sldMk cId="2233024255" sldId="413"/>
            <ac:spMk id="64" creationId="{9C8C3777-BB85-4038-8827-2D5F4C308F91}"/>
          </ac:spMkLst>
        </pc:spChg>
        <pc:spChg chg="add mod">
          <ac:chgData name="Ranu Moodley" userId="a692efb4-2302-46bf-a652-3ae1b1cbf713" providerId="ADAL" clId="{928318EF-0676-4AF2-B908-ADF63CAFAA72}" dt="2019-01-23T11:24:21.680" v="2709" actId="164"/>
          <ac:spMkLst>
            <pc:docMk/>
            <pc:sldMk cId="2233024255" sldId="413"/>
            <ac:spMk id="68" creationId="{DEDCEC71-FEC9-481C-9B76-AB946A4ADA37}"/>
          </ac:spMkLst>
        </pc:spChg>
        <pc:spChg chg="add mod">
          <ac:chgData name="Ranu Moodley" userId="a692efb4-2302-46bf-a652-3ae1b1cbf713" providerId="ADAL" clId="{928318EF-0676-4AF2-B908-ADF63CAFAA72}" dt="2019-01-23T11:24:21.680" v="2709" actId="164"/>
          <ac:spMkLst>
            <pc:docMk/>
            <pc:sldMk cId="2233024255" sldId="413"/>
            <ac:spMk id="69" creationId="{4851281A-C5AB-41E7-9583-BFF644D82293}"/>
          </ac:spMkLst>
        </pc:spChg>
        <pc:spChg chg="add mod">
          <ac:chgData name="Ranu Moodley" userId="a692efb4-2302-46bf-a652-3ae1b1cbf713" providerId="ADAL" clId="{928318EF-0676-4AF2-B908-ADF63CAFAA72}" dt="2019-01-23T11:24:21.680" v="2709" actId="164"/>
          <ac:spMkLst>
            <pc:docMk/>
            <pc:sldMk cId="2233024255" sldId="413"/>
            <ac:spMk id="70" creationId="{2C4B476E-A52E-49D3-850D-09890A26CAA6}"/>
          </ac:spMkLst>
        </pc:spChg>
        <pc:spChg chg="add mod">
          <ac:chgData name="Ranu Moodley" userId="a692efb4-2302-46bf-a652-3ae1b1cbf713" providerId="ADAL" clId="{928318EF-0676-4AF2-B908-ADF63CAFAA72}" dt="2019-01-23T11:24:21.680" v="2709" actId="164"/>
          <ac:spMkLst>
            <pc:docMk/>
            <pc:sldMk cId="2233024255" sldId="413"/>
            <ac:spMk id="71" creationId="{0ADC63E5-B669-4A8C-9FC1-F5AF86228874}"/>
          </ac:spMkLst>
        </pc:spChg>
        <pc:spChg chg="add mod">
          <ac:chgData name="Ranu Moodley" userId="a692efb4-2302-46bf-a652-3ae1b1cbf713" providerId="ADAL" clId="{928318EF-0676-4AF2-B908-ADF63CAFAA72}" dt="2019-01-23T11:24:21.680" v="2709" actId="164"/>
          <ac:spMkLst>
            <pc:docMk/>
            <pc:sldMk cId="2233024255" sldId="413"/>
            <ac:spMk id="72" creationId="{BDAD124B-4DE2-405D-9FA4-D1F8AC822EAD}"/>
          </ac:spMkLst>
        </pc:spChg>
        <pc:spChg chg="add mod">
          <ac:chgData name="Ranu Moodley" userId="a692efb4-2302-46bf-a652-3ae1b1cbf713" providerId="ADAL" clId="{928318EF-0676-4AF2-B908-ADF63CAFAA72}" dt="2019-01-23T11:24:21.680" v="2709" actId="164"/>
          <ac:spMkLst>
            <pc:docMk/>
            <pc:sldMk cId="2233024255" sldId="413"/>
            <ac:spMk id="73" creationId="{A88DF045-B7B0-486A-B2A6-6AB8E7A067AA}"/>
          </ac:spMkLst>
        </pc:spChg>
        <pc:spChg chg="add mod">
          <ac:chgData name="Ranu Moodley" userId="a692efb4-2302-46bf-a652-3ae1b1cbf713" providerId="ADAL" clId="{928318EF-0676-4AF2-B908-ADF63CAFAA72}" dt="2019-01-23T11:24:21.680" v="2709" actId="164"/>
          <ac:spMkLst>
            <pc:docMk/>
            <pc:sldMk cId="2233024255" sldId="413"/>
            <ac:spMk id="74" creationId="{F740AD42-A58A-482B-91AF-CF842569E357}"/>
          </ac:spMkLst>
        </pc:spChg>
        <pc:spChg chg="add mod">
          <ac:chgData name="Ranu Moodley" userId="a692efb4-2302-46bf-a652-3ae1b1cbf713" providerId="ADAL" clId="{928318EF-0676-4AF2-B908-ADF63CAFAA72}" dt="2019-01-23T11:24:21.680" v="2709" actId="164"/>
          <ac:spMkLst>
            <pc:docMk/>
            <pc:sldMk cId="2233024255" sldId="413"/>
            <ac:spMk id="75" creationId="{0EA7C234-5910-400D-A7A3-5DA030A36D46}"/>
          </ac:spMkLst>
        </pc:spChg>
        <pc:spChg chg="add mod">
          <ac:chgData name="Ranu Moodley" userId="a692efb4-2302-46bf-a652-3ae1b1cbf713" providerId="ADAL" clId="{928318EF-0676-4AF2-B908-ADF63CAFAA72}" dt="2019-01-23T11:24:21.680" v="2709" actId="164"/>
          <ac:spMkLst>
            <pc:docMk/>
            <pc:sldMk cId="2233024255" sldId="413"/>
            <ac:spMk id="76" creationId="{B07A03F6-945F-4E56-8698-4FDF1D958ABB}"/>
          </ac:spMkLst>
        </pc:spChg>
        <pc:spChg chg="add mod">
          <ac:chgData name="Ranu Moodley" userId="a692efb4-2302-46bf-a652-3ae1b1cbf713" providerId="ADAL" clId="{928318EF-0676-4AF2-B908-ADF63CAFAA72}" dt="2019-01-23T11:24:21.680" v="2709" actId="164"/>
          <ac:spMkLst>
            <pc:docMk/>
            <pc:sldMk cId="2233024255" sldId="413"/>
            <ac:spMk id="78" creationId="{2F4B096D-2A7B-4491-9A4A-EF9DCB97A0F1}"/>
          </ac:spMkLst>
        </pc:spChg>
        <pc:spChg chg="add mod">
          <ac:chgData name="Ranu Moodley" userId="a692efb4-2302-46bf-a652-3ae1b1cbf713" providerId="ADAL" clId="{928318EF-0676-4AF2-B908-ADF63CAFAA72}" dt="2019-01-23T11:24:21.680" v="2709" actId="164"/>
          <ac:spMkLst>
            <pc:docMk/>
            <pc:sldMk cId="2233024255" sldId="413"/>
            <ac:spMk id="81" creationId="{1983FC49-ACC6-47B6-8D2C-7FEDF22D9570}"/>
          </ac:spMkLst>
        </pc:spChg>
        <pc:spChg chg="add mod">
          <ac:chgData name="Ranu Moodley" userId="a692efb4-2302-46bf-a652-3ae1b1cbf713" providerId="ADAL" clId="{928318EF-0676-4AF2-B908-ADF63CAFAA72}" dt="2019-01-23T11:24:21.680" v="2709" actId="164"/>
          <ac:spMkLst>
            <pc:docMk/>
            <pc:sldMk cId="2233024255" sldId="413"/>
            <ac:spMk id="82" creationId="{5E4A1DF1-1147-479C-8BD0-882ABAB2CCF8}"/>
          </ac:spMkLst>
        </pc:spChg>
        <pc:spChg chg="add mod">
          <ac:chgData name="Ranu Moodley" userId="a692efb4-2302-46bf-a652-3ae1b1cbf713" providerId="ADAL" clId="{928318EF-0676-4AF2-B908-ADF63CAFAA72}" dt="2019-01-23T11:24:21.680" v="2709" actId="164"/>
          <ac:spMkLst>
            <pc:docMk/>
            <pc:sldMk cId="2233024255" sldId="413"/>
            <ac:spMk id="83" creationId="{DB606AD9-D7DD-4550-BF01-D44C68CFC0A7}"/>
          </ac:spMkLst>
        </pc:spChg>
        <pc:spChg chg="add mod">
          <ac:chgData name="Ranu Moodley" userId="a692efb4-2302-46bf-a652-3ae1b1cbf713" providerId="ADAL" clId="{928318EF-0676-4AF2-B908-ADF63CAFAA72}" dt="2019-01-23T11:24:21.680" v="2709" actId="164"/>
          <ac:spMkLst>
            <pc:docMk/>
            <pc:sldMk cId="2233024255" sldId="413"/>
            <ac:spMk id="85" creationId="{4632AC82-EDF8-4660-8841-6B1DEFA4CB07}"/>
          </ac:spMkLst>
        </pc:spChg>
        <pc:spChg chg="add mod">
          <ac:chgData name="Ranu Moodley" userId="a692efb4-2302-46bf-a652-3ae1b1cbf713" providerId="ADAL" clId="{928318EF-0676-4AF2-B908-ADF63CAFAA72}" dt="2019-01-23T11:24:21.680" v="2709" actId="164"/>
          <ac:spMkLst>
            <pc:docMk/>
            <pc:sldMk cId="2233024255" sldId="413"/>
            <ac:spMk id="86" creationId="{4EE6C0B4-C92E-49E0-92C0-633431E12A61}"/>
          </ac:spMkLst>
        </pc:spChg>
        <pc:spChg chg="add mod">
          <ac:chgData name="Ranu Moodley" userId="a692efb4-2302-46bf-a652-3ae1b1cbf713" providerId="ADAL" clId="{928318EF-0676-4AF2-B908-ADF63CAFAA72}" dt="2019-01-23T11:24:21.680" v="2709" actId="164"/>
          <ac:spMkLst>
            <pc:docMk/>
            <pc:sldMk cId="2233024255" sldId="413"/>
            <ac:spMk id="88" creationId="{E9E2844C-FC21-4F0F-85F5-6D2D30D281E1}"/>
          </ac:spMkLst>
        </pc:spChg>
        <pc:spChg chg="add mod">
          <ac:chgData name="Ranu Moodley" userId="a692efb4-2302-46bf-a652-3ae1b1cbf713" providerId="ADAL" clId="{928318EF-0676-4AF2-B908-ADF63CAFAA72}" dt="2019-01-23T11:24:21.680" v="2709" actId="164"/>
          <ac:spMkLst>
            <pc:docMk/>
            <pc:sldMk cId="2233024255" sldId="413"/>
            <ac:spMk id="89" creationId="{41DF6FCD-C347-4A97-9C2C-CEBB604F74EE}"/>
          </ac:spMkLst>
        </pc:spChg>
        <pc:spChg chg="add mod">
          <ac:chgData name="Ranu Moodley" userId="a692efb4-2302-46bf-a652-3ae1b1cbf713" providerId="ADAL" clId="{928318EF-0676-4AF2-B908-ADF63CAFAA72}" dt="2019-01-23T11:24:21.680" v="2709" actId="164"/>
          <ac:spMkLst>
            <pc:docMk/>
            <pc:sldMk cId="2233024255" sldId="413"/>
            <ac:spMk id="90" creationId="{AB8A4917-A5A3-429A-8794-5867ED5BED9A}"/>
          </ac:spMkLst>
        </pc:spChg>
        <pc:spChg chg="add mod">
          <ac:chgData name="Ranu Moodley" userId="a692efb4-2302-46bf-a652-3ae1b1cbf713" providerId="ADAL" clId="{928318EF-0676-4AF2-B908-ADF63CAFAA72}" dt="2019-01-23T11:24:21.680" v="2709" actId="164"/>
          <ac:spMkLst>
            <pc:docMk/>
            <pc:sldMk cId="2233024255" sldId="413"/>
            <ac:spMk id="91" creationId="{1C48DFC3-6A7F-44AB-96AB-409BE0C190C4}"/>
          </ac:spMkLst>
        </pc:spChg>
        <pc:spChg chg="add mod">
          <ac:chgData name="Ranu Moodley" userId="a692efb4-2302-46bf-a652-3ae1b1cbf713" providerId="ADAL" clId="{928318EF-0676-4AF2-B908-ADF63CAFAA72}" dt="2019-01-23T11:24:21.680" v="2709" actId="164"/>
          <ac:spMkLst>
            <pc:docMk/>
            <pc:sldMk cId="2233024255" sldId="413"/>
            <ac:spMk id="92" creationId="{CC75EA11-D554-4AFD-88D3-9D397231C8BF}"/>
          </ac:spMkLst>
        </pc:spChg>
        <pc:spChg chg="add mod">
          <ac:chgData name="Ranu Moodley" userId="a692efb4-2302-46bf-a652-3ae1b1cbf713" providerId="ADAL" clId="{928318EF-0676-4AF2-B908-ADF63CAFAA72}" dt="2019-01-23T11:24:21.680" v="2709" actId="164"/>
          <ac:spMkLst>
            <pc:docMk/>
            <pc:sldMk cId="2233024255" sldId="413"/>
            <ac:spMk id="93" creationId="{BCC76073-009F-4C68-B4EB-CB0E64B2BDD1}"/>
          </ac:spMkLst>
        </pc:spChg>
        <pc:spChg chg="add mod">
          <ac:chgData name="Ranu Moodley" userId="a692efb4-2302-46bf-a652-3ae1b1cbf713" providerId="ADAL" clId="{928318EF-0676-4AF2-B908-ADF63CAFAA72}" dt="2019-01-23T11:24:21.680" v="2709" actId="164"/>
          <ac:spMkLst>
            <pc:docMk/>
            <pc:sldMk cId="2233024255" sldId="413"/>
            <ac:spMk id="94" creationId="{3DC3863B-D2F0-4E0A-BA0A-CD9FE9F1F740}"/>
          </ac:spMkLst>
        </pc:spChg>
        <pc:spChg chg="add mod">
          <ac:chgData name="Ranu Moodley" userId="a692efb4-2302-46bf-a652-3ae1b1cbf713" providerId="ADAL" clId="{928318EF-0676-4AF2-B908-ADF63CAFAA72}" dt="2019-01-23T11:24:21.680" v="2709" actId="164"/>
          <ac:spMkLst>
            <pc:docMk/>
            <pc:sldMk cId="2233024255" sldId="413"/>
            <ac:spMk id="95" creationId="{F8B76C4E-BF70-47FA-A603-50D56C72897F}"/>
          </ac:spMkLst>
        </pc:spChg>
        <pc:spChg chg="add mod">
          <ac:chgData name="Ranu Moodley" userId="a692efb4-2302-46bf-a652-3ae1b1cbf713" providerId="ADAL" clId="{928318EF-0676-4AF2-B908-ADF63CAFAA72}" dt="2019-01-23T11:24:21.680" v="2709" actId="164"/>
          <ac:spMkLst>
            <pc:docMk/>
            <pc:sldMk cId="2233024255" sldId="413"/>
            <ac:spMk id="97" creationId="{8248954E-B44A-4FE2-BB9E-A3C9B8EE1229}"/>
          </ac:spMkLst>
        </pc:spChg>
        <pc:spChg chg="add mod">
          <ac:chgData name="Ranu Moodley" userId="a692efb4-2302-46bf-a652-3ae1b1cbf713" providerId="ADAL" clId="{928318EF-0676-4AF2-B908-ADF63CAFAA72}" dt="2019-01-23T11:24:21.680" v="2709" actId="164"/>
          <ac:spMkLst>
            <pc:docMk/>
            <pc:sldMk cId="2233024255" sldId="413"/>
            <ac:spMk id="98" creationId="{A0416622-CE35-410E-A25F-DB64923AF601}"/>
          </ac:spMkLst>
        </pc:spChg>
        <pc:spChg chg="add mod">
          <ac:chgData name="Ranu Moodley" userId="a692efb4-2302-46bf-a652-3ae1b1cbf713" providerId="ADAL" clId="{928318EF-0676-4AF2-B908-ADF63CAFAA72}" dt="2019-01-23T11:24:21.680" v="2709" actId="164"/>
          <ac:spMkLst>
            <pc:docMk/>
            <pc:sldMk cId="2233024255" sldId="413"/>
            <ac:spMk id="100" creationId="{0A7D5162-E105-4983-8722-704331B15016}"/>
          </ac:spMkLst>
        </pc:spChg>
        <pc:spChg chg="add mod">
          <ac:chgData name="Ranu Moodley" userId="a692efb4-2302-46bf-a652-3ae1b1cbf713" providerId="ADAL" clId="{928318EF-0676-4AF2-B908-ADF63CAFAA72}" dt="2019-01-23T11:24:21.680" v="2709" actId="164"/>
          <ac:spMkLst>
            <pc:docMk/>
            <pc:sldMk cId="2233024255" sldId="413"/>
            <ac:spMk id="101" creationId="{66BCF351-BD51-4CC9-A6F8-D3158C62E014}"/>
          </ac:spMkLst>
        </pc:spChg>
        <pc:spChg chg="add mod">
          <ac:chgData name="Ranu Moodley" userId="a692efb4-2302-46bf-a652-3ae1b1cbf713" providerId="ADAL" clId="{928318EF-0676-4AF2-B908-ADF63CAFAA72}" dt="2019-01-23T11:24:21.680" v="2709" actId="164"/>
          <ac:spMkLst>
            <pc:docMk/>
            <pc:sldMk cId="2233024255" sldId="413"/>
            <ac:spMk id="103" creationId="{C80D3F17-70DE-468D-9852-EE5B773F4A0F}"/>
          </ac:spMkLst>
        </pc:spChg>
        <pc:spChg chg="add mod">
          <ac:chgData name="Ranu Moodley" userId="a692efb4-2302-46bf-a652-3ae1b1cbf713" providerId="ADAL" clId="{928318EF-0676-4AF2-B908-ADF63CAFAA72}" dt="2019-01-23T11:24:21.680" v="2709" actId="164"/>
          <ac:spMkLst>
            <pc:docMk/>
            <pc:sldMk cId="2233024255" sldId="413"/>
            <ac:spMk id="104" creationId="{D25E05E4-2F0D-4A7C-B05D-5CE65C489FB1}"/>
          </ac:spMkLst>
        </pc:spChg>
        <pc:spChg chg="add mod">
          <ac:chgData name="Ranu Moodley" userId="a692efb4-2302-46bf-a652-3ae1b1cbf713" providerId="ADAL" clId="{928318EF-0676-4AF2-B908-ADF63CAFAA72}" dt="2019-01-23T11:24:21.680" v="2709" actId="164"/>
          <ac:spMkLst>
            <pc:docMk/>
            <pc:sldMk cId="2233024255" sldId="413"/>
            <ac:spMk id="105" creationId="{F2545473-8C8A-4F5F-B853-3BCA51088EE9}"/>
          </ac:spMkLst>
        </pc:spChg>
        <pc:spChg chg="add mod">
          <ac:chgData name="Ranu Moodley" userId="a692efb4-2302-46bf-a652-3ae1b1cbf713" providerId="ADAL" clId="{928318EF-0676-4AF2-B908-ADF63CAFAA72}" dt="2019-01-23T11:24:21.680" v="2709" actId="164"/>
          <ac:spMkLst>
            <pc:docMk/>
            <pc:sldMk cId="2233024255" sldId="413"/>
            <ac:spMk id="106" creationId="{454BE233-17F7-4998-A710-DAC8EE2B830C}"/>
          </ac:spMkLst>
        </pc:spChg>
        <pc:spChg chg="add mod">
          <ac:chgData name="Ranu Moodley" userId="a692efb4-2302-46bf-a652-3ae1b1cbf713" providerId="ADAL" clId="{928318EF-0676-4AF2-B908-ADF63CAFAA72}" dt="2019-01-23T11:24:21.680" v="2709" actId="164"/>
          <ac:spMkLst>
            <pc:docMk/>
            <pc:sldMk cId="2233024255" sldId="413"/>
            <ac:spMk id="107" creationId="{B8D68239-809B-4EAC-B0DB-5D572F620306}"/>
          </ac:spMkLst>
        </pc:spChg>
        <pc:spChg chg="add mod">
          <ac:chgData name="Ranu Moodley" userId="a692efb4-2302-46bf-a652-3ae1b1cbf713" providerId="ADAL" clId="{928318EF-0676-4AF2-B908-ADF63CAFAA72}" dt="2019-01-23T11:24:21.680" v="2709" actId="164"/>
          <ac:spMkLst>
            <pc:docMk/>
            <pc:sldMk cId="2233024255" sldId="413"/>
            <ac:spMk id="108" creationId="{6917BC09-FBEF-4450-AA9E-CAEF965CD225}"/>
          </ac:spMkLst>
        </pc:spChg>
        <pc:spChg chg="add mod">
          <ac:chgData name="Ranu Moodley" userId="a692efb4-2302-46bf-a652-3ae1b1cbf713" providerId="ADAL" clId="{928318EF-0676-4AF2-B908-ADF63CAFAA72}" dt="2019-01-23T11:24:21.680" v="2709" actId="164"/>
          <ac:spMkLst>
            <pc:docMk/>
            <pc:sldMk cId="2233024255" sldId="413"/>
            <ac:spMk id="109" creationId="{5CA51611-EEAB-410A-9499-3F5376E9FF54}"/>
          </ac:spMkLst>
        </pc:spChg>
        <pc:spChg chg="add mod">
          <ac:chgData name="Ranu Moodley" userId="a692efb4-2302-46bf-a652-3ae1b1cbf713" providerId="ADAL" clId="{928318EF-0676-4AF2-B908-ADF63CAFAA72}" dt="2019-01-23T11:24:21.680" v="2709" actId="164"/>
          <ac:spMkLst>
            <pc:docMk/>
            <pc:sldMk cId="2233024255" sldId="413"/>
            <ac:spMk id="110" creationId="{4FB6FA14-3B38-481F-8C13-0043AD6ACB3C}"/>
          </ac:spMkLst>
        </pc:spChg>
        <pc:grpChg chg="add mod">
          <ac:chgData name="Ranu Moodley" userId="a692efb4-2302-46bf-a652-3ae1b1cbf713" providerId="ADAL" clId="{928318EF-0676-4AF2-B908-ADF63CAFAA72}" dt="2019-01-23T11:24:32.526" v="2711" actId="1076"/>
          <ac:grpSpMkLst>
            <pc:docMk/>
            <pc:sldMk cId="2233024255" sldId="413"/>
            <ac:grpSpMk id="4" creationId="{9F8C843A-16FD-4878-99EF-2E7FBD039110}"/>
          </ac:grpSpMkLst>
        </pc:grpChg>
        <pc:picChg chg="add del mod">
          <ac:chgData name="Ranu Moodley" userId="a692efb4-2302-46bf-a652-3ae1b1cbf713" providerId="ADAL" clId="{928318EF-0676-4AF2-B908-ADF63CAFAA72}" dt="2019-01-23T11:23:44.899" v="2702" actId="478"/>
          <ac:picMkLst>
            <pc:docMk/>
            <pc:sldMk cId="2233024255" sldId="413"/>
            <ac:picMk id="2" creationId="{E3EFE67F-890F-4691-A318-D4DBFBF86716}"/>
          </ac:picMkLst>
        </pc:picChg>
        <pc:picChg chg="del">
          <ac:chgData name="Ranu Moodley" userId="a692efb4-2302-46bf-a652-3ae1b1cbf713" providerId="ADAL" clId="{928318EF-0676-4AF2-B908-ADF63CAFAA72}" dt="2019-01-23T11:11:58.537" v="2513" actId="478"/>
          <ac:picMkLst>
            <pc:docMk/>
            <pc:sldMk cId="2233024255" sldId="413"/>
            <ac:picMk id="20" creationId="{05015956-D85F-45A9-A530-AE8D59182FE3}"/>
          </ac:picMkLst>
        </pc:picChg>
        <pc:cxnChg chg="add mod">
          <ac:chgData name="Ranu Moodley" userId="a692efb4-2302-46bf-a652-3ae1b1cbf713" providerId="ADAL" clId="{928318EF-0676-4AF2-B908-ADF63CAFAA72}" dt="2019-01-23T11:24:21.680" v="2709" actId="164"/>
          <ac:cxnSpMkLst>
            <pc:docMk/>
            <pc:sldMk cId="2233024255" sldId="413"/>
            <ac:cxnSpMk id="37" creationId="{29AF8ABC-A6E6-4BED-9329-DE1B6DFC46D7}"/>
          </ac:cxnSpMkLst>
        </pc:cxnChg>
        <pc:cxnChg chg="add mod">
          <ac:chgData name="Ranu Moodley" userId="a692efb4-2302-46bf-a652-3ae1b1cbf713" providerId="ADAL" clId="{928318EF-0676-4AF2-B908-ADF63CAFAA72}" dt="2019-01-23T11:24:21.680" v="2709" actId="164"/>
          <ac:cxnSpMkLst>
            <pc:docMk/>
            <pc:sldMk cId="2233024255" sldId="413"/>
            <ac:cxnSpMk id="38" creationId="{8CF6ED18-CDBB-4EBE-AF01-D92E5AF44784}"/>
          </ac:cxnSpMkLst>
        </pc:cxnChg>
        <pc:cxnChg chg="add mod">
          <ac:chgData name="Ranu Moodley" userId="a692efb4-2302-46bf-a652-3ae1b1cbf713" providerId="ADAL" clId="{928318EF-0676-4AF2-B908-ADF63CAFAA72}" dt="2019-01-23T11:24:21.680" v="2709" actId="164"/>
          <ac:cxnSpMkLst>
            <pc:docMk/>
            <pc:sldMk cId="2233024255" sldId="413"/>
            <ac:cxnSpMk id="39" creationId="{61FBACE4-71AD-482C-A8B7-1E97C9147E29}"/>
          </ac:cxnSpMkLst>
        </pc:cxnChg>
        <pc:cxnChg chg="add mod">
          <ac:chgData name="Ranu Moodley" userId="a692efb4-2302-46bf-a652-3ae1b1cbf713" providerId="ADAL" clId="{928318EF-0676-4AF2-B908-ADF63CAFAA72}" dt="2019-01-23T11:24:21.680" v="2709" actId="164"/>
          <ac:cxnSpMkLst>
            <pc:docMk/>
            <pc:sldMk cId="2233024255" sldId="413"/>
            <ac:cxnSpMk id="40" creationId="{74D3FD6F-AB15-4557-B6DD-464CC80EDE28}"/>
          </ac:cxnSpMkLst>
        </pc:cxnChg>
        <pc:cxnChg chg="add mod">
          <ac:chgData name="Ranu Moodley" userId="a692efb4-2302-46bf-a652-3ae1b1cbf713" providerId="ADAL" clId="{928318EF-0676-4AF2-B908-ADF63CAFAA72}" dt="2019-01-23T11:24:21.680" v="2709" actId="164"/>
          <ac:cxnSpMkLst>
            <pc:docMk/>
            <pc:sldMk cId="2233024255" sldId="413"/>
            <ac:cxnSpMk id="41" creationId="{22BA9678-07DC-49AC-BF45-46E42E74A193}"/>
          </ac:cxnSpMkLst>
        </pc:cxnChg>
        <pc:cxnChg chg="add mod">
          <ac:chgData name="Ranu Moodley" userId="a692efb4-2302-46bf-a652-3ae1b1cbf713" providerId="ADAL" clId="{928318EF-0676-4AF2-B908-ADF63CAFAA72}" dt="2019-01-23T11:24:21.680" v="2709" actId="164"/>
          <ac:cxnSpMkLst>
            <pc:docMk/>
            <pc:sldMk cId="2233024255" sldId="413"/>
            <ac:cxnSpMk id="42" creationId="{0D787017-4C21-41A4-AEC9-CE9EE52BC68D}"/>
          </ac:cxnSpMkLst>
        </pc:cxnChg>
        <pc:cxnChg chg="add mod">
          <ac:chgData name="Ranu Moodley" userId="a692efb4-2302-46bf-a652-3ae1b1cbf713" providerId="ADAL" clId="{928318EF-0676-4AF2-B908-ADF63CAFAA72}" dt="2019-01-23T11:24:21.680" v="2709" actId="164"/>
          <ac:cxnSpMkLst>
            <pc:docMk/>
            <pc:sldMk cId="2233024255" sldId="413"/>
            <ac:cxnSpMk id="43" creationId="{9B072353-A054-4EF5-B3B9-61C028CA7943}"/>
          </ac:cxnSpMkLst>
        </pc:cxnChg>
        <pc:cxnChg chg="add mod">
          <ac:chgData name="Ranu Moodley" userId="a692efb4-2302-46bf-a652-3ae1b1cbf713" providerId="ADAL" clId="{928318EF-0676-4AF2-B908-ADF63CAFAA72}" dt="2019-01-23T11:24:21.680" v="2709" actId="164"/>
          <ac:cxnSpMkLst>
            <pc:docMk/>
            <pc:sldMk cId="2233024255" sldId="413"/>
            <ac:cxnSpMk id="45" creationId="{471ED669-9A26-4578-829F-E1F2E2056498}"/>
          </ac:cxnSpMkLst>
        </pc:cxnChg>
        <pc:cxnChg chg="add mod">
          <ac:chgData name="Ranu Moodley" userId="a692efb4-2302-46bf-a652-3ae1b1cbf713" providerId="ADAL" clId="{928318EF-0676-4AF2-B908-ADF63CAFAA72}" dt="2019-01-23T11:24:21.680" v="2709" actId="164"/>
          <ac:cxnSpMkLst>
            <pc:docMk/>
            <pc:sldMk cId="2233024255" sldId="413"/>
            <ac:cxnSpMk id="47" creationId="{A9307F8B-7470-468A-9EF3-78964A1B8F90}"/>
          </ac:cxnSpMkLst>
        </pc:cxnChg>
        <pc:cxnChg chg="add mod">
          <ac:chgData name="Ranu Moodley" userId="a692efb4-2302-46bf-a652-3ae1b1cbf713" providerId="ADAL" clId="{928318EF-0676-4AF2-B908-ADF63CAFAA72}" dt="2019-01-23T11:24:21.680" v="2709" actId="164"/>
          <ac:cxnSpMkLst>
            <pc:docMk/>
            <pc:sldMk cId="2233024255" sldId="413"/>
            <ac:cxnSpMk id="49" creationId="{A07C5716-124A-4117-8EED-53EC847A8314}"/>
          </ac:cxnSpMkLst>
        </pc:cxnChg>
        <pc:cxnChg chg="add mod">
          <ac:chgData name="Ranu Moodley" userId="a692efb4-2302-46bf-a652-3ae1b1cbf713" providerId="ADAL" clId="{928318EF-0676-4AF2-B908-ADF63CAFAA72}" dt="2019-01-23T11:24:21.680" v="2709" actId="164"/>
          <ac:cxnSpMkLst>
            <pc:docMk/>
            <pc:sldMk cId="2233024255" sldId="413"/>
            <ac:cxnSpMk id="50" creationId="{5FA014CD-DA82-4039-888A-94C96D2E2ED8}"/>
          </ac:cxnSpMkLst>
        </pc:cxnChg>
        <pc:cxnChg chg="add mod">
          <ac:chgData name="Ranu Moodley" userId="a692efb4-2302-46bf-a652-3ae1b1cbf713" providerId="ADAL" clId="{928318EF-0676-4AF2-B908-ADF63CAFAA72}" dt="2019-01-23T11:24:21.680" v="2709" actId="164"/>
          <ac:cxnSpMkLst>
            <pc:docMk/>
            <pc:sldMk cId="2233024255" sldId="413"/>
            <ac:cxnSpMk id="55" creationId="{4F032C08-9688-46CC-A0B8-ADCADA36A857}"/>
          </ac:cxnSpMkLst>
        </pc:cxnChg>
        <pc:cxnChg chg="add mod">
          <ac:chgData name="Ranu Moodley" userId="a692efb4-2302-46bf-a652-3ae1b1cbf713" providerId="ADAL" clId="{928318EF-0676-4AF2-B908-ADF63CAFAA72}" dt="2019-01-23T11:24:21.680" v="2709" actId="164"/>
          <ac:cxnSpMkLst>
            <pc:docMk/>
            <pc:sldMk cId="2233024255" sldId="413"/>
            <ac:cxnSpMk id="56" creationId="{52963312-393D-4A5F-9473-209658DF5DE2}"/>
          </ac:cxnSpMkLst>
        </pc:cxnChg>
        <pc:cxnChg chg="add mod">
          <ac:chgData name="Ranu Moodley" userId="a692efb4-2302-46bf-a652-3ae1b1cbf713" providerId="ADAL" clId="{928318EF-0676-4AF2-B908-ADF63CAFAA72}" dt="2019-01-23T11:24:21.680" v="2709" actId="164"/>
          <ac:cxnSpMkLst>
            <pc:docMk/>
            <pc:sldMk cId="2233024255" sldId="413"/>
            <ac:cxnSpMk id="58" creationId="{91C87AEB-D7B5-42D6-B0F3-A164A865D20D}"/>
          </ac:cxnSpMkLst>
        </pc:cxnChg>
        <pc:cxnChg chg="add mod">
          <ac:chgData name="Ranu Moodley" userId="a692efb4-2302-46bf-a652-3ae1b1cbf713" providerId="ADAL" clId="{928318EF-0676-4AF2-B908-ADF63CAFAA72}" dt="2019-01-23T11:24:21.680" v="2709" actId="164"/>
          <ac:cxnSpMkLst>
            <pc:docMk/>
            <pc:sldMk cId="2233024255" sldId="413"/>
            <ac:cxnSpMk id="61" creationId="{B52F4B0C-EAB6-4554-A153-966CACB1A223}"/>
          </ac:cxnSpMkLst>
        </pc:cxnChg>
        <pc:cxnChg chg="add mod">
          <ac:chgData name="Ranu Moodley" userId="a692efb4-2302-46bf-a652-3ae1b1cbf713" providerId="ADAL" clId="{928318EF-0676-4AF2-B908-ADF63CAFAA72}" dt="2019-01-23T11:24:21.680" v="2709" actId="164"/>
          <ac:cxnSpMkLst>
            <pc:docMk/>
            <pc:sldMk cId="2233024255" sldId="413"/>
            <ac:cxnSpMk id="63" creationId="{6B110697-E1BF-4BF4-8334-EC3E223EEA83}"/>
          </ac:cxnSpMkLst>
        </pc:cxnChg>
        <pc:cxnChg chg="add mod">
          <ac:chgData name="Ranu Moodley" userId="a692efb4-2302-46bf-a652-3ae1b1cbf713" providerId="ADAL" clId="{928318EF-0676-4AF2-B908-ADF63CAFAA72}" dt="2019-01-23T11:24:21.680" v="2709" actId="164"/>
          <ac:cxnSpMkLst>
            <pc:docMk/>
            <pc:sldMk cId="2233024255" sldId="413"/>
            <ac:cxnSpMk id="65" creationId="{38349581-31F1-4215-B5A2-B0CB184C3A06}"/>
          </ac:cxnSpMkLst>
        </pc:cxnChg>
        <pc:cxnChg chg="add mod">
          <ac:chgData name="Ranu Moodley" userId="a692efb4-2302-46bf-a652-3ae1b1cbf713" providerId="ADAL" clId="{928318EF-0676-4AF2-B908-ADF63CAFAA72}" dt="2019-01-23T11:24:21.680" v="2709" actId="164"/>
          <ac:cxnSpMkLst>
            <pc:docMk/>
            <pc:sldMk cId="2233024255" sldId="413"/>
            <ac:cxnSpMk id="66" creationId="{6C940766-C2E3-4A0A-8B8A-18AC5D64738D}"/>
          </ac:cxnSpMkLst>
        </pc:cxnChg>
        <pc:cxnChg chg="add mod">
          <ac:chgData name="Ranu Moodley" userId="a692efb4-2302-46bf-a652-3ae1b1cbf713" providerId="ADAL" clId="{928318EF-0676-4AF2-B908-ADF63CAFAA72}" dt="2019-01-23T11:24:21.680" v="2709" actId="164"/>
          <ac:cxnSpMkLst>
            <pc:docMk/>
            <pc:sldMk cId="2233024255" sldId="413"/>
            <ac:cxnSpMk id="67" creationId="{2B4783A2-DAE7-468F-8650-BAED20C8FC8E}"/>
          </ac:cxnSpMkLst>
        </pc:cxnChg>
        <pc:cxnChg chg="add mod">
          <ac:chgData name="Ranu Moodley" userId="a692efb4-2302-46bf-a652-3ae1b1cbf713" providerId="ADAL" clId="{928318EF-0676-4AF2-B908-ADF63CAFAA72}" dt="2019-01-23T11:24:21.680" v="2709" actId="164"/>
          <ac:cxnSpMkLst>
            <pc:docMk/>
            <pc:sldMk cId="2233024255" sldId="413"/>
            <ac:cxnSpMk id="77" creationId="{3765A9CF-51EE-4E61-A96F-3689B24158C0}"/>
          </ac:cxnSpMkLst>
        </pc:cxnChg>
        <pc:cxnChg chg="add mod">
          <ac:chgData name="Ranu Moodley" userId="a692efb4-2302-46bf-a652-3ae1b1cbf713" providerId="ADAL" clId="{928318EF-0676-4AF2-B908-ADF63CAFAA72}" dt="2019-01-23T11:24:21.680" v="2709" actId="164"/>
          <ac:cxnSpMkLst>
            <pc:docMk/>
            <pc:sldMk cId="2233024255" sldId="413"/>
            <ac:cxnSpMk id="79" creationId="{3D29EABA-70E8-4F64-9E7E-89178BC1F5A1}"/>
          </ac:cxnSpMkLst>
        </pc:cxnChg>
        <pc:cxnChg chg="add mod">
          <ac:chgData name="Ranu Moodley" userId="a692efb4-2302-46bf-a652-3ae1b1cbf713" providerId="ADAL" clId="{928318EF-0676-4AF2-B908-ADF63CAFAA72}" dt="2019-01-23T11:24:21.680" v="2709" actId="164"/>
          <ac:cxnSpMkLst>
            <pc:docMk/>
            <pc:sldMk cId="2233024255" sldId="413"/>
            <ac:cxnSpMk id="80" creationId="{F193B6D7-91EA-4D9F-BEB3-5647FA82F7A9}"/>
          </ac:cxnSpMkLst>
        </pc:cxnChg>
        <pc:cxnChg chg="add mod">
          <ac:chgData name="Ranu Moodley" userId="a692efb4-2302-46bf-a652-3ae1b1cbf713" providerId="ADAL" clId="{928318EF-0676-4AF2-B908-ADF63CAFAA72}" dt="2019-01-23T11:24:21.680" v="2709" actId="164"/>
          <ac:cxnSpMkLst>
            <pc:docMk/>
            <pc:sldMk cId="2233024255" sldId="413"/>
            <ac:cxnSpMk id="84" creationId="{DCAAEB63-CD65-49BC-B822-B16B25E34B2C}"/>
          </ac:cxnSpMkLst>
        </pc:cxnChg>
        <pc:cxnChg chg="add mod">
          <ac:chgData name="Ranu Moodley" userId="a692efb4-2302-46bf-a652-3ae1b1cbf713" providerId="ADAL" clId="{928318EF-0676-4AF2-B908-ADF63CAFAA72}" dt="2019-01-23T11:24:21.680" v="2709" actId="164"/>
          <ac:cxnSpMkLst>
            <pc:docMk/>
            <pc:sldMk cId="2233024255" sldId="413"/>
            <ac:cxnSpMk id="87" creationId="{C16FEF55-53D8-4D2D-AB5C-6D891566F99D}"/>
          </ac:cxnSpMkLst>
        </pc:cxnChg>
        <pc:cxnChg chg="add mod">
          <ac:chgData name="Ranu Moodley" userId="a692efb4-2302-46bf-a652-3ae1b1cbf713" providerId="ADAL" clId="{928318EF-0676-4AF2-B908-ADF63CAFAA72}" dt="2019-01-23T11:24:21.680" v="2709" actId="164"/>
          <ac:cxnSpMkLst>
            <pc:docMk/>
            <pc:sldMk cId="2233024255" sldId="413"/>
            <ac:cxnSpMk id="96" creationId="{96968A53-2BF7-4F37-BCE8-6D8D2C89D9CA}"/>
          </ac:cxnSpMkLst>
        </pc:cxnChg>
        <pc:cxnChg chg="add mod">
          <ac:chgData name="Ranu Moodley" userId="a692efb4-2302-46bf-a652-3ae1b1cbf713" providerId="ADAL" clId="{928318EF-0676-4AF2-B908-ADF63CAFAA72}" dt="2019-01-23T11:24:21.680" v="2709" actId="164"/>
          <ac:cxnSpMkLst>
            <pc:docMk/>
            <pc:sldMk cId="2233024255" sldId="413"/>
            <ac:cxnSpMk id="99" creationId="{4A852E59-27B9-450D-9218-724D96881467}"/>
          </ac:cxnSpMkLst>
        </pc:cxnChg>
        <pc:cxnChg chg="add mod">
          <ac:chgData name="Ranu Moodley" userId="a692efb4-2302-46bf-a652-3ae1b1cbf713" providerId="ADAL" clId="{928318EF-0676-4AF2-B908-ADF63CAFAA72}" dt="2019-01-23T11:24:21.680" v="2709" actId="164"/>
          <ac:cxnSpMkLst>
            <pc:docMk/>
            <pc:sldMk cId="2233024255" sldId="413"/>
            <ac:cxnSpMk id="102" creationId="{E5B3DBB3-BB7B-4123-8733-DEBDDCE7EE86}"/>
          </ac:cxnSpMkLst>
        </pc:cxnChg>
      </pc:sldChg>
      <pc:sldChg chg="delSp modSp add modNotes">
        <pc:chgData name="Ranu Moodley" userId="a692efb4-2302-46bf-a652-3ae1b1cbf713" providerId="ADAL" clId="{928318EF-0676-4AF2-B908-ADF63CAFAA72}" dt="2019-02-12T13:58:27.382" v="3262" actId="20577"/>
        <pc:sldMkLst>
          <pc:docMk/>
          <pc:sldMk cId="986107155" sldId="414"/>
        </pc:sldMkLst>
        <pc:spChg chg="mod">
          <ac:chgData name="Ranu Moodley" userId="a692efb4-2302-46bf-a652-3ae1b1cbf713" providerId="ADAL" clId="{928318EF-0676-4AF2-B908-ADF63CAFAA72}" dt="2019-01-23T11:26:15.555" v="2752"/>
          <ac:spMkLst>
            <pc:docMk/>
            <pc:sldMk cId="986107155" sldId="414"/>
            <ac:spMk id="15" creationId="{4AB9647B-995B-4E42-A8C0-C1754BB9AD8B}"/>
          </ac:spMkLst>
        </pc:spChg>
        <pc:spChg chg="mod">
          <ac:chgData name="Ranu Moodley" userId="a692efb4-2302-46bf-a652-3ae1b1cbf713" providerId="ADAL" clId="{928318EF-0676-4AF2-B908-ADF63CAFAA72}" dt="2019-01-28T06:30:12.012" v="2847" actId="20577"/>
          <ac:spMkLst>
            <pc:docMk/>
            <pc:sldMk cId="986107155" sldId="414"/>
            <ac:spMk id="16" creationId="{198E8A7D-FE76-4B49-A44B-A625DCA325CC}"/>
          </ac:spMkLst>
        </pc:spChg>
        <pc:picChg chg="del">
          <ac:chgData name="Ranu Moodley" userId="a692efb4-2302-46bf-a652-3ae1b1cbf713" providerId="ADAL" clId="{928318EF-0676-4AF2-B908-ADF63CAFAA72}" dt="2019-01-23T11:28:29.402" v="2756" actId="478"/>
          <ac:picMkLst>
            <pc:docMk/>
            <pc:sldMk cId="986107155" sldId="414"/>
            <ac:picMk id="2" creationId="{E3EFE67F-890F-4691-A318-D4DBFBF86716}"/>
          </ac:picMkLst>
        </pc:picChg>
      </pc:sldChg>
      <pc:sldChg chg="modSp modNotes">
        <pc:chgData name="Ranu Moodley" userId="a692efb4-2302-46bf-a652-3ae1b1cbf713" providerId="ADAL" clId="{928318EF-0676-4AF2-B908-ADF63CAFAA72}" dt="2019-02-12T13:58:27.299" v="3218" actId="20577"/>
        <pc:sldMkLst>
          <pc:docMk/>
          <pc:sldMk cId="3971319903" sldId="445"/>
        </pc:sldMkLst>
        <pc:spChg chg="mod">
          <ac:chgData name="Ranu Moodley" userId="a692efb4-2302-46bf-a652-3ae1b1cbf713" providerId="ADAL" clId="{928318EF-0676-4AF2-B908-ADF63CAFAA72}" dt="2019-02-12T13:57:42.194" v="3173" actId="20577"/>
          <ac:spMkLst>
            <pc:docMk/>
            <pc:sldMk cId="3971319903" sldId="445"/>
            <ac:spMk id="16" creationId="{C8D685C9-462F-4FBB-BD8B-680DD6CEAD32}"/>
          </ac:spMkLst>
        </pc:spChg>
      </pc:sldChg>
      <pc:sldMasterChg chg="modSp">
        <pc:chgData name="Ranu Moodley" userId="a692efb4-2302-46bf-a652-3ae1b1cbf713" providerId="ADAL" clId="{928318EF-0676-4AF2-B908-ADF63CAFAA72}" dt="2019-02-12T13:58:27.221" v="3184" actId="14100"/>
        <pc:sldMasterMkLst>
          <pc:docMk/>
          <pc:sldMasterMk cId="2523064765" sldId="2147483660"/>
        </pc:sldMasterMkLst>
        <pc:spChg chg="mod">
          <ac:chgData name="Ranu Moodley" userId="a692efb4-2302-46bf-a652-3ae1b1cbf713" providerId="ADAL" clId="{928318EF-0676-4AF2-B908-ADF63CAFAA72}" dt="2019-02-12T13:58:27.221" v="3184" actId="14100"/>
          <ac:spMkLst>
            <pc:docMk/>
            <pc:sldMasterMk cId="2523064765" sldId="2147483660"/>
            <ac:spMk id="2" creationId="{B5D66844-3D70-468C-AC9F-76DF3D537153}"/>
          </ac:spMkLst>
        </pc:spChg>
      </pc:sldMasterChg>
      <pc:sldMasterChg chg="modSp">
        <pc:chgData name="Ranu Moodley" userId="a692efb4-2302-46bf-a652-3ae1b1cbf713" providerId="ADAL" clId="{928318EF-0676-4AF2-B908-ADF63CAFAA72}" dt="2019-02-12T13:58:27.229" v="3195" actId="14100"/>
        <pc:sldMasterMkLst>
          <pc:docMk/>
          <pc:sldMasterMk cId="1936603951" sldId="2147483697"/>
        </pc:sldMasterMkLst>
        <pc:spChg chg="mod">
          <ac:chgData name="Ranu Moodley" userId="a692efb4-2302-46bf-a652-3ae1b1cbf713" providerId="ADAL" clId="{928318EF-0676-4AF2-B908-ADF63CAFAA72}" dt="2019-02-12T13:58:27.229" v="3195" actId="14100"/>
          <ac:spMkLst>
            <pc:docMk/>
            <pc:sldMasterMk cId="1936603951" sldId="2147483697"/>
            <ac:spMk id="2" creationId="{B5D66844-3D70-468C-AC9F-76DF3D537153}"/>
          </ac:spMkLst>
        </pc:spChg>
      </pc:sldMasterChg>
      <pc:sldMasterChg chg="modSp">
        <pc:chgData name="Ranu Moodley" userId="a692efb4-2302-46bf-a652-3ae1b1cbf713" providerId="ADAL" clId="{928318EF-0676-4AF2-B908-ADF63CAFAA72}" dt="2019-02-12T13:58:27.242" v="3206" actId="14100"/>
        <pc:sldMasterMkLst>
          <pc:docMk/>
          <pc:sldMasterMk cId="3644977444" sldId="2147483743"/>
        </pc:sldMasterMkLst>
        <pc:spChg chg="mod">
          <ac:chgData name="Ranu Moodley" userId="a692efb4-2302-46bf-a652-3ae1b1cbf713" providerId="ADAL" clId="{928318EF-0676-4AF2-B908-ADF63CAFAA72}" dt="2019-02-12T13:58:27.242" v="3206" actId="14100"/>
          <ac:spMkLst>
            <pc:docMk/>
            <pc:sldMasterMk cId="3644977444" sldId="2147483743"/>
            <ac:spMk id="2" creationId="{B5D66844-3D70-468C-AC9F-76DF3D537153}"/>
          </ac:spMkLst>
        </pc:sp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8E49AD-82EA-47C7-8378-3BB3CCE479CC}" type="doc">
      <dgm:prSet loTypeId="urn:microsoft.com/office/officeart/2005/8/layout/chevron1" loCatId="process" qsTypeId="urn:microsoft.com/office/officeart/2005/8/quickstyle/simple1" qsCatId="simple" csTypeId="urn:microsoft.com/office/officeart/2005/8/colors/accent1_2" csCatId="accent1" phldr="1"/>
      <dgm:spPr/>
    </dgm:pt>
    <dgm:pt modelId="{1B0987CC-9DFA-48C9-83D1-DB41EB3D821F}">
      <dgm:prSet phldrT="[Text]" custT="1"/>
      <dgm:spPr>
        <a:solidFill>
          <a:srgbClr val="92D050"/>
        </a:solidFill>
      </dgm:spPr>
      <dgm:t>
        <a:bodyPr/>
        <a:lstStyle/>
        <a:p>
          <a:r>
            <a:rPr lang="sv-SE" sz="1050" dirty="0"/>
            <a:t>D - Recorded</a:t>
          </a:r>
        </a:p>
      </dgm:t>
    </dgm:pt>
    <dgm:pt modelId="{94DEFDC2-03F9-4BF2-A23B-39ACA73C3915}" type="parTrans" cxnId="{B575B2E2-818C-4FB0-96ED-7A7266805D79}">
      <dgm:prSet/>
      <dgm:spPr/>
      <dgm:t>
        <a:bodyPr/>
        <a:lstStyle/>
        <a:p>
          <a:endParaRPr lang="sv-SE" sz="1100"/>
        </a:p>
      </dgm:t>
    </dgm:pt>
    <dgm:pt modelId="{E56903FF-3D5C-4A51-B803-370316B4906F}" type="sibTrans" cxnId="{B575B2E2-818C-4FB0-96ED-7A7266805D79}">
      <dgm:prSet/>
      <dgm:spPr/>
      <dgm:t>
        <a:bodyPr/>
        <a:lstStyle/>
        <a:p>
          <a:endParaRPr lang="sv-SE" sz="1100"/>
        </a:p>
      </dgm:t>
    </dgm:pt>
    <dgm:pt modelId="{2BB63C0D-CFF2-4C72-B28B-4078164EE749}" type="pres">
      <dgm:prSet presAssocID="{EB8E49AD-82EA-47C7-8378-3BB3CCE479CC}" presName="Name0" presStyleCnt="0">
        <dgm:presLayoutVars>
          <dgm:dir/>
          <dgm:animLvl val="lvl"/>
          <dgm:resizeHandles val="exact"/>
        </dgm:presLayoutVars>
      </dgm:prSet>
      <dgm:spPr/>
    </dgm:pt>
    <dgm:pt modelId="{AA87F4E1-0B1D-4691-9D53-A9F6686625EB}" type="pres">
      <dgm:prSet presAssocID="{1B0987CC-9DFA-48C9-83D1-DB41EB3D821F}" presName="parTxOnly" presStyleLbl="node1" presStyleIdx="0" presStyleCnt="1">
        <dgm:presLayoutVars>
          <dgm:chMax val="0"/>
          <dgm:chPref val="0"/>
          <dgm:bulletEnabled val="1"/>
        </dgm:presLayoutVars>
      </dgm:prSet>
      <dgm:spPr/>
      <dgm:t>
        <a:bodyPr/>
        <a:lstStyle/>
        <a:p>
          <a:endParaRPr lang="en-US"/>
        </a:p>
      </dgm:t>
    </dgm:pt>
  </dgm:ptLst>
  <dgm:cxnLst>
    <dgm:cxn modelId="{B575B2E2-818C-4FB0-96ED-7A7266805D79}" srcId="{EB8E49AD-82EA-47C7-8378-3BB3CCE479CC}" destId="{1B0987CC-9DFA-48C9-83D1-DB41EB3D821F}" srcOrd="0" destOrd="0" parTransId="{94DEFDC2-03F9-4BF2-A23B-39ACA73C3915}" sibTransId="{E56903FF-3D5C-4A51-B803-370316B4906F}"/>
    <dgm:cxn modelId="{2B17A02C-2DB5-4EDC-A71B-5B6F8EB8CED0}" type="presOf" srcId="{1B0987CC-9DFA-48C9-83D1-DB41EB3D821F}" destId="{AA87F4E1-0B1D-4691-9D53-A9F6686625EB}" srcOrd="0" destOrd="0" presId="urn:microsoft.com/office/officeart/2005/8/layout/chevron1"/>
    <dgm:cxn modelId="{521EA473-B330-44D0-BCBE-65E0CA8C9191}" type="presOf" srcId="{EB8E49AD-82EA-47C7-8378-3BB3CCE479CC}" destId="{2BB63C0D-CFF2-4C72-B28B-4078164EE749}" srcOrd="0" destOrd="0" presId="urn:microsoft.com/office/officeart/2005/8/layout/chevron1"/>
    <dgm:cxn modelId="{795FD880-D976-4BAB-B49A-BF7F480A116B}" type="presParOf" srcId="{2BB63C0D-CFF2-4C72-B28B-4078164EE749}" destId="{AA87F4E1-0B1D-4691-9D53-A9F6686625EB}" srcOrd="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8E49AD-82EA-47C7-8378-3BB3CCE479CC}" type="doc">
      <dgm:prSet loTypeId="urn:microsoft.com/office/officeart/2005/8/layout/chevron1" loCatId="process" qsTypeId="urn:microsoft.com/office/officeart/2005/8/quickstyle/simple1" qsCatId="simple" csTypeId="urn:microsoft.com/office/officeart/2005/8/colors/accent1_2" csCatId="accent1" phldr="1"/>
      <dgm:spPr/>
    </dgm:pt>
    <dgm:pt modelId="{9DE8BF1D-732F-4E91-B336-9DCD459D4CD2}">
      <dgm:prSet phldrT="[Text]" custT="1"/>
      <dgm:spPr>
        <a:solidFill>
          <a:srgbClr val="33CCFF"/>
        </a:solidFill>
      </dgm:spPr>
      <dgm:t>
        <a:bodyPr/>
        <a:lstStyle/>
        <a:p>
          <a:r>
            <a:rPr lang="sv-SE" sz="1050" dirty="0"/>
            <a:t>A - Sold</a:t>
          </a:r>
        </a:p>
      </dgm:t>
    </dgm:pt>
    <dgm:pt modelId="{05B90A76-72F3-46A1-A788-A5EFFCDE469E}" type="parTrans" cxnId="{E5156BBD-D4D4-4BCD-875A-338D175F033F}">
      <dgm:prSet/>
      <dgm:spPr/>
      <dgm:t>
        <a:bodyPr/>
        <a:lstStyle/>
        <a:p>
          <a:endParaRPr lang="sv-SE" sz="1100"/>
        </a:p>
      </dgm:t>
    </dgm:pt>
    <dgm:pt modelId="{26B0D9A8-7936-49DB-8B92-01AA3C12201C}" type="sibTrans" cxnId="{E5156BBD-D4D4-4BCD-875A-338D175F033F}">
      <dgm:prSet/>
      <dgm:spPr/>
      <dgm:t>
        <a:bodyPr/>
        <a:lstStyle/>
        <a:p>
          <a:endParaRPr lang="sv-SE" sz="1100"/>
        </a:p>
      </dgm:t>
    </dgm:pt>
    <dgm:pt modelId="{2BB63C0D-CFF2-4C72-B28B-4078164EE749}" type="pres">
      <dgm:prSet presAssocID="{EB8E49AD-82EA-47C7-8378-3BB3CCE479CC}" presName="Name0" presStyleCnt="0">
        <dgm:presLayoutVars>
          <dgm:dir/>
          <dgm:animLvl val="lvl"/>
          <dgm:resizeHandles val="exact"/>
        </dgm:presLayoutVars>
      </dgm:prSet>
      <dgm:spPr/>
    </dgm:pt>
    <dgm:pt modelId="{A009FC00-E4E3-44A7-936F-3718ABAA4A01}" type="pres">
      <dgm:prSet presAssocID="{9DE8BF1D-732F-4E91-B336-9DCD459D4CD2}" presName="parTxOnly" presStyleLbl="node1" presStyleIdx="0" presStyleCnt="1" custScaleX="54275" custLinFactX="100000" custLinFactY="-200000" custLinFactNeighborX="128808" custLinFactNeighborY="-296931">
        <dgm:presLayoutVars>
          <dgm:chMax val="0"/>
          <dgm:chPref val="0"/>
          <dgm:bulletEnabled val="1"/>
        </dgm:presLayoutVars>
      </dgm:prSet>
      <dgm:spPr/>
      <dgm:t>
        <a:bodyPr/>
        <a:lstStyle/>
        <a:p>
          <a:endParaRPr lang="en-US"/>
        </a:p>
      </dgm:t>
    </dgm:pt>
  </dgm:ptLst>
  <dgm:cxnLst>
    <dgm:cxn modelId="{EFFA83E6-6457-4729-A176-E60E6979F782}" type="presOf" srcId="{9DE8BF1D-732F-4E91-B336-9DCD459D4CD2}" destId="{A009FC00-E4E3-44A7-936F-3718ABAA4A01}" srcOrd="0" destOrd="0" presId="urn:microsoft.com/office/officeart/2005/8/layout/chevron1"/>
    <dgm:cxn modelId="{521EA473-B330-44D0-BCBE-65E0CA8C9191}" type="presOf" srcId="{EB8E49AD-82EA-47C7-8378-3BB3CCE479CC}" destId="{2BB63C0D-CFF2-4C72-B28B-4078164EE749}" srcOrd="0" destOrd="0" presId="urn:microsoft.com/office/officeart/2005/8/layout/chevron1"/>
    <dgm:cxn modelId="{E5156BBD-D4D4-4BCD-875A-338D175F033F}" srcId="{EB8E49AD-82EA-47C7-8378-3BB3CCE479CC}" destId="{9DE8BF1D-732F-4E91-B336-9DCD459D4CD2}" srcOrd="0" destOrd="0" parTransId="{05B90A76-72F3-46A1-A788-A5EFFCDE469E}" sibTransId="{26B0D9A8-7936-49DB-8B92-01AA3C12201C}"/>
    <dgm:cxn modelId="{F99E3559-5BA1-474D-ADB4-9F19E047EBD3}" type="presParOf" srcId="{2BB63C0D-CFF2-4C72-B28B-4078164EE749}" destId="{A009FC00-E4E3-44A7-936F-3718ABAA4A01}" srcOrd="0" destOrd="0" presId="urn:microsoft.com/office/officeart/2005/8/layout/chevron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B8E49AD-82EA-47C7-8378-3BB3CCE479CC}" type="doc">
      <dgm:prSet loTypeId="urn:microsoft.com/office/officeart/2005/8/layout/chevron1" loCatId="process" qsTypeId="urn:microsoft.com/office/officeart/2005/8/quickstyle/simple1" qsCatId="simple" csTypeId="urn:microsoft.com/office/officeart/2005/8/colors/accent1_2" csCatId="accent1" phldr="1"/>
      <dgm:spPr/>
    </dgm:pt>
    <dgm:pt modelId="{1B0987CC-9DFA-48C9-83D1-DB41EB3D821F}">
      <dgm:prSet phldrT="[Text]" custT="1"/>
      <dgm:spPr>
        <a:solidFill>
          <a:srgbClr val="92D050"/>
        </a:solidFill>
      </dgm:spPr>
      <dgm:t>
        <a:bodyPr/>
        <a:lstStyle/>
        <a:p>
          <a:r>
            <a:rPr lang="sv-SE" sz="1050" dirty="0"/>
            <a:t>C - Qualified</a:t>
          </a:r>
        </a:p>
      </dgm:t>
    </dgm:pt>
    <dgm:pt modelId="{94DEFDC2-03F9-4BF2-A23B-39ACA73C3915}" type="parTrans" cxnId="{B575B2E2-818C-4FB0-96ED-7A7266805D79}">
      <dgm:prSet/>
      <dgm:spPr/>
      <dgm:t>
        <a:bodyPr/>
        <a:lstStyle/>
        <a:p>
          <a:endParaRPr lang="sv-SE" sz="1100"/>
        </a:p>
      </dgm:t>
    </dgm:pt>
    <dgm:pt modelId="{E56903FF-3D5C-4A51-B803-370316B4906F}" type="sibTrans" cxnId="{B575B2E2-818C-4FB0-96ED-7A7266805D79}">
      <dgm:prSet/>
      <dgm:spPr/>
      <dgm:t>
        <a:bodyPr/>
        <a:lstStyle/>
        <a:p>
          <a:endParaRPr lang="sv-SE" sz="1100"/>
        </a:p>
      </dgm:t>
    </dgm:pt>
    <dgm:pt modelId="{2BB63C0D-CFF2-4C72-B28B-4078164EE749}" type="pres">
      <dgm:prSet presAssocID="{EB8E49AD-82EA-47C7-8378-3BB3CCE479CC}" presName="Name0" presStyleCnt="0">
        <dgm:presLayoutVars>
          <dgm:dir/>
          <dgm:animLvl val="lvl"/>
          <dgm:resizeHandles val="exact"/>
        </dgm:presLayoutVars>
      </dgm:prSet>
      <dgm:spPr/>
    </dgm:pt>
    <dgm:pt modelId="{AA87F4E1-0B1D-4691-9D53-A9F6686625EB}" type="pres">
      <dgm:prSet presAssocID="{1B0987CC-9DFA-48C9-83D1-DB41EB3D821F}" presName="parTxOnly" presStyleLbl="node1" presStyleIdx="0" presStyleCnt="1">
        <dgm:presLayoutVars>
          <dgm:chMax val="0"/>
          <dgm:chPref val="0"/>
          <dgm:bulletEnabled val="1"/>
        </dgm:presLayoutVars>
      </dgm:prSet>
      <dgm:spPr/>
      <dgm:t>
        <a:bodyPr/>
        <a:lstStyle/>
        <a:p>
          <a:endParaRPr lang="en-US"/>
        </a:p>
      </dgm:t>
    </dgm:pt>
  </dgm:ptLst>
  <dgm:cxnLst>
    <dgm:cxn modelId="{B575B2E2-818C-4FB0-96ED-7A7266805D79}" srcId="{EB8E49AD-82EA-47C7-8378-3BB3CCE479CC}" destId="{1B0987CC-9DFA-48C9-83D1-DB41EB3D821F}" srcOrd="0" destOrd="0" parTransId="{94DEFDC2-03F9-4BF2-A23B-39ACA73C3915}" sibTransId="{E56903FF-3D5C-4A51-B803-370316B4906F}"/>
    <dgm:cxn modelId="{2B17A02C-2DB5-4EDC-A71B-5B6F8EB8CED0}" type="presOf" srcId="{1B0987CC-9DFA-48C9-83D1-DB41EB3D821F}" destId="{AA87F4E1-0B1D-4691-9D53-A9F6686625EB}" srcOrd="0" destOrd="0" presId="urn:microsoft.com/office/officeart/2005/8/layout/chevron1"/>
    <dgm:cxn modelId="{521EA473-B330-44D0-BCBE-65E0CA8C9191}" type="presOf" srcId="{EB8E49AD-82EA-47C7-8378-3BB3CCE479CC}" destId="{2BB63C0D-CFF2-4C72-B28B-4078164EE749}" srcOrd="0" destOrd="0" presId="urn:microsoft.com/office/officeart/2005/8/layout/chevron1"/>
    <dgm:cxn modelId="{795FD880-D976-4BAB-B49A-BF7F480A116B}" type="presParOf" srcId="{2BB63C0D-CFF2-4C72-B28B-4078164EE749}" destId="{AA87F4E1-0B1D-4691-9D53-A9F6686625EB}" srcOrd="0"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87F4E1-0B1D-4691-9D53-A9F6686625EB}">
      <dsp:nvSpPr>
        <dsp:cNvPr id="0" name=""/>
        <dsp:cNvSpPr/>
      </dsp:nvSpPr>
      <dsp:spPr>
        <a:xfrm>
          <a:off x="0" y="43495"/>
          <a:ext cx="1118566" cy="447426"/>
        </a:xfrm>
        <a:prstGeom prst="chevron">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66725">
            <a:lnSpc>
              <a:spcPct val="90000"/>
            </a:lnSpc>
            <a:spcBef>
              <a:spcPct val="0"/>
            </a:spcBef>
            <a:spcAft>
              <a:spcPct val="35000"/>
            </a:spcAft>
          </a:pPr>
          <a:r>
            <a:rPr lang="sv-SE" sz="1050" kern="1200" dirty="0"/>
            <a:t>D - Recorded</a:t>
          </a:r>
        </a:p>
      </dsp:txBody>
      <dsp:txXfrm>
        <a:off x="223713" y="43495"/>
        <a:ext cx="671140" cy="4474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09FC00-E4E3-44A7-936F-3718ABAA4A01}">
      <dsp:nvSpPr>
        <dsp:cNvPr id="0" name=""/>
        <dsp:cNvSpPr/>
      </dsp:nvSpPr>
      <dsp:spPr>
        <a:xfrm>
          <a:off x="1557825" y="0"/>
          <a:ext cx="1845175" cy="488488"/>
        </a:xfrm>
        <a:prstGeom prst="chevron">
          <a:avLst/>
        </a:prstGeom>
        <a:solidFill>
          <a:srgbClr val="33CC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66725">
            <a:lnSpc>
              <a:spcPct val="90000"/>
            </a:lnSpc>
            <a:spcBef>
              <a:spcPct val="0"/>
            </a:spcBef>
            <a:spcAft>
              <a:spcPct val="35000"/>
            </a:spcAft>
          </a:pPr>
          <a:r>
            <a:rPr lang="sv-SE" sz="1050" kern="1200" dirty="0"/>
            <a:t>A - Sold</a:t>
          </a:r>
        </a:p>
      </dsp:txBody>
      <dsp:txXfrm>
        <a:off x="1802069" y="0"/>
        <a:ext cx="1356687" cy="4884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87F4E1-0B1D-4691-9D53-A9F6686625EB}">
      <dsp:nvSpPr>
        <dsp:cNvPr id="0" name=""/>
        <dsp:cNvSpPr/>
      </dsp:nvSpPr>
      <dsp:spPr>
        <a:xfrm>
          <a:off x="0" y="43011"/>
          <a:ext cx="1213465" cy="485386"/>
        </a:xfrm>
        <a:prstGeom prst="chevron">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66725">
            <a:lnSpc>
              <a:spcPct val="90000"/>
            </a:lnSpc>
            <a:spcBef>
              <a:spcPct val="0"/>
            </a:spcBef>
            <a:spcAft>
              <a:spcPct val="35000"/>
            </a:spcAft>
          </a:pPr>
          <a:r>
            <a:rPr lang="sv-SE" sz="1050" kern="1200" dirty="0"/>
            <a:t>C - Qualified</a:t>
          </a:r>
        </a:p>
      </dsp:txBody>
      <dsp:txXfrm>
        <a:off x="242693" y="43011"/>
        <a:ext cx="728079" cy="485386"/>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F6FD348-9C7F-4865-875C-863EC6E2CB80}"/>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r>
              <a:rPr lang="fr-FR" smtClean="0"/>
              <a:t>Change Management GUIDE SDOD GC CR CCB </a:t>
            </a:r>
            <a:endParaRPr lang="en-US"/>
          </a:p>
        </p:txBody>
      </p:sp>
      <p:sp>
        <p:nvSpPr>
          <p:cNvPr id="3" name="Date Placeholder 2">
            <a:extLst>
              <a:ext uri="{FF2B5EF4-FFF2-40B4-BE49-F238E27FC236}">
                <a16:creationId xmlns:a16="http://schemas.microsoft.com/office/drawing/2014/main" id="{B3294207-A46E-4F9A-91C9-BB4398CEA985}"/>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r>
              <a:rPr lang="en-US" smtClean="0"/>
              <a:t>2019-06-19 </a:t>
            </a:r>
            <a:endParaRPr lang="en-US"/>
          </a:p>
        </p:txBody>
      </p:sp>
      <p:sp>
        <p:nvSpPr>
          <p:cNvPr id="4" name="Footer Placeholder 3">
            <a:extLst>
              <a:ext uri="{FF2B5EF4-FFF2-40B4-BE49-F238E27FC236}">
                <a16:creationId xmlns:a16="http://schemas.microsoft.com/office/drawing/2014/main" id="{95105526-C577-427D-800D-7921EA160260}"/>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r>
              <a:rPr lang="en-US" smtClean="0"/>
              <a:t>019/0113-1 Uen, Rev PB3 </a:t>
            </a:r>
            <a:endParaRPr lang="en-US"/>
          </a:p>
        </p:txBody>
      </p:sp>
      <p:sp>
        <p:nvSpPr>
          <p:cNvPr id="5" name="Slide Number Placeholder 4">
            <a:extLst>
              <a:ext uri="{FF2B5EF4-FFF2-40B4-BE49-F238E27FC236}">
                <a16:creationId xmlns:a16="http://schemas.microsoft.com/office/drawing/2014/main" id="{1FCA4CFA-39AC-4AB6-B521-EBDB0AF74AF0}"/>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67AEDCC-D3AE-4D3E-A1AA-6BA600F277AC}" type="slidenum">
              <a:rPr lang="en-US" smtClean="0"/>
              <a:t>‹#›</a:t>
            </a:fld>
            <a:endParaRPr lang="en-US"/>
          </a:p>
        </p:txBody>
      </p:sp>
    </p:spTree>
    <p:extLst>
      <p:ext uri="{BB962C8B-B14F-4D97-AF65-F5344CB8AC3E}">
        <p14:creationId xmlns:p14="http://schemas.microsoft.com/office/powerpoint/2010/main" val="175426212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Ericsson Hilda Light" panose="00000400000000000000" pitchFamily="2" charset="0"/>
              </a:defRPr>
            </a:lvl1pPr>
          </a:lstStyle>
          <a:p>
            <a:r>
              <a:rPr lang="fr-FR" smtClean="0"/>
              <a:t>Change Management GUIDE SDOD GC CR CCB </a:t>
            </a:r>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Ericsson Hilda Light" panose="00000400000000000000" pitchFamily="2" charset="0"/>
              </a:defRPr>
            </a:lvl1pPr>
          </a:lstStyle>
          <a:p>
            <a:r>
              <a:rPr lang="en-US" smtClean="0"/>
              <a:t>2019-06-19 </a:t>
            </a:r>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Ericsson Hilda Light" panose="00000400000000000000" pitchFamily="2" charset="0"/>
              </a:defRPr>
            </a:lvl1pPr>
          </a:lstStyle>
          <a:p>
            <a:r>
              <a:rPr lang="en-US" smtClean="0"/>
              <a:t>019/0113-1 Uen, Rev PB3 </a:t>
            </a:r>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Ericsson Hilda Light" panose="00000400000000000000" pitchFamily="2" charset="0"/>
              </a:defRPr>
            </a:lvl1pPr>
          </a:lstStyle>
          <a:p>
            <a:fld id="{F949BC75-2359-4F98-918A-7033C92AD487}" type="slidenum">
              <a:rPr lang="en-US" smtClean="0"/>
              <a:pPr/>
              <a:t>‹#›</a:t>
            </a:fld>
            <a:endParaRPr lang="en-US" dirty="0"/>
          </a:p>
        </p:txBody>
      </p:sp>
    </p:spTree>
    <p:extLst>
      <p:ext uri="{BB962C8B-B14F-4D97-AF65-F5344CB8AC3E}">
        <p14:creationId xmlns:p14="http://schemas.microsoft.com/office/powerpoint/2010/main" val="1133333820"/>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Ericsson Hilda Light" panose="00000400000000000000" pitchFamily="2" charset="0"/>
        <a:ea typeface="+mn-ea"/>
        <a:cs typeface="+mn-cs"/>
      </a:defRPr>
    </a:lvl1pPr>
    <a:lvl2pPr marL="457200" algn="l" defTabSz="914400" rtl="0" eaLnBrk="1" latinLnBrk="0" hangingPunct="1">
      <a:defRPr sz="1200" kern="1200">
        <a:solidFill>
          <a:schemeClr val="tx1"/>
        </a:solidFill>
        <a:latin typeface="Ericsson Hilda Light" panose="00000400000000000000" pitchFamily="2" charset="0"/>
        <a:ea typeface="+mn-ea"/>
        <a:cs typeface="+mn-cs"/>
      </a:defRPr>
    </a:lvl2pPr>
    <a:lvl3pPr marL="914400" algn="l" defTabSz="914400" rtl="0" eaLnBrk="1" latinLnBrk="0" hangingPunct="1">
      <a:defRPr sz="1200" kern="1200">
        <a:solidFill>
          <a:schemeClr val="tx1"/>
        </a:solidFill>
        <a:latin typeface="Ericsson Hilda Light" panose="00000400000000000000" pitchFamily="2" charset="0"/>
        <a:ea typeface="+mn-ea"/>
        <a:cs typeface="+mn-cs"/>
      </a:defRPr>
    </a:lvl3pPr>
    <a:lvl4pPr marL="1371600" algn="l" defTabSz="914400" rtl="0" eaLnBrk="1" latinLnBrk="0" hangingPunct="1">
      <a:defRPr sz="1200" kern="1200">
        <a:solidFill>
          <a:schemeClr val="tx1"/>
        </a:solidFill>
        <a:latin typeface="Ericsson Hilda Light" panose="00000400000000000000" pitchFamily="2" charset="0"/>
        <a:ea typeface="+mn-ea"/>
        <a:cs typeface="+mn-cs"/>
      </a:defRPr>
    </a:lvl4pPr>
    <a:lvl5pPr marL="1828800" algn="l" defTabSz="914400" rtl="0" eaLnBrk="1" latinLnBrk="0" hangingPunct="1">
      <a:defRPr sz="1200" kern="1200">
        <a:solidFill>
          <a:schemeClr val="tx1"/>
        </a:solidFill>
        <a:latin typeface="Ericsson Hilda Light" panose="000004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FAF830-8C6A-490B-8395-29D3C8360266}"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3624235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E33751-42D7-43F8-AFE1-425611DD4C15}"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0</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1591597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6A7EC-6394-42CC-8705-4A123FAD0EBE}"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1</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22081439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11F53-65C8-403B-9819-EC7E43371E7D}"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2</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15670217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sv-SE">
              <a:latin typeface="Arial" pitchFamily="34" charset="0"/>
            </a:endParaRPr>
          </a:p>
        </p:txBody>
      </p:sp>
      <p:sp>
        <p:nvSpPr>
          <p:cNvPr id="4" name="Date Placeholder 3"/>
          <p:cNvSpPr>
            <a:spLocks noGrp="1"/>
          </p:cNvSpPr>
          <p:nvPr>
            <p:ph type="dt" sz="quarter" idx="1"/>
          </p:nvPr>
        </p:nvSpPr>
        <p:spPr/>
        <p:txBody>
          <a:bodyPr/>
          <a:lstStyle/>
          <a:p>
            <a:pPr>
              <a:defRPr/>
            </a:pPr>
            <a:r>
              <a:rPr lang="en-US" smtClean="0">
                <a:solidFill>
                  <a:prstClr val="black"/>
                </a:solidFill>
              </a:rPr>
              <a:t>2019-06-19 </a:t>
            </a:r>
            <a:endParaRPr lang="en-US" dirty="0">
              <a:solidFill>
                <a:prstClr val="black"/>
              </a:solidFill>
            </a:endParaRPr>
          </a:p>
        </p:txBody>
      </p:sp>
      <p:sp>
        <p:nvSpPr>
          <p:cNvPr id="37893"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299" indent="-284388" eaLnBrk="0" hangingPunct="0">
              <a:spcBef>
                <a:spcPct val="30000"/>
              </a:spcBef>
              <a:defRPr sz="1200">
                <a:solidFill>
                  <a:schemeClr val="tx1"/>
                </a:solidFill>
                <a:latin typeface="Arial" pitchFamily="34" charset="0"/>
              </a:defRPr>
            </a:lvl2pPr>
            <a:lvl3pPr marL="1142370" indent="-228153" eaLnBrk="0" hangingPunct="0">
              <a:spcBef>
                <a:spcPct val="30000"/>
              </a:spcBef>
              <a:defRPr sz="1200">
                <a:solidFill>
                  <a:schemeClr val="tx1"/>
                </a:solidFill>
                <a:latin typeface="Arial" pitchFamily="34" charset="0"/>
              </a:defRPr>
            </a:lvl3pPr>
            <a:lvl4pPr marL="1598676" indent="-228153" eaLnBrk="0" hangingPunct="0">
              <a:spcBef>
                <a:spcPct val="30000"/>
              </a:spcBef>
              <a:defRPr sz="1200">
                <a:solidFill>
                  <a:schemeClr val="tx1"/>
                </a:solidFill>
                <a:latin typeface="Arial" pitchFamily="34" charset="0"/>
              </a:defRPr>
            </a:lvl4pPr>
            <a:lvl5pPr marL="2056587" indent="-228153" eaLnBrk="0" hangingPunct="0">
              <a:spcBef>
                <a:spcPct val="30000"/>
              </a:spcBef>
              <a:defRPr sz="1200">
                <a:solidFill>
                  <a:schemeClr val="tx1"/>
                </a:solidFill>
                <a:latin typeface="Arial" pitchFamily="34" charset="0"/>
              </a:defRPr>
            </a:lvl5pPr>
            <a:lvl6pPr marL="2519319" indent="-228153" eaLnBrk="0" fontAlgn="base" hangingPunct="0">
              <a:spcBef>
                <a:spcPct val="30000"/>
              </a:spcBef>
              <a:spcAft>
                <a:spcPct val="0"/>
              </a:spcAft>
              <a:defRPr sz="1200">
                <a:solidFill>
                  <a:schemeClr val="tx1"/>
                </a:solidFill>
                <a:latin typeface="Arial" pitchFamily="34" charset="0"/>
              </a:defRPr>
            </a:lvl6pPr>
            <a:lvl7pPr marL="2982051" indent="-228153" eaLnBrk="0" fontAlgn="base" hangingPunct="0">
              <a:spcBef>
                <a:spcPct val="30000"/>
              </a:spcBef>
              <a:spcAft>
                <a:spcPct val="0"/>
              </a:spcAft>
              <a:defRPr sz="1200">
                <a:solidFill>
                  <a:schemeClr val="tx1"/>
                </a:solidFill>
                <a:latin typeface="Arial" pitchFamily="34" charset="0"/>
              </a:defRPr>
            </a:lvl7pPr>
            <a:lvl8pPr marL="3444784" indent="-228153" eaLnBrk="0" fontAlgn="base" hangingPunct="0">
              <a:spcBef>
                <a:spcPct val="30000"/>
              </a:spcBef>
              <a:spcAft>
                <a:spcPct val="0"/>
              </a:spcAft>
              <a:defRPr sz="1200">
                <a:solidFill>
                  <a:schemeClr val="tx1"/>
                </a:solidFill>
                <a:latin typeface="Arial" pitchFamily="34" charset="0"/>
              </a:defRPr>
            </a:lvl8pPr>
            <a:lvl9pPr marL="3907516" indent="-228153" eaLnBrk="0" fontAlgn="base" hangingPunct="0">
              <a:spcBef>
                <a:spcPct val="30000"/>
              </a:spcBef>
              <a:spcAft>
                <a:spcPct val="0"/>
              </a:spcAft>
              <a:defRPr sz="1200">
                <a:solidFill>
                  <a:schemeClr val="tx1"/>
                </a:solidFill>
                <a:latin typeface="Arial" pitchFamily="34" charset="0"/>
              </a:defRPr>
            </a:lvl9pPr>
          </a:lstStyle>
          <a:p>
            <a:pPr eaLnBrk="1" hangingPunct="1">
              <a:spcBef>
                <a:spcPct val="50000"/>
              </a:spcBef>
            </a:pPr>
            <a:fld id="{4F5E779F-F398-4E3A-85BA-A8C307376C30}" type="slidenum">
              <a:rPr lang="en-US" altLang="sv-SE" smtClean="0">
                <a:solidFill>
                  <a:srgbClr val="000000"/>
                </a:solidFill>
              </a:rPr>
              <a:t>13</a:t>
            </a:fld>
            <a:endParaRPr lang="en-US" altLang="sv-SE">
              <a:solidFill>
                <a:srgbClr val="000000"/>
              </a:solidFill>
            </a:endParaRPr>
          </a:p>
        </p:txBody>
      </p:sp>
      <p:sp>
        <p:nvSpPr>
          <p:cNvPr id="6" name="Header Placeholder 5"/>
          <p:cNvSpPr>
            <a:spLocks noGrp="1"/>
          </p:cNvSpPr>
          <p:nvPr>
            <p:ph type="hdr" sz="quarter"/>
          </p:nvPr>
        </p:nvSpPr>
        <p:spPr/>
        <p:txBody>
          <a:bodyPr/>
          <a:lstStyle/>
          <a:p>
            <a:pPr>
              <a:defRPr/>
            </a:pPr>
            <a:r>
              <a:rPr lang="fr-FR" smtClean="0">
                <a:solidFill>
                  <a:prstClr val="black"/>
                </a:solidFill>
              </a:rPr>
              <a:t>Change Management GUIDE SDOD GC CR CCB </a:t>
            </a:r>
            <a:endParaRPr lang="en-US" dirty="0">
              <a:solidFill>
                <a:prstClr val="black"/>
              </a:solidFill>
            </a:endParaRPr>
          </a:p>
        </p:txBody>
      </p:sp>
      <p:sp>
        <p:nvSpPr>
          <p:cNvPr id="7" name="Footer Placeholder 6"/>
          <p:cNvSpPr>
            <a:spLocks noGrp="1"/>
          </p:cNvSpPr>
          <p:nvPr>
            <p:ph type="ftr" sz="quarter" idx="4"/>
          </p:nvPr>
        </p:nvSpPr>
        <p:spPr/>
        <p:txBody>
          <a:bodyPr/>
          <a:lstStyle/>
          <a:p>
            <a:pPr>
              <a:defRPr/>
            </a:pPr>
            <a:r>
              <a:rPr lang="en-US" smtClean="0">
                <a:solidFill>
                  <a:prstClr val="black"/>
                </a:solidFill>
              </a:rPr>
              <a:t>019/0113-1 Uen, Rev PB3 </a:t>
            </a:r>
            <a:endParaRPr lang="en-US" dirty="0">
              <a:solidFill>
                <a:prstClr val="black"/>
              </a:solidFill>
            </a:endParaRPr>
          </a:p>
        </p:txBody>
      </p:sp>
    </p:spTree>
    <p:extLst>
      <p:ext uri="{BB962C8B-B14F-4D97-AF65-F5344CB8AC3E}">
        <p14:creationId xmlns:p14="http://schemas.microsoft.com/office/powerpoint/2010/main" val="6057161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fr-FR" smtClean="0"/>
              <a:t>Change Management GUIDE SDOD GC CR CCB </a:t>
            </a:r>
            <a:endParaRPr lang="en-US" dirty="0"/>
          </a:p>
        </p:txBody>
      </p:sp>
      <p:sp>
        <p:nvSpPr>
          <p:cNvPr id="5" name="Date Placeholder 4"/>
          <p:cNvSpPr>
            <a:spLocks noGrp="1"/>
          </p:cNvSpPr>
          <p:nvPr>
            <p:ph type="dt" idx="11"/>
          </p:nvPr>
        </p:nvSpPr>
        <p:spPr/>
        <p:txBody>
          <a:bodyPr/>
          <a:lstStyle/>
          <a:p>
            <a:r>
              <a:rPr lang="en-US" smtClean="0"/>
              <a:t>2019-06-19 </a:t>
            </a:r>
            <a:endParaRPr lang="en-US" dirty="0"/>
          </a:p>
        </p:txBody>
      </p:sp>
      <p:sp>
        <p:nvSpPr>
          <p:cNvPr id="6" name="Footer Placeholder 5"/>
          <p:cNvSpPr>
            <a:spLocks noGrp="1"/>
          </p:cNvSpPr>
          <p:nvPr>
            <p:ph type="ftr" sz="quarter" idx="12"/>
          </p:nvPr>
        </p:nvSpPr>
        <p:spPr/>
        <p:txBody>
          <a:bodyPr/>
          <a:lstStyle/>
          <a:p>
            <a:r>
              <a:rPr lang="en-US" smtClean="0"/>
              <a:t>019/0113-1 Uen, Rev PB3 </a:t>
            </a:r>
            <a:endParaRPr lang="en-US" dirty="0"/>
          </a:p>
        </p:txBody>
      </p:sp>
      <p:sp>
        <p:nvSpPr>
          <p:cNvPr id="7" name="Slide Number Placeholder 6"/>
          <p:cNvSpPr>
            <a:spLocks noGrp="1"/>
          </p:cNvSpPr>
          <p:nvPr>
            <p:ph type="sldNum" sz="quarter" idx="13"/>
          </p:nvPr>
        </p:nvSpPr>
        <p:spPr/>
        <p:txBody>
          <a:bodyPr/>
          <a:lstStyle/>
          <a:p>
            <a:fld id="{C5C073E8-D1FB-4BDC-86CD-AF7474A184D4}" type="slidenum">
              <a:rPr lang="en-US" smtClean="0"/>
              <a:t>14</a:t>
            </a:fld>
            <a:endParaRPr lang="en-US" dirty="0"/>
          </a:p>
        </p:txBody>
      </p:sp>
    </p:spTree>
    <p:extLst>
      <p:ext uri="{BB962C8B-B14F-4D97-AF65-F5344CB8AC3E}">
        <p14:creationId xmlns:p14="http://schemas.microsoft.com/office/powerpoint/2010/main" val="26521293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fr-FR" smtClean="0"/>
              <a:t>Change Management GUIDE SDOD GC CR CCB </a:t>
            </a:r>
            <a:endParaRPr lang="en-US" dirty="0"/>
          </a:p>
        </p:txBody>
      </p:sp>
      <p:sp>
        <p:nvSpPr>
          <p:cNvPr id="5" name="Date Placeholder 4"/>
          <p:cNvSpPr>
            <a:spLocks noGrp="1"/>
          </p:cNvSpPr>
          <p:nvPr>
            <p:ph type="dt" idx="11"/>
          </p:nvPr>
        </p:nvSpPr>
        <p:spPr/>
        <p:txBody>
          <a:bodyPr/>
          <a:lstStyle/>
          <a:p>
            <a:r>
              <a:rPr lang="en-US" smtClean="0"/>
              <a:t>2019-06-19 </a:t>
            </a:r>
            <a:endParaRPr lang="en-US" dirty="0"/>
          </a:p>
        </p:txBody>
      </p:sp>
      <p:sp>
        <p:nvSpPr>
          <p:cNvPr id="6" name="Footer Placeholder 5"/>
          <p:cNvSpPr>
            <a:spLocks noGrp="1"/>
          </p:cNvSpPr>
          <p:nvPr>
            <p:ph type="ftr" sz="quarter" idx="12"/>
          </p:nvPr>
        </p:nvSpPr>
        <p:spPr/>
        <p:txBody>
          <a:bodyPr/>
          <a:lstStyle/>
          <a:p>
            <a:r>
              <a:rPr lang="en-US" smtClean="0"/>
              <a:t>019/0113-1 Uen, Rev PB3 </a:t>
            </a:r>
            <a:endParaRPr lang="en-US" dirty="0"/>
          </a:p>
        </p:txBody>
      </p:sp>
      <p:sp>
        <p:nvSpPr>
          <p:cNvPr id="7" name="Slide Number Placeholder 6"/>
          <p:cNvSpPr>
            <a:spLocks noGrp="1"/>
          </p:cNvSpPr>
          <p:nvPr>
            <p:ph type="sldNum" sz="quarter" idx="13"/>
          </p:nvPr>
        </p:nvSpPr>
        <p:spPr/>
        <p:txBody>
          <a:bodyPr/>
          <a:lstStyle/>
          <a:p>
            <a:fld id="{53612535-44DE-4890-9DE0-38A1C694D5F0}" type="slidenum">
              <a:rPr lang="en-US" smtClean="0"/>
              <a:t>15</a:t>
            </a:fld>
            <a:endParaRPr lang="en-US" dirty="0"/>
          </a:p>
        </p:txBody>
      </p:sp>
    </p:spTree>
    <p:extLst>
      <p:ext uri="{BB962C8B-B14F-4D97-AF65-F5344CB8AC3E}">
        <p14:creationId xmlns:p14="http://schemas.microsoft.com/office/powerpoint/2010/main" val="1232600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B0DDDA-C410-40BD-898C-B521B838FF32}"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6</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1070604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D8AA9F-05DA-4C26-8099-3FF1E6D7BCD0}"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7</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666286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216F42-D7C4-48C3-9791-706FA2921A55}"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8</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7436677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F6FF01-78FD-42BE-A1AA-BA7CE5E833E2}"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19</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846799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latin typeface="Arial" pitchFamily="34" charset="0"/>
            </a:endParaRPr>
          </a:p>
        </p:txBody>
      </p:sp>
      <p:sp>
        <p:nvSpPr>
          <p:cNvPr id="63492"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altLang="en-US" sz="1200" b="0" i="0" u="none" strike="noStrike" kern="1200" cap="none" spc="0" normalizeH="0" baseline="0" noProof="0" smtClean="0">
                <a:ln>
                  <a:noFill/>
                </a:ln>
                <a:solidFill>
                  <a:srgbClr val="000000"/>
                </a:solidFill>
                <a:effectLst/>
                <a:uLnTx/>
                <a:uFillTx/>
                <a:latin typeface="Arial" pitchFamily="34" charset="0"/>
                <a:ea typeface="+mn-ea"/>
                <a:cs typeface="+mn-cs"/>
              </a:rPr>
              <a:t>2019-06-19 </a:t>
            </a:r>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63493"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fld id="{575BA675-DD93-4264-B700-6CEA1EC25930}" type="slidenum">
              <a:rPr kumimoji="0" lang="en-US" altLang="en-US" sz="1200" b="0" i="0" u="none" strike="noStrike" kern="1200" cap="none" spc="0" normalizeH="0" baseline="0" noProof="0" smtClean="0">
                <a:ln>
                  <a:noFill/>
                </a:ln>
                <a:solidFill>
                  <a:srgbClr val="000000"/>
                </a:solidFill>
                <a:effectLst/>
                <a:uLnTx/>
                <a:uFillTx/>
                <a:latin typeface="Arial" pitchFamily="34" charset="0"/>
                <a:ea typeface="+mn-ea"/>
                <a:cs typeface="+mn-cs"/>
              </a:rPr>
              <a:t>2</a:t>
            </a:fld>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63494"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fr-FR" altLang="en-US" sz="1200" b="0" i="0" u="none" strike="noStrike" kern="1200" cap="none" spc="0" normalizeH="0" baseline="0" noProof="0" smtClean="0">
                <a:ln>
                  <a:noFill/>
                </a:ln>
                <a:solidFill>
                  <a:srgbClr val="000000"/>
                </a:solidFill>
                <a:effectLst/>
                <a:uLnTx/>
                <a:uFillTx/>
                <a:latin typeface="Arial" pitchFamily="34" charset="0"/>
                <a:ea typeface="+mn-ea"/>
                <a:cs typeface="+mn-cs"/>
              </a:rPr>
              <a:t>Change Management GUIDE SDOD GC CR CCB </a:t>
            </a:r>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63495"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1200" b="0" i="0" u="none" strike="noStrike" kern="1200" cap="none" spc="0" normalizeH="0" baseline="0" noProof="0" smtClean="0">
                <a:ln>
                  <a:noFill/>
                </a:ln>
                <a:solidFill>
                  <a:srgbClr val="000000"/>
                </a:solidFill>
                <a:effectLst/>
                <a:uLnTx/>
                <a:uFillTx/>
                <a:latin typeface="Arial" pitchFamily="34" charset="0"/>
                <a:ea typeface="+mn-ea"/>
                <a:cs typeface="+mn-cs"/>
              </a:rPr>
              <a:t>019/0113-1 Uen, Rev PB3 </a:t>
            </a:r>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992514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fr-FR" smtClean="0"/>
              <a:t>Change Management GUIDE SDOD GC CR CCB </a:t>
            </a:r>
            <a:endParaRPr lang="en-US" dirty="0"/>
          </a:p>
        </p:txBody>
      </p:sp>
      <p:sp>
        <p:nvSpPr>
          <p:cNvPr id="5" name="Date Placeholder 4"/>
          <p:cNvSpPr>
            <a:spLocks noGrp="1"/>
          </p:cNvSpPr>
          <p:nvPr>
            <p:ph type="dt" idx="11"/>
          </p:nvPr>
        </p:nvSpPr>
        <p:spPr/>
        <p:txBody>
          <a:bodyPr/>
          <a:lstStyle/>
          <a:p>
            <a:r>
              <a:rPr lang="en-US" smtClean="0"/>
              <a:t>2019-06-19 </a:t>
            </a:r>
            <a:endParaRPr lang="en-US" dirty="0"/>
          </a:p>
        </p:txBody>
      </p:sp>
      <p:sp>
        <p:nvSpPr>
          <p:cNvPr id="6" name="Footer Placeholder 5"/>
          <p:cNvSpPr>
            <a:spLocks noGrp="1"/>
          </p:cNvSpPr>
          <p:nvPr>
            <p:ph type="ftr" sz="quarter" idx="12"/>
          </p:nvPr>
        </p:nvSpPr>
        <p:spPr/>
        <p:txBody>
          <a:bodyPr/>
          <a:lstStyle/>
          <a:p>
            <a:r>
              <a:rPr lang="en-US" smtClean="0"/>
              <a:t>019/0113-1 Uen, Rev PB3 </a:t>
            </a:r>
            <a:endParaRPr lang="en-US" dirty="0"/>
          </a:p>
        </p:txBody>
      </p:sp>
      <p:sp>
        <p:nvSpPr>
          <p:cNvPr id="7" name="Slide Number Placeholder 6"/>
          <p:cNvSpPr>
            <a:spLocks noGrp="1"/>
          </p:cNvSpPr>
          <p:nvPr>
            <p:ph type="sldNum" sz="quarter" idx="13"/>
          </p:nvPr>
        </p:nvSpPr>
        <p:spPr/>
        <p:txBody>
          <a:bodyPr/>
          <a:lstStyle/>
          <a:p>
            <a:fld id="{A03D6037-C644-4F97-AEFC-7C2D679FFB9D}" type="slidenum">
              <a:rPr lang="en-US" smtClean="0"/>
              <a:t>20</a:t>
            </a:fld>
            <a:endParaRPr lang="en-US" dirty="0"/>
          </a:p>
        </p:txBody>
      </p:sp>
    </p:spTree>
    <p:extLst>
      <p:ext uri="{BB962C8B-B14F-4D97-AF65-F5344CB8AC3E}">
        <p14:creationId xmlns:p14="http://schemas.microsoft.com/office/powerpoint/2010/main" val="4187956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Date Placeholder 3"/>
          <p:cNvSpPr>
            <a:spLocks noGrp="1"/>
          </p:cNvSpPr>
          <p:nvPr>
            <p:ph type="dt" idx="10"/>
          </p:nvPr>
        </p:nvSpPr>
        <p:spPr/>
        <p:txBody>
          <a:bodyPr/>
          <a:lstStyle/>
          <a:p>
            <a:pPr marL="0" marR="0" lvl="0" indent="0" algn="r" defTabSz="93762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latin typeface="Ericsson Hilda Light" panose="00000400000000000000" pitchFamily="2" charset="0"/>
                <a:ea typeface="+mn-ea"/>
                <a:cs typeface="+mn-cs"/>
              </a:rPr>
              <a:t>2019-06-19 </a:t>
            </a:r>
            <a:endParaRPr kumimoji="0" lang="en-US" sz="1800" b="0" i="0" u="none" strike="noStrike" kern="0" cap="none" spc="0" normalizeH="0" baseline="0" noProof="0" dirty="0">
              <a:ln>
                <a:noFill/>
              </a:ln>
              <a:solidFill>
                <a:sysClr val="windowText" lastClr="000000"/>
              </a:solidFill>
              <a:effectLst/>
              <a:uLnTx/>
              <a:uFillTx/>
              <a:latin typeface="Ericsson Hilda Light" panose="00000400000000000000" pitchFamily="2"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7626" rtl="0" eaLnBrk="1" fontAlgn="auto" latinLnBrk="0" hangingPunct="1">
              <a:lnSpc>
                <a:spcPct val="100000"/>
              </a:lnSpc>
              <a:spcBef>
                <a:spcPts val="0"/>
              </a:spcBef>
              <a:spcAft>
                <a:spcPts val="0"/>
              </a:spcAft>
              <a:buClrTx/>
              <a:buSzTx/>
              <a:buFontTx/>
              <a:buNone/>
              <a:tabLst/>
              <a:defRPr/>
            </a:pPr>
            <a:fld id="{DDD27A71-234A-46B6-963D-5C7EC3A16054}" type="slidenum">
              <a:rPr kumimoji="0" lang="en-US" sz="1800" b="0" i="0" u="none" strike="noStrike" kern="0" cap="none" spc="0" normalizeH="0" baseline="0" noProof="0" smtClean="0">
                <a:ln>
                  <a:noFill/>
                </a:ln>
                <a:solidFill>
                  <a:sysClr val="windowText" lastClr="000000"/>
                </a:solidFill>
                <a:effectLst/>
                <a:uLnTx/>
                <a:uFillTx/>
                <a:latin typeface="Ericsson Hilda Light" panose="00000400000000000000" pitchFamily="2" charset="0"/>
                <a:ea typeface="+mn-ea"/>
                <a:cs typeface="+mn-cs"/>
              </a:rPr>
              <a:t>3</a:t>
            </a:fld>
            <a:endParaRPr kumimoji="0" lang="en-US" sz="1800" b="0" i="0" u="none" strike="noStrike" kern="0" cap="none" spc="0" normalizeH="0" baseline="0" noProof="0" dirty="0">
              <a:ln>
                <a:noFill/>
              </a:ln>
              <a:solidFill>
                <a:sysClr val="windowText" lastClr="000000"/>
              </a:solidFill>
              <a:effectLst/>
              <a:uLnTx/>
              <a:uFillTx/>
              <a:latin typeface="Ericsson Hilda Light" panose="00000400000000000000" pitchFamily="2" charset="0"/>
              <a:ea typeface="+mn-ea"/>
              <a:cs typeface="+mn-cs"/>
            </a:endParaRPr>
          </a:p>
        </p:txBody>
      </p:sp>
      <p:sp>
        <p:nvSpPr>
          <p:cNvPr id="6" name="Header Placeholder 5"/>
          <p:cNvSpPr>
            <a:spLocks noGrp="1"/>
          </p:cNvSpPr>
          <p:nvPr>
            <p:ph type="hdr" sz="quarter" idx="12"/>
          </p:nvPr>
        </p:nvSpPr>
        <p:spPr/>
        <p:txBody>
          <a:bodyPr/>
          <a:lstStyle/>
          <a:p>
            <a:pPr marL="0" marR="0" lvl="0" indent="0" algn="l" defTabSz="937626" rtl="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smtClean="0">
                <a:ln>
                  <a:noFill/>
                </a:ln>
                <a:solidFill>
                  <a:sysClr val="windowText" lastClr="000000"/>
                </a:solidFill>
                <a:effectLst/>
                <a:uLnTx/>
                <a:uFillTx/>
                <a:latin typeface="Ericsson Hilda Light" panose="00000400000000000000" pitchFamily="2" charset="0"/>
                <a:ea typeface="+mn-ea"/>
                <a:cs typeface="+mn-cs"/>
              </a:rPr>
              <a:t>Change Management GUIDE SDOD GC CR CCB </a:t>
            </a:r>
            <a:endParaRPr kumimoji="0" lang="en-US" sz="1800" b="0" i="0" u="none" strike="noStrike" kern="0" cap="none" spc="0" normalizeH="0" baseline="0" noProof="0" dirty="0">
              <a:ln>
                <a:noFill/>
              </a:ln>
              <a:solidFill>
                <a:sysClr val="windowText" lastClr="000000"/>
              </a:solidFill>
              <a:effectLst/>
              <a:uLnTx/>
              <a:uFillTx/>
              <a:latin typeface="Ericsson Hilda Light" panose="00000400000000000000" pitchFamily="2" charset="0"/>
              <a:ea typeface="+mn-ea"/>
              <a:cs typeface="+mn-cs"/>
            </a:endParaRPr>
          </a:p>
        </p:txBody>
      </p:sp>
      <p:sp>
        <p:nvSpPr>
          <p:cNvPr id="7" name="Footer Placeholder 6"/>
          <p:cNvSpPr>
            <a:spLocks noGrp="1"/>
          </p:cNvSpPr>
          <p:nvPr>
            <p:ph type="ftr" sz="quarter" idx="13"/>
          </p:nvPr>
        </p:nvSpPr>
        <p:spPr/>
        <p:txBody>
          <a:bodyPr/>
          <a:lstStyle/>
          <a:p>
            <a:pPr marL="0" marR="0" lvl="0" indent="0" algn="l" defTabSz="93762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smtClean="0">
                <a:ln>
                  <a:noFill/>
                </a:ln>
                <a:solidFill>
                  <a:sysClr val="windowText" lastClr="000000"/>
                </a:solidFill>
                <a:effectLst/>
                <a:uLnTx/>
                <a:uFillTx/>
                <a:latin typeface="Ericsson Hilda Light" panose="00000400000000000000" pitchFamily="2" charset="0"/>
                <a:ea typeface="+mn-ea"/>
                <a:cs typeface="+mn-cs"/>
              </a:rPr>
              <a:t>019/0113-1 Uen, Rev PB3 </a:t>
            </a:r>
            <a:endParaRPr kumimoji="0" lang="en-US" sz="1800" b="0" i="0" u="none" strike="noStrike" kern="0" cap="none" spc="0" normalizeH="0" baseline="0" noProof="0" dirty="0">
              <a:ln>
                <a:noFill/>
              </a:ln>
              <a:solidFill>
                <a:sysClr val="windowText" lastClr="000000"/>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3537945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fr-FR" smtClean="0"/>
              <a:t>Change Management GUIDE SDOD GC CR CCB </a:t>
            </a:r>
            <a:endParaRPr lang="en-US" dirty="0"/>
          </a:p>
        </p:txBody>
      </p:sp>
      <p:sp>
        <p:nvSpPr>
          <p:cNvPr id="5" name="Date Placeholder 4"/>
          <p:cNvSpPr>
            <a:spLocks noGrp="1"/>
          </p:cNvSpPr>
          <p:nvPr>
            <p:ph type="dt" idx="11"/>
          </p:nvPr>
        </p:nvSpPr>
        <p:spPr/>
        <p:txBody>
          <a:bodyPr/>
          <a:lstStyle/>
          <a:p>
            <a:r>
              <a:rPr lang="en-US" smtClean="0"/>
              <a:t>2019-06-19 </a:t>
            </a:r>
            <a:endParaRPr lang="en-US" dirty="0"/>
          </a:p>
        </p:txBody>
      </p:sp>
      <p:sp>
        <p:nvSpPr>
          <p:cNvPr id="6" name="Footer Placeholder 5"/>
          <p:cNvSpPr>
            <a:spLocks noGrp="1"/>
          </p:cNvSpPr>
          <p:nvPr>
            <p:ph type="ftr" sz="quarter" idx="12"/>
          </p:nvPr>
        </p:nvSpPr>
        <p:spPr/>
        <p:txBody>
          <a:bodyPr/>
          <a:lstStyle/>
          <a:p>
            <a:r>
              <a:rPr lang="en-US" smtClean="0"/>
              <a:t>019/0113-1 Uen, Rev PB3 </a:t>
            </a:r>
            <a:endParaRPr lang="en-US" dirty="0"/>
          </a:p>
        </p:txBody>
      </p:sp>
      <p:sp>
        <p:nvSpPr>
          <p:cNvPr id="7" name="Slide Number Placeholder 6"/>
          <p:cNvSpPr>
            <a:spLocks noGrp="1"/>
          </p:cNvSpPr>
          <p:nvPr>
            <p:ph type="sldNum" sz="quarter" idx="13"/>
          </p:nvPr>
        </p:nvSpPr>
        <p:spPr/>
        <p:txBody>
          <a:bodyPr/>
          <a:lstStyle/>
          <a:p>
            <a:fld id="{C4AFB37B-29AD-4D45-87D5-5DE794D6D2A8}" type="slidenum">
              <a:rPr lang="en-US" smtClean="0"/>
              <a:t>4</a:t>
            </a:fld>
            <a:endParaRPr lang="en-US" dirty="0"/>
          </a:p>
        </p:txBody>
      </p:sp>
    </p:spTree>
    <p:extLst>
      <p:ext uri="{BB962C8B-B14F-4D97-AF65-F5344CB8AC3E}">
        <p14:creationId xmlns:p14="http://schemas.microsoft.com/office/powerpoint/2010/main" val="2792181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fr-FR" smtClean="0"/>
              <a:t>Change Management GUIDE SDOD GC CR CCB </a:t>
            </a:r>
            <a:endParaRPr lang="en-US" dirty="0"/>
          </a:p>
        </p:txBody>
      </p:sp>
      <p:sp>
        <p:nvSpPr>
          <p:cNvPr id="5" name="Date Placeholder 4"/>
          <p:cNvSpPr>
            <a:spLocks noGrp="1"/>
          </p:cNvSpPr>
          <p:nvPr>
            <p:ph type="dt" idx="11"/>
          </p:nvPr>
        </p:nvSpPr>
        <p:spPr/>
        <p:txBody>
          <a:bodyPr/>
          <a:lstStyle/>
          <a:p>
            <a:r>
              <a:rPr lang="en-US" smtClean="0"/>
              <a:t>2019-06-19 </a:t>
            </a:r>
            <a:endParaRPr lang="en-US" dirty="0"/>
          </a:p>
        </p:txBody>
      </p:sp>
      <p:sp>
        <p:nvSpPr>
          <p:cNvPr id="6" name="Footer Placeholder 5"/>
          <p:cNvSpPr>
            <a:spLocks noGrp="1"/>
          </p:cNvSpPr>
          <p:nvPr>
            <p:ph type="ftr" sz="quarter" idx="12"/>
          </p:nvPr>
        </p:nvSpPr>
        <p:spPr/>
        <p:txBody>
          <a:bodyPr/>
          <a:lstStyle/>
          <a:p>
            <a:r>
              <a:rPr lang="en-US" smtClean="0"/>
              <a:t>019/0113-1 Uen, Rev PB3 </a:t>
            </a:r>
            <a:endParaRPr lang="en-US" dirty="0"/>
          </a:p>
        </p:txBody>
      </p:sp>
      <p:sp>
        <p:nvSpPr>
          <p:cNvPr id="7" name="Slide Number Placeholder 6"/>
          <p:cNvSpPr>
            <a:spLocks noGrp="1"/>
          </p:cNvSpPr>
          <p:nvPr>
            <p:ph type="sldNum" sz="quarter" idx="13"/>
          </p:nvPr>
        </p:nvSpPr>
        <p:spPr/>
        <p:txBody>
          <a:bodyPr/>
          <a:lstStyle/>
          <a:p>
            <a:fld id="{2D35196D-DC5B-4A34-8543-393F185BE4F7}" type="slidenum">
              <a:rPr lang="en-US" smtClean="0"/>
              <a:t>5</a:t>
            </a:fld>
            <a:endParaRPr lang="en-US" dirty="0"/>
          </a:p>
        </p:txBody>
      </p:sp>
    </p:spTree>
    <p:extLst>
      <p:ext uri="{BB962C8B-B14F-4D97-AF65-F5344CB8AC3E}">
        <p14:creationId xmlns:p14="http://schemas.microsoft.com/office/powerpoint/2010/main" val="2136772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814CD0A0-BAD0-4397-A228-5F676885E177}"/>
              </a:ext>
            </a:extLst>
          </p:cNvPr>
          <p:cNvSpPr>
            <a:spLocks noGrp="1" noRot="1" noChangeAspect="1" noChangeArrowheads="1" noTextEdit="1"/>
          </p:cNvSpPr>
          <p:nvPr>
            <p:ph type="sldImg"/>
          </p:nvPr>
        </p:nvSpPr>
        <p:spPr>
          <a:ln/>
        </p:spPr>
      </p:sp>
      <p:sp>
        <p:nvSpPr>
          <p:cNvPr id="56323" name="Notes Placeholder 2">
            <a:extLst>
              <a:ext uri="{FF2B5EF4-FFF2-40B4-BE49-F238E27FC236}">
                <a16:creationId xmlns:a16="http://schemas.microsoft.com/office/drawing/2014/main" id="{C8B20404-FB8B-4FDA-9B32-B00783DC6D1A}"/>
              </a:ext>
            </a:extLst>
          </p:cNvPr>
          <p:cNvSpPr>
            <a:spLocks noGrp="1" noChangeArrowheads="1"/>
          </p:cNvSpPr>
          <p:nvPr>
            <p:ph type="body" idx="1"/>
          </p:nvPr>
        </p:nvSpPr>
        <p:spPr>
          <a:noFill/>
        </p:spPr>
        <p:txBody>
          <a:bodyPr/>
          <a:lstStyle/>
          <a:p>
            <a:endParaRPr lang="en-US" altLang="en-US"/>
          </a:p>
        </p:txBody>
      </p:sp>
      <p:sp>
        <p:nvSpPr>
          <p:cNvPr id="56324" name="Slide Number Placeholder 3">
            <a:extLst>
              <a:ext uri="{FF2B5EF4-FFF2-40B4-BE49-F238E27FC236}">
                <a16:creationId xmlns:a16="http://schemas.microsoft.com/office/drawing/2014/main" id="{674E8BBD-E6B2-4A82-BEF1-5BF6C8C7FE93}"/>
              </a:ext>
            </a:extLst>
          </p:cNvPr>
          <p:cNvSpPr>
            <a:spLocks noGrp="1"/>
          </p:cNvSpPr>
          <p:nvPr>
            <p:ph type="sldNum" sz="quarter" idx="5"/>
          </p:nvPr>
        </p:nvSpPr>
        <p:spPr>
          <a:noFill/>
        </p:spPr>
        <p:txBody>
          <a:bodyPr/>
          <a:lstStyle>
            <a:lvl1pPr>
              <a:defRPr>
                <a:solidFill>
                  <a:schemeClr val="tx1"/>
                </a:solidFill>
                <a:latin typeface="Ericsson Hilda" panose="00000500000000000000" pitchFamily="2" charset="0"/>
              </a:defRPr>
            </a:lvl1pPr>
            <a:lvl2pPr marL="742950" indent="-285750">
              <a:defRPr>
                <a:solidFill>
                  <a:schemeClr val="tx1"/>
                </a:solidFill>
                <a:latin typeface="Ericsson Hilda" panose="00000500000000000000" pitchFamily="2" charset="0"/>
              </a:defRPr>
            </a:lvl2pPr>
            <a:lvl3pPr marL="1143000" indent="-228600">
              <a:defRPr>
                <a:solidFill>
                  <a:schemeClr val="tx1"/>
                </a:solidFill>
                <a:latin typeface="Ericsson Hilda" panose="00000500000000000000" pitchFamily="2" charset="0"/>
              </a:defRPr>
            </a:lvl3pPr>
            <a:lvl4pPr marL="1600200" indent="-228600">
              <a:defRPr>
                <a:solidFill>
                  <a:schemeClr val="tx1"/>
                </a:solidFill>
                <a:latin typeface="Ericsson Hilda" panose="00000500000000000000" pitchFamily="2" charset="0"/>
              </a:defRPr>
            </a:lvl4pPr>
            <a:lvl5pPr marL="2057400" indent="-228600">
              <a:defRPr>
                <a:solidFill>
                  <a:schemeClr val="tx1"/>
                </a:solidFill>
                <a:latin typeface="Ericsson Hilda" panose="00000500000000000000" pitchFamily="2" charset="0"/>
              </a:defRPr>
            </a:lvl5pPr>
            <a:lvl6pPr marL="2514600" indent="-228600" eaLnBrk="0" fontAlgn="base" hangingPunct="0">
              <a:spcBef>
                <a:spcPct val="0"/>
              </a:spcBef>
              <a:spcAft>
                <a:spcPct val="0"/>
              </a:spcAft>
              <a:defRPr>
                <a:solidFill>
                  <a:schemeClr val="tx1"/>
                </a:solidFill>
                <a:latin typeface="Ericsson Hilda" panose="00000500000000000000" pitchFamily="2" charset="0"/>
              </a:defRPr>
            </a:lvl6pPr>
            <a:lvl7pPr marL="2971800" indent="-228600" eaLnBrk="0" fontAlgn="base" hangingPunct="0">
              <a:spcBef>
                <a:spcPct val="0"/>
              </a:spcBef>
              <a:spcAft>
                <a:spcPct val="0"/>
              </a:spcAft>
              <a:defRPr>
                <a:solidFill>
                  <a:schemeClr val="tx1"/>
                </a:solidFill>
                <a:latin typeface="Ericsson Hilda" panose="00000500000000000000" pitchFamily="2" charset="0"/>
              </a:defRPr>
            </a:lvl7pPr>
            <a:lvl8pPr marL="3429000" indent="-228600" eaLnBrk="0" fontAlgn="base" hangingPunct="0">
              <a:spcBef>
                <a:spcPct val="0"/>
              </a:spcBef>
              <a:spcAft>
                <a:spcPct val="0"/>
              </a:spcAft>
              <a:defRPr>
                <a:solidFill>
                  <a:schemeClr val="tx1"/>
                </a:solidFill>
                <a:latin typeface="Ericsson Hilda" panose="00000500000000000000" pitchFamily="2" charset="0"/>
              </a:defRPr>
            </a:lvl8pPr>
            <a:lvl9pPr marL="3886200" indent="-228600" eaLnBrk="0" fontAlgn="base" hangingPunct="0">
              <a:spcBef>
                <a:spcPct val="0"/>
              </a:spcBef>
              <a:spcAft>
                <a:spcPct val="0"/>
              </a:spcAft>
              <a:defRPr>
                <a:solidFill>
                  <a:schemeClr val="tx1"/>
                </a:solidFill>
                <a:latin typeface="Ericsson Hilda" panose="00000500000000000000" pitchFamily="2"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F3CD1D1-5F2F-4A59-B2CC-BE2346B8EE49}" type="slidenum">
              <a:rPr kumimoji="0" lang="en-US" altLang="en-US" sz="1200" b="0" i="0" u="none" strike="noStrike" kern="1200" cap="none" spc="0" normalizeH="0" baseline="0" noProof="0" smtClean="0">
                <a:ln>
                  <a:noFill/>
                </a:ln>
                <a:solidFill>
                  <a:srgbClr val="000000"/>
                </a:solidFill>
                <a:effectLst/>
                <a:uLnTx/>
                <a:uFillTx/>
                <a:latin typeface="Ericsson Hilda Light" panose="00000400000000000000" pitchFamily="2" charset="0"/>
                <a:ea typeface="+mn-ea"/>
                <a:cs typeface="+mn-cs"/>
              </a:rPr>
              <a:t>6</a:t>
            </a:fld>
            <a:endParaRPr kumimoji="0" lang="en-US" altLang="en-US" sz="1200" b="0" i="0" u="none" strike="noStrike" kern="1200" cap="none" spc="0" normalizeH="0" baseline="0" noProof="0">
              <a:ln>
                <a:noFill/>
              </a:ln>
              <a:solidFill>
                <a:srgbClr val="000000"/>
              </a:solidFill>
              <a:effectLst/>
              <a:uLnTx/>
              <a:uFillTx/>
              <a:latin typeface="Ericsson Hilda Light" panose="00000400000000000000" pitchFamily="2" charset="0"/>
              <a:ea typeface="+mn-ea"/>
              <a:cs typeface="+mn-cs"/>
            </a:endParaRPr>
          </a:p>
        </p:txBody>
      </p:sp>
      <p:sp>
        <p:nvSpPr>
          <p:cNvPr id="56325" name="Header Placeholder 4">
            <a:extLst>
              <a:ext uri="{FF2B5EF4-FFF2-40B4-BE49-F238E27FC236}">
                <a16:creationId xmlns:a16="http://schemas.microsoft.com/office/drawing/2014/main" id="{F8CB4CF9-8C7B-49CE-B585-ED1A28065923}"/>
              </a:ext>
            </a:extLst>
          </p:cNvPr>
          <p:cNvSpPr>
            <a:spLocks noGrp="1"/>
          </p:cNvSpPr>
          <p:nvPr>
            <p:ph type="hdr" sz="quarter"/>
          </p:nvPr>
        </p:nvSpPr>
        <p:spPr>
          <a:noFill/>
        </p:spPr>
        <p:txBody>
          <a:bodyPr/>
          <a:lstStyle>
            <a:lvl1pPr>
              <a:defRPr>
                <a:solidFill>
                  <a:schemeClr val="tx1"/>
                </a:solidFill>
                <a:latin typeface="Ericsson Hilda" panose="00000500000000000000" pitchFamily="2" charset="0"/>
              </a:defRPr>
            </a:lvl1pPr>
            <a:lvl2pPr marL="742950" indent="-285750">
              <a:defRPr>
                <a:solidFill>
                  <a:schemeClr val="tx1"/>
                </a:solidFill>
                <a:latin typeface="Ericsson Hilda" panose="00000500000000000000" pitchFamily="2" charset="0"/>
              </a:defRPr>
            </a:lvl2pPr>
            <a:lvl3pPr marL="1143000" indent="-228600">
              <a:defRPr>
                <a:solidFill>
                  <a:schemeClr val="tx1"/>
                </a:solidFill>
                <a:latin typeface="Ericsson Hilda" panose="00000500000000000000" pitchFamily="2" charset="0"/>
              </a:defRPr>
            </a:lvl3pPr>
            <a:lvl4pPr marL="1600200" indent="-228600">
              <a:defRPr>
                <a:solidFill>
                  <a:schemeClr val="tx1"/>
                </a:solidFill>
                <a:latin typeface="Ericsson Hilda" panose="00000500000000000000" pitchFamily="2" charset="0"/>
              </a:defRPr>
            </a:lvl4pPr>
            <a:lvl5pPr marL="2057400" indent="-228600">
              <a:defRPr>
                <a:solidFill>
                  <a:schemeClr val="tx1"/>
                </a:solidFill>
                <a:latin typeface="Ericsson Hilda" panose="00000500000000000000" pitchFamily="2" charset="0"/>
              </a:defRPr>
            </a:lvl5pPr>
            <a:lvl6pPr marL="2514600" indent="-228600" eaLnBrk="0" fontAlgn="base" hangingPunct="0">
              <a:spcBef>
                <a:spcPct val="0"/>
              </a:spcBef>
              <a:spcAft>
                <a:spcPct val="0"/>
              </a:spcAft>
              <a:defRPr>
                <a:solidFill>
                  <a:schemeClr val="tx1"/>
                </a:solidFill>
                <a:latin typeface="Ericsson Hilda" panose="00000500000000000000" pitchFamily="2" charset="0"/>
              </a:defRPr>
            </a:lvl6pPr>
            <a:lvl7pPr marL="2971800" indent="-228600" eaLnBrk="0" fontAlgn="base" hangingPunct="0">
              <a:spcBef>
                <a:spcPct val="0"/>
              </a:spcBef>
              <a:spcAft>
                <a:spcPct val="0"/>
              </a:spcAft>
              <a:defRPr>
                <a:solidFill>
                  <a:schemeClr val="tx1"/>
                </a:solidFill>
                <a:latin typeface="Ericsson Hilda" panose="00000500000000000000" pitchFamily="2" charset="0"/>
              </a:defRPr>
            </a:lvl7pPr>
            <a:lvl8pPr marL="3429000" indent="-228600" eaLnBrk="0" fontAlgn="base" hangingPunct="0">
              <a:spcBef>
                <a:spcPct val="0"/>
              </a:spcBef>
              <a:spcAft>
                <a:spcPct val="0"/>
              </a:spcAft>
              <a:defRPr>
                <a:solidFill>
                  <a:schemeClr val="tx1"/>
                </a:solidFill>
                <a:latin typeface="Ericsson Hilda" panose="00000500000000000000" pitchFamily="2" charset="0"/>
              </a:defRPr>
            </a:lvl8pPr>
            <a:lvl9pPr marL="3886200" indent="-228600" eaLnBrk="0" fontAlgn="base" hangingPunct="0">
              <a:spcBef>
                <a:spcPct val="0"/>
              </a:spcBef>
              <a:spcAft>
                <a:spcPct val="0"/>
              </a:spcAft>
              <a:defRPr>
                <a:solidFill>
                  <a:schemeClr val="tx1"/>
                </a:solidFill>
                <a:latin typeface="Ericsson Hilda" panose="00000500000000000000" pitchFamily="2"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altLang="en-US" sz="1200" b="0" i="0" u="none" strike="noStrike" kern="1200" cap="none" spc="0" normalizeH="0" baseline="0" noProof="0" smtClean="0">
                <a:ln>
                  <a:noFill/>
                </a:ln>
                <a:solidFill>
                  <a:srgbClr val="000000"/>
                </a:solidFill>
                <a:effectLst/>
                <a:uLnTx/>
                <a:uFillTx/>
                <a:latin typeface="Ericsson Hilda Light" panose="00000400000000000000" pitchFamily="2" charset="0"/>
                <a:ea typeface="+mn-ea"/>
                <a:cs typeface="+mn-cs"/>
              </a:rPr>
              <a:t>Change Management GUIDE SDOD GC CR CCB </a:t>
            </a:r>
            <a:endParaRPr kumimoji="0" lang="en-ZA" altLang="en-US" sz="1200" b="0" i="0" u="none" strike="noStrike" kern="1200" cap="none" spc="0" normalizeH="0" baseline="0" noProof="0">
              <a:ln>
                <a:noFill/>
              </a:ln>
              <a:solidFill>
                <a:srgbClr val="000000"/>
              </a:solidFill>
              <a:effectLst/>
              <a:uLnTx/>
              <a:uFillTx/>
              <a:latin typeface="Ericsson Hilda Light" panose="00000400000000000000" pitchFamily="2" charset="0"/>
              <a:ea typeface="+mn-ea"/>
              <a:cs typeface="+mn-cs"/>
            </a:endParaRPr>
          </a:p>
        </p:txBody>
      </p:sp>
      <p:sp>
        <p:nvSpPr>
          <p:cNvPr id="56326" name="Footer Placeholder 5">
            <a:extLst>
              <a:ext uri="{FF2B5EF4-FFF2-40B4-BE49-F238E27FC236}">
                <a16:creationId xmlns:a16="http://schemas.microsoft.com/office/drawing/2014/main" id="{9581B58F-40BB-48B3-A435-EE93F1675467}"/>
              </a:ext>
            </a:extLst>
          </p:cNvPr>
          <p:cNvSpPr>
            <a:spLocks noGrp="1"/>
          </p:cNvSpPr>
          <p:nvPr>
            <p:ph type="ftr" sz="quarter" idx="4"/>
          </p:nvPr>
        </p:nvSpPr>
        <p:spPr>
          <a:noFill/>
        </p:spPr>
        <p:txBody>
          <a:bodyPr/>
          <a:lstStyle>
            <a:lvl1pPr>
              <a:defRPr>
                <a:solidFill>
                  <a:schemeClr val="tx1"/>
                </a:solidFill>
                <a:latin typeface="Ericsson Hilda" panose="00000500000000000000" pitchFamily="2" charset="0"/>
              </a:defRPr>
            </a:lvl1pPr>
            <a:lvl2pPr marL="742950" indent="-285750">
              <a:defRPr>
                <a:solidFill>
                  <a:schemeClr val="tx1"/>
                </a:solidFill>
                <a:latin typeface="Ericsson Hilda" panose="00000500000000000000" pitchFamily="2" charset="0"/>
              </a:defRPr>
            </a:lvl2pPr>
            <a:lvl3pPr marL="1143000" indent="-228600">
              <a:defRPr>
                <a:solidFill>
                  <a:schemeClr val="tx1"/>
                </a:solidFill>
                <a:latin typeface="Ericsson Hilda" panose="00000500000000000000" pitchFamily="2" charset="0"/>
              </a:defRPr>
            </a:lvl3pPr>
            <a:lvl4pPr marL="1600200" indent="-228600">
              <a:defRPr>
                <a:solidFill>
                  <a:schemeClr val="tx1"/>
                </a:solidFill>
                <a:latin typeface="Ericsson Hilda" panose="00000500000000000000" pitchFamily="2" charset="0"/>
              </a:defRPr>
            </a:lvl4pPr>
            <a:lvl5pPr marL="2057400" indent="-228600">
              <a:defRPr>
                <a:solidFill>
                  <a:schemeClr val="tx1"/>
                </a:solidFill>
                <a:latin typeface="Ericsson Hilda" panose="00000500000000000000" pitchFamily="2" charset="0"/>
              </a:defRPr>
            </a:lvl5pPr>
            <a:lvl6pPr marL="2514600" indent="-228600" eaLnBrk="0" fontAlgn="base" hangingPunct="0">
              <a:spcBef>
                <a:spcPct val="0"/>
              </a:spcBef>
              <a:spcAft>
                <a:spcPct val="0"/>
              </a:spcAft>
              <a:defRPr>
                <a:solidFill>
                  <a:schemeClr val="tx1"/>
                </a:solidFill>
                <a:latin typeface="Ericsson Hilda" panose="00000500000000000000" pitchFamily="2" charset="0"/>
              </a:defRPr>
            </a:lvl6pPr>
            <a:lvl7pPr marL="2971800" indent="-228600" eaLnBrk="0" fontAlgn="base" hangingPunct="0">
              <a:spcBef>
                <a:spcPct val="0"/>
              </a:spcBef>
              <a:spcAft>
                <a:spcPct val="0"/>
              </a:spcAft>
              <a:defRPr>
                <a:solidFill>
                  <a:schemeClr val="tx1"/>
                </a:solidFill>
                <a:latin typeface="Ericsson Hilda" panose="00000500000000000000" pitchFamily="2" charset="0"/>
              </a:defRPr>
            </a:lvl7pPr>
            <a:lvl8pPr marL="3429000" indent="-228600" eaLnBrk="0" fontAlgn="base" hangingPunct="0">
              <a:spcBef>
                <a:spcPct val="0"/>
              </a:spcBef>
              <a:spcAft>
                <a:spcPct val="0"/>
              </a:spcAft>
              <a:defRPr>
                <a:solidFill>
                  <a:schemeClr val="tx1"/>
                </a:solidFill>
                <a:latin typeface="Ericsson Hilda" panose="00000500000000000000" pitchFamily="2" charset="0"/>
              </a:defRPr>
            </a:lvl8pPr>
            <a:lvl9pPr marL="3886200" indent="-228600" eaLnBrk="0" fontAlgn="base" hangingPunct="0">
              <a:spcBef>
                <a:spcPct val="0"/>
              </a:spcBef>
              <a:spcAft>
                <a:spcPct val="0"/>
              </a:spcAft>
              <a:defRPr>
                <a:solidFill>
                  <a:schemeClr val="tx1"/>
                </a:solidFill>
                <a:latin typeface="Ericsson Hilda" panose="00000500000000000000" pitchFamily="2"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altLang="en-US" sz="1200" b="0" i="0" u="none" strike="noStrike" kern="1200" cap="none" spc="0" normalizeH="0" baseline="0" noProof="0" smtClean="0">
                <a:ln>
                  <a:noFill/>
                </a:ln>
                <a:solidFill>
                  <a:srgbClr val="000000"/>
                </a:solidFill>
                <a:effectLst/>
                <a:uLnTx/>
                <a:uFillTx/>
                <a:latin typeface="Ericsson Hilda Light" panose="00000400000000000000" pitchFamily="2" charset="0"/>
                <a:ea typeface="+mn-ea"/>
                <a:cs typeface="+mn-cs"/>
              </a:rPr>
              <a:t>019/0113-1 Uen, Rev PB3 </a:t>
            </a:r>
            <a:endParaRPr kumimoji="0" lang="en-ZA" altLang="en-US" sz="1200" b="0" i="0" u="none" strike="noStrike" kern="1200" cap="none" spc="0" normalizeH="0" baseline="0" noProof="0">
              <a:ln>
                <a:noFill/>
              </a:ln>
              <a:solidFill>
                <a:srgbClr val="000000"/>
              </a:solidFill>
              <a:effectLst/>
              <a:uLnTx/>
              <a:uFillTx/>
              <a:latin typeface="Ericsson Hilda Light" panose="00000400000000000000" pitchFamily="2" charset="0"/>
              <a:ea typeface="+mn-ea"/>
              <a:cs typeface="+mn-cs"/>
            </a:endParaRPr>
          </a:p>
        </p:txBody>
      </p:sp>
      <p:sp>
        <p:nvSpPr>
          <p:cNvPr id="56327" name="Date Placeholder 6">
            <a:extLst>
              <a:ext uri="{FF2B5EF4-FFF2-40B4-BE49-F238E27FC236}">
                <a16:creationId xmlns:a16="http://schemas.microsoft.com/office/drawing/2014/main" id="{9FCAA1E5-867B-46DD-A77E-73769BAE1A62}"/>
              </a:ext>
            </a:extLst>
          </p:cNvPr>
          <p:cNvSpPr>
            <a:spLocks noGrp="1"/>
          </p:cNvSpPr>
          <p:nvPr>
            <p:ph type="dt" sz="quarter" idx="1"/>
          </p:nvPr>
        </p:nvSpPr>
        <p:spPr>
          <a:noFill/>
        </p:spPr>
        <p:txBody>
          <a:bodyPr/>
          <a:lstStyle>
            <a:lvl1pPr>
              <a:defRPr>
                <a:solidFill>
                  <a:schemeClr val="tx1"/>
                </a:solidFill>
                <a:latin typeface="Ericsson Hilda" panose="00000500000000000000" pitchFamily="2" charset="0"/>
              </a:defRPr>
            </a:lvl1pPr>
            <a:lvl2pPr marL="742950" indent="-285750">
              <a:defRPr>
                <a:solidFill>
                  <a:schemeClr val="tx1"/>
                </a:solidFill>
                <a:latin typeface="Ericsson Hilda" panose="00000500000000000000" pitchFamily="2" charset="0"/>
              </a:defRPr>
            </a:lvl2pPr>
            <a:lvl3pPr marL="1143000" indent="-228600">
              <a:defRPr>
                <a:solidFill>
                  <a:schemeClr val="tx1"/>
                </a:solidFill>
                <a:latin typeface="Ericsson Hilda" panose="00000500000000000000" pitchFamily="2" charset="0"/>
              </a:defRPr>
            </a:lvl3pPr>
            <a:lvl4pPr marL="1600200" indent="-228600">
              <a:defRPr>
                <a:solidFill>
                  <a:schemeClr val="tx1"/>
                </a:solidFill>
                <a:latin typeface="Ericsson Hilda" panose="00000500000000000000" pitchFamily="2" charset="0"/>
              </a:defRPr>
            </a:lvl4pPr>
            <a:lvl5pPr marL="2057400" indent="-228600">
              <a:defRPr>
                <a:solidFill>
                  <a:schemeClr val="tx1"/>
                </a:solidFill>
                <a:latin typeface="Ericsson Hilda" panose="00000500000000000000" pitchFamily="2" charset="0"/>
              </a:defRPr>
            </a:lvl5pPr>
            <a:lvl6pPr marL="2514600" indent="-228600" eaLnBrk="0" fontAlgn="base" hangingPunct="0">
              <a:spcBef>
                <a:spcPct val="0"/>
              </a:spcBef>
              <a:spcAft>
                <a:spcPct val="0"/>
              </a:spcAft>
              <a:defRPr>
                <a:solidFill>
                  <a:schemeClr val="tx1"/>
                </a:solidFill>
                <a:latin typeface="Ericsson Hilda" panose="00000500000000000000" pitchFamily="2" charset="0"/>
              </a:defRPr>
            </a:lvl6pPr>
            <a:lvl7pPr marL="2971800" indent="-228600" eaLnBrk="0" fontAlgn="base" hangingPunct="0">
              <a:spcBef>
                <a:spcPct val="0"/>
              </a:spcBef>
              <a:spcAft>
                <a:spcPct val="0"/>
              </a:spcAft>
              <a:defRPr>
                <a:solidFill>
                  <a:schemeClr val="tx1"/>
                </a:solidFill>
                <a:latin typeface="Ericsson Hilda" panose="00000500000000000000" pitchFamily="2" charset="0"/>
              </a:defRPr>
            </a:lvl7pPr>
            <a:lvl8pPr marL="3429000" indent="-228600" eaLnBrk="0" fontAlgn="base" hangingPunct="0">
              <a:spcBef>
                <a:spcPct val="0"/>
              </a:spcBef>
              <a:spcAft>
                <a:spcPct val="0"/>
              </a:spcAft>
              <a:defRPr>
                <a:solidFill>
                  <a:schemeClr val="tx1"/>
                </a:solidFill>
                <a:latin typeface="Ericsson Hilda" panose="00000500000000000000" pitchFamily="2" charset="0"/>
              </a:defRPr>
            </a:lvl8pPr>
            <a:lvl9pPr marL="3886200" indent="-228600" eaLnBrk="0" fontAlgn="base" hangingPunct="0">
              <a:spcBef>
                <a:spcPct val="0"/>
              </a:spcBef>
              <a:spcAft>
                <a:spcPct val="0"/>
              </a:spcAft>
              <a:defRPr>
                <a:solidFill>
                  <a:schemeClr val="tx1"/>
                </a:solidFill>
                <a:latin typeface="Ericsson Hilda" panose="00000500000000000000" pitchFamily="2"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ZA" altLang="en-US" sz="1200" b="0" i="0" u="none" strike="noStrike" kern="1200" cap="none" spc="0" normalizeH="0" baseline="0" noProof="0" smtClean="0">
                <a:ln>
                  <a:noFill/>
                </a:ln>
                <a:solidFill>
                  <a:srgbClr val="000000"/>
                </a:solidFill>
                <a:effectLst/>
                <a:uLnTx/>
                <a:uFillTx/>
                <a:latin typeface="Ericsson Hilda Light" panose="00000400000000000000" pitchFamily="2" charset="0"/>
                <a:ea typeface="+mn-ea"/>
                <a:cs typeface="+mn-cs"/>
              </a:rPr>
              <a:t>2019-06-19 </a:t>
            </a:r>
            <a:endParaRPr kumimoji="0" lang="en-ZA" altLang="en-US" sz="1200" b="0" i="0" u="none" strike="noStrike" kern="1200" cap="none" spc="0" normalizeH="0" baseline="0" noProof="0">
              <a:ln>
                <a:noFill/>
              </a:ln>
              <a:solidFill>
                <a:srgbClr val="000000"/>
              </a:solidFill>
              <a:effectLst/>
              <a:uLnTx/>
              <a:uFillTx/>
              <a:latin typeface="Ericsson Hilda Light" panose="00000400000000000000" pitchFamily="2"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fr-FR" smtClean="0"/>
              <a:t>Change Management GUIDE SDOD GC CR CCB </a:t>
            </a:r>
            <a:endParaRPr lang="en-US" dirty="0"/>
          </a:p>
        </p:txBody>
      </p:sp>
      <p:sp>
        <p:nvSpPr>
          <p:cNvPr id="5" name="Date Placeholder 4"/>
          <p:cNvSpPr>
            <a:spLocks noGrp="1"/>
          </p:cNvSpPr>
          <p:nvPr>
            <p:ph type="dt" idx="11"/>
          </p:nvPr>
        </p:nvSpPr>
        <p:spPr/>
        <p:txBody>
          <a:bodyPr/>
          <a:lstStyle/>
          <a:p>
            <a:r>
              <a:rPr lang="en-US" smtClean="0"/>
              <a:t>2019-06-19 </a:t>
            </a:r>
            <a:endParaRPr lang="en-US" dirty="0"/>
          </a:p>
        </p:txBody>
      </p:sp>
      <p:sp>
        <p:nvSpPr>
          <p:cNvPr id="6" name="Footer Placeholder 5"/>
          <p:cNvSpPr>
            <a:spLocks noGrp="1"/>
          </p:cNvSpPr>
          <p:nvPr>
            <p:ph type="ftr" sz="quarter" idx="12"/>
          </p:nvPr>
        </p:nvSpPr>
        <p:spPr/>
        <p:txBody>
          <a:bodyPr/>
          <a:lstStyle/>
          <a:p>
            <a:r>
              <a:rPr lang="en-US" smtClean="0"/>
              <a:t>019/0113-1 Uen, Rev PB3 </a:t>
            </a:r>
            <a:endParaRPr lang="en-US" dirty="0"/>
          </a:p>
        </p:txBody>
      </p:sp>
      <p:sp>
        <p:nvSpPr>
          <p:cNvPr id="7" name="Slide Number Placeholder 6"/>
          <p:cNvSpPr>
            <a:spLocks noGrp="1"/>
          </p:cNvSpPr>
          <p:nvPr>
            <p:ph type="sldNum" sz="quarter" idx="13"/>
          </p:nvPr>
        </p:nvSpPr>
        <p:spPr/>
        <p:txBody>
          <a:bodyPr/>
          <a:lstStyle/>
          <a:p>
            <a:fld id="{B504A72B-5CF9-4CBE-A7AF-C70BD0EE1FAC}" type="slidenum">
              <a:rPr lang="en-US" smtClean="0"/>
              <a:t>7</a:t>
            </a:fld>
            <a:endParaRPr lang="en-US" dirty="0"/>
          </a:p>
        </p:txBody>
      </p:sp>
    </p:spTree>
    <p:extLst>
      <p:ext uri="{BB962C8B-B14F-4D97-AF65-F5344CB8AC3E}">
        <p14:creationId xmlns:p14="http://schemas.microsoft.com/office/powerpoint/2010/main" val="1598027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fr-FR" smtClean="0"/>
              <a:t>Change Management GUIDE SDOD GC CR CCB </a:t>
            </a:r>
            <a:endParaRPr lang="en-US" dirty="0"/>
          </a:p>
        </p:txBody>
      </p:sp>
      <p:sp>
        <p:nvSpPr>
          <p:cNvPr id="5" name="Date Placeholder 4"/>
          <p:cNvSpPr>
            <a:spLocks noGrp="1"/>
          </p:cNvSpPr>
          <p:nvPr>
            <p:ph type="dt" idx="11"/>
          </p:nvPr>
        </p:nvSpPr>
        <p:spPr/>
        <p:txBody>
          <a:bodyPr/>
          <a:lstStyle/>
          <a:p>
            <a:r>
              <a:rPr lang="en-US" smtClean="0"/>
              <a:t>2019-06-19 </a:t>
            </a:r>
            <a:endParaRPr lang="en-US" dirty="0"/>
          </a:p>
        </p:txBody>
      </p:sp>
      <p:sp>
        <p:nvSpPr>
          <p:cNvPr id="6" name="Footer Placeholder 5"/>
          <p:cNvSpPr>
            <a:spLocks noGrp="1"/>
          </p:cNvSpPr>
          <p:nvPr>
            <p:ph type="ftr" sz="quarter" idx="12"/>
          </p:nvPr>
        </p:nvSpPr>
        <p:spPr/>
        <p:txBody>
          <a:bodyPr/>
          <a:lstStyle/>
          <a:p>
            <a:r>
              <a:rPr lang="en-US" smtClean="0"/>
              <a:t>019/0113-1 Uen, Rev PB3 </a:t>
            </a:r>
            <a:endParaRPr lang="en-US" dirty="0"/>
          </a:p>
        </p:txBody>
      </p:sp>
      <p:sp>
        <p:nvSpPr>
          <p:cNvPr id="7" name="Slide Number Placeholder 6"/>
          <p:cNvSpPr>
            <a:spLocks noGrp="1"/>
          </p:cNvSpPr>
          <p:nvPr>
            <p:ph type="sldNum" sz="quarter" idx="13"/>
          </p:nvPr>
        </p:nvSpPr>
        <p:spPr/>
        <p:txBody>
          <a:bodyPr/>
          <a:lstStyle/>
          <a:p>
            <a:fld id="{E8326561-86E2-4C26-9667-BF3C8A0111D0}" type="slidenum">
              <a:rPr lang="en-US" smtClean="0"/>
              <a:t>8</a:t>
            </a:fld>
            <a:endParaRPr lang="en-US" dirty="0"/>
          </a:p>
        </p:txBody>
      </p:sp>
    </p:spTree>
    <p:extLst>
      <p:ext uri="{BB962C8B-B14F-4D97-AF65-F5344CB8AC3E}">
        <p14:creationId xmlns:p14="http://schemas.microsoft.com/office/powerpoint/2010/main" val="3007095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Change Management GUIDE SDOD GC CR CCB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2019-06-19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019/0113-1 Uen, Rev PB3 </a:t>
            </a:r>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28A2AC-BC85-46A5-B521-2B195C58DC8B}" type="slidenum">
              <a:rPr kumimoji="0" lang="en-US" sz="1200" b="0" i="0" u="none" strike="noStrike" kern="1200" cap="none" spc="0" normalizeH="0" baseline="0" noProof="0" smtClean="0">
                <a:ln>
                  <a:noFill/>
                </a:ln>
                <a:solidFill>
                  <a:prstClr val="black"/>
                </a:solidFill>
                <a:effectLst/>
                <a:uLnTx/>
                <a:uFillTx/>
                <a:latin typeface="Ericsson Hilda Light" panose="00000400000000000000" pitchFamily="2" charset="0"/>
                <a:ea typeface="+mn-ea"/>
                <a:cs typeface="+mn-cs"/>
              </a:rPr>
              <a:t>9</a:t>
            </a:fld>
            <a:endParaRPr kumimoji="0" lang="en-US" sz="1200" b="0" i="0" u="none" strike="noStrike" kern="1200" cap="none" spc="0" normalizeH="0" baseline="0" noProof="0" dirty="0">
              <a:ln>
                <a:noFill/>
              </a:ln>
              <a:solidFill>
                <a:prstClr val="black"/>
              </a:solidFill>
              <a:effectLst/>
              <a:uLnTx/>
              <a:uFillTx/>
              <a:latin typeface="Ericsson Hilda Light" panose="00000400000000000000" pitchFamily="2" charset="0"/>
              <a:ea typeface="+mn-ea"/>
              <a:cs typeface="+mn-cs"/>
            </a:endParaRPr>
          </a:p>
        </p:txBody>
      </p:sp>
    </p:spTree>
    <p:extLst>
      <p:ext uri="{BB962C8B-B14F-4D97-AF65-F5344CB8AC3E}">
        <p14:creationId xmlns:p14="http://schemas.microsoft.com/office/powerpoint/2010/main" val="422842093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jpe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latin typeface="+mn-lt"/>
              </a:defRPr>
            </a:lvl1pPr>
          </a:lstStyle>
          <a:p>
            <a:r>
              <a:rPr lang="en-US" dirty="0"/>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pic>
        <p:nvPicPr>
          <p:cNvPr id="16" name="Picture 15">
            <a:extLst>
              <a:ext uri="{FF2B5EF4-FFF2-40B4-BE49-F238E27FC236}">
                <a16:creationId xmlns:a16="http://schemas.microsoft.com/office/drawing/2014/main" id="{47BE5E08-5EB6-4E17-8FB8-40199F9803E0}"/>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8" name="Rectangle 7">
            <a:extLst>
              <a:ext uri="{FF2B5EF4-FFF2-40B4-BE49-F238E27FC236}">
                <a16:creationId xmlns:a16="http://schemas.microsoft.com/office/drawing/2014/main" id="{5B08537D-D98F-4053-8EA5-BD201F92BE25}"/>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1374575616"/>
      </p:ext>
    </p:extLst>
  </p:cSld>
  <p:clrMapOvr>
    <a:masterClrMapping/>
  </p:clrMapOvr>
  <p:hf sldNum="0" hdr="0" ftr="0"/>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pic>
        <p:nvPicPr>
          <p:cNvPr id="9" name="Picture 11">
            <a:extLst>
              <a:ext uri="{FF2B5EF4-FFF2-40B4-BE49-F238E27FC236}">
                <a16:creationId xmlns:a16="http://schemas.microsoft.com/office/drawing/2014/main" id="{C3A76CF7-278B-4F6E-9A79-EDD59651DF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spTree>
    <p:extLst>
      <p:ext uri="{BB962C8B-B14F-4D97-AF65-F5344CB8AC3E}">
        <p14:creationId xmlns:p14="http://schemas.microsoft.com/office/powerpoint/2010/main" val="3593654033"/>
      </p:ext>
    </p:extLst>
  </p:cSld>
  <p:clrMapOvr>
    <a:masterClrMapping/>
  </p:clrMapOvr>
  <p:hf sldNum="0" hdr="0" ftr="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2"/>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82EAEE37-7D1D-49D7-BEC8-7A88843E383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2006782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A44C7C5B-04BF-4F0E-888E-CE87D0EF1DA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5696811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4"/>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65A3682-3283-4350-B37F-DCABDCB15F6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7066731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5"/>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6B1A279A-6DFF-44E2-AFD5-C14BD71050E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3378564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6"/>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DC9C0052-7A7B-40FB-AF90-CA9C4B79D2E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82372101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phic heavy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D510456-FEBC-46FA-B25A-B809F2C18A6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6264258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87348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213854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Title_SM">
            <a:extLst>
              <a:ext uri="{FF2B5EF4-FFF2-40B4-BE49-F238E27FC236}">
                <a16:creationId xmlns:a16="http://schemas.microsoft.com/office/drawing/2014/main" id="{AC5B9436-E3EB-4A3D-BE6B-EFFF8123DE9D}"/>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1721669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 Hilda Light 40pt, </a:t>
            </a:r>
            <a:r>
              <a:rPr lang="en-US" dirty="0" err="1"/>
              <a:t>Eri</a:t>
            </a:r>
            <a:r>
              <a:rPr lang="en-US" dirty="0"/>
              <a:t>. Black, max 2-lines</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39077341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pic>
        <p:nvPicPr>
          <p:cNvPr id="9" name="Picture 11">
            <a:extLst>
              <a:ext uri="{FF2B5EF4-FFF2-40B4-BE49-F238E27FC236}">
                <a16:creationId xmlns:a16="http://schemas.microsoft.com/office/drawing/2014/main" id="{0959A7C1-92EF-44AF-97F7-F3E9057FC7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spTree>
    <p:extLst>
      <p:ext uri="{BB962C8B-B14F-4D97-AF65-F5344CB8AC3E}">
        <p14:creationId xmlns:p14="http://schemas.microsoft.com/office/powerpoint/2010/main" val="4136202525"/>
      </p:ext>
    </p:extLst>
  </p:cSld>
  <p:clrMapOvr>
    <a:masterClrMapping/>
  </p:clrMapOvr>
  <p:hf sldNum="0" hdr="0" ftr="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Title_SM">
            <a:extLst>
              <a:ext uri="{FF2B5EF4-FFF2-40B4-BE49-F238E27FC236}">
                <a16:creationId xmlns:a16="http://schemas.microsoft.com/office/drawing/2014/main" id="{4ACB62A1-CC4A-4B59-B1D8-ED86B77D9A3A}"/>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696503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max 2-lines</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14448973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891BF4C4-9DF9-4D9F-A738-37FBCD45AA68}"/>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2854419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B1CFD82C-8968-4B87-A964-6288AF293D7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1054968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479424"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idx="1" hasCustomPrompt="1"/>
          </p:nvPr>
        </p:nvSpPr>
        <p:spPr>
          <a:xfrm>
            <a:off x="479425"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A05AB2F5-3C8F-45BD-81CB-45EC98D4284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1968468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6240463"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524C71C0-9908-4C8C-97CC-AA201198D2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4876417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0114795F-6AFF-421E-BA39-763FAD29FC16}"/>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4847234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Content Placeholder 2"/>
          <p:cNvSpPr>
            <a:spLocks noGrp="1"/>
          </p:cNvSpPr>
          <p:nvPr>
            <p:ph sz="quarter" idx="12" hasCustomPrompt="1"/>
          </p:nvPr>
        </p:nvSpPr>
        <p:spPr>
          <a:xfrm>
            <a:off x="479425" y="4149724"/>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A14F6E09-C956-49B3-8E41-DBD053DF768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2785042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10" name="Title_SM">
            <a:extLst>
              <a:ext uri="{FF2B5EF4-FFF2-40B4-BE49-F238E27FC236}">
                <a16:creationId xmlns:a16="http://schemas.microsoft.com/office/drawing/2014/main" id="{6B686A21-AA96-4B0A-B7CE-F4C6D5D31B32}"/>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1583222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7EEF5633-BC13-4AEA-AEF5-CE2675504D30}"/>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6995402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pic>
        <p:nvPicPr>
          <p:cNvPr id="9" name="Picture 11">
            <a:extLst>
              <a:ext uri="{FF2B5EF4-FFF2-40B4-BE49-F238E27FC236}">
                <a16:creationId xmlns:a16="http://schemas.microsoft.com/office/drawing/2014/main" id="{0959A7C1-92EF-44AF-97F7-F3E9057FC7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spTree>
    <p:extLst>
      <p:ext uri="{BB962C8B-B14F-4D97-AF65-F5344CB8AC3E}">
        <p14:creationId xmlns:p14="http://schemas.microsoft.com/office/powerpoint/2010/main" val="1267818655"/>
      </p:ext>
    </p:extLst>
  </p:cSld>
  <p:clrMapOvr>
    <a:masterClrMapping/>
  </p:clrMapOvr>
  <p:hf sldNum="0" hdr="0" ftr="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9" name="Content Placeholder 3"/>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F4D71A67-F349-4E68-B7B8-D53CE323A764}"/>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9461898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Preamble text, </a:t>
            </a:r>
            <a:r>
              <a:rPr lang="en-US" dirty="0"/>
              <a:t>Ericsson </a:t>
            </a:r>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Hilda 25pt, Ericsson Black</a:t>
            </a:r>
            <a:endParaRPr lang="en-US" dirty="0"/>
          </a:p>
        </p:txBody>
      </p:sp>
      <p:sp>
        <p:nvSpPr>
          <p:cNvPr id="9" name="Content Placeholder 3"/>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7" name="Title_SM">
            <a:extLst>
              <a:ext uri="{FF2B5EF4-FFF2-40B4-BE49-F238E27FC236}">
                <a16:creationId xmlns:a16="http://schemas.microsoft.com/office/drawing/2014/main" id="{CD0BB64A-768A-4118-B3E5-52B98C693831}"/>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0278217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3"/>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7" name="Title_SM">
            <a:extLst>
              <a:ext uri="{FF2B5EF4-FFF2-40B4-BE49-F238E27FC236}">
                <a16:creationId xmlns:a16="http://schemas.microsoft.com/office/drawing/2014/main" id="{F83268EB-5955-4A3F-8B85-E7C084E6FAF5}"/>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3355303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2"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4" name="Content Placeholder 2"/>
          <p:cNvSpPr>
            <a:spLocks noGrp="1"/>
          </p:cNvSpPr>
          <p:nvPr>
            <p:ph sz="quarter" idx="2" hasCustomPrompt="1"/>
          </p:nvPr>
        </p:nvSpPr>
        <p:spPr>
          <a:xfrm>
            <a:off x="6240462"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sz="quarter" idx="1" hasCustomPrompt="1"/>
          </p:nvPr>
        </p:nvSpPr>
        <p:spPr>
          <a:xfrm>
            <a:off x="47942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79425" y="4149725"/>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9" name="Title_SM">
            <a:extLst>
              <a:ext uri="{FF2B5EF4-FFF2-40B4-BE49-F238E27FC236}">
                <a16:creationId xmlns:a16="http://schemas.microsoft.com/office/drawing/2014/main" id="{2C948968-FB06-45CC-8259-6BDE4430EACB}"/>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1781046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3" y="415099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5" name="Content Placeholder 3"/>
          <p:cNvSpPr>
            <a:spLocks noGrp="1"/>
          </p:cNvSpPr>
          <p:nvPr>
            <p:ph sz="quarter" idx="3" hasCustomPrompt="1"/>
          </p:nvPr>
        </p:nvSpPr>
        <p:spPr>
          <a:xfrm>
            <a:off x="479424"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2"/>
          <p:cNvSpPr>
            <a:spLocks noGrp="1"/>
          </p:cNvSpPr>
          <p:nvPr>
            <p:ph sz="quarter" idx="2" hasCustomPrompt="1"/>
          </p:nvPr>
        </p:nvSpPr>
        <p:spPr>
          <a:xfrm>
            <a:off x="6240463" y="1844675"/>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3" name="Content Placeholder 1"/>
          <p:cNvSpPr>
            <a:spLocks noGrp="1"/>
          </p:cNvSpPr>
          <p:nvPr>
            <p:ph sz="quarter" idx="1" hasCustomPrompt="1"/>
          </p:nvPr>
        </p:nvSpPr>
        <p:spPr>
          <a:xfrm>
            <a:off x="479424"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8" name="Content Placeholder 3"/>
          <p:cNvSpPr>
            <a:spLocks noGrp="1"/>
          </p:cNvSpPr>
          <p:nvPr>
            <p:ph sz="quarter" idx="10" hasCustomPrompt="1"/>
          </p:nvPr>
        </p:nvSpPr>
        <p:spPr>
          <a:xfrm>
            <a:off x="3359151" y="4149724"/>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1"/>
          <p:cNvSpPr>
            <a:spLocks noGrp="1"/>
          </p:cNvSpPr>
          <p:nvPr>
            <p:ph sz="quarter" idx="11" hasCustomPrompt="1"/>
          </p:nvPr>
        </p:nvSpPr>
        <p:spPr>
          <a:xfrm>
            <a:off x="3359151" y="1844675"/>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0" name="Content Placeholder 4"/>
          <p:cNvSpPr>
            <a:spLocks noGrp="1"/>
          </p:cNvSpPr>
          <p:nvPr>
            <p:ph sz="quarter" idx="12" hasCustomPrompt="1"/>
          </p:nvPr>
        </p:nvSpPr>
        <p:spPr>
          <a:xfrm>
            <a:off x="9120188" y="4149725"/>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1" name="Content Placeholder 2"/>
          <p:cNvSpPr>
            <a:spLocks noGrp="1"/>
          </p:cNvSpPr>
          <p:nvPr>
            <p:ph sz="quarter" idx="13" hasCustomPrompt="1"/>
          </p:nvPr>
        </p:nvSpPr>
        <p:spPr>
          <a:xfrm>
            <a:off x="9120188"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13" name="Title_SM">
            <a:extLst>
              <a:ext uri="{FF2B5EF4-FFF2-40B4-BE49-F238E27FC236}">
                <a16:creationId xmlns:a16="http://schemas.microsoft.com/office/drawing/2014/main" id="{99858DC4-E787-41D2-A613-961D60F8911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29531038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lack logo end slide">
    <p:spTree>
      <p:nvGrpSpPr>
        <p:cNvPr id="1" name=""/>
        <p:cNvGrpSpPr/>
        <p:nvPr/>
      </p:nvGrpSpPr>
      <p:grpSpPr>
        <a:xfrm>
          <a:off x="0" y="0"/>
          <a:ext cx="0" cy="0"/>
          <a:chOff x="0" y="0"/>
          <a:chExt cx="0" cy="0"/>
        </a:xfrm>
      </p:grpSpPr>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dirty="0"/>
              <a:t>ericsson.com/related-</a:t>
            </a:r>
            <a:r>
              <a:rPr lang="en-US" dirty="0" err="1"/>
              <a:t>url</a:t>
            </a:r>
            <a:endParaRPr lang="en-US" dirty="0"/>
          </a:p>
        </p:txBody>
      </p:sp>
      <p:pic>
        <p:nvPicPr>
          <p:cNvPr id="6" name="Graphic 5">
            <a:extLst>
              <a:ext uri="{FF2B5EF4-FFF2-40B4-BE49-F238E27FC236}">
                <a16:creationId xmlns:a16="http://schemas.microsoft.com/office/drawing/2014/main" id="{8979B00C-7C1F-4F17-8D52-31D787A1234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506895" y="2854112"/>
            <a:ext cx="1163145" cy="1163145"/>
          </a:xfrm>
          <a:prstGeom prst="rect">
            <a:avLst/>
          </a:prstGeom>
        </p:spPr>
      </p:pic>
    </p:spTree>
    <p:extLst>
      <p:ext uri="{BB962C8B-B14F-4D97-AF65-F5344CB8AC3E}">
        <p14:creationId xmlns:p14="http://schemas.microsoft.com/office/powerpoint/2010/main" val="343543240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White logo end slid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bg1"/>
                </a:solidFill>
                <a:latin typeface="+mn-lt"/>
              </a:defRPr>
            </a:lvl1pPr>
          </a:lstStyle>
          <a:p>
            <a:r>
              <a:rPr lang="en-US" dirty="0"/>
              <a:t>ericsson.com/related-</a:t>
            </a:r>
            <a:r>
              <a:rPr lang="en-US" dirty="0" err="1"/>
              <a:t>url</a:t>
            </a:r>
            <a:endParaRPr lang="en-US" dirty="0"/>
          </a:p>
        </p:txBody>
      </p:sp>
      <p:pic>
        <p:nvPicPr>
          <p:cNvPr id="4" name="Graphic 3">
            <a:extLst>
              <a:ext uri="{FF2B5EF4-FFF2-40B4-BE49-F238E27FC236}">
                <a16:creationId xmlns:a16="http://schemas.microsoft.com/office/drawing/2014/main" id="{ACE90D21-D589-4F0A-88B0-94229A40F0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508509" y="2842270"/>
            <a:ext cx="1174987" cy="1174987"/>
          </a:xfrm>
          <a:prstGeom prst="rect">
            <a:avLst/>
          </a:prstGeom>
        </p:spPr>
      </p:pic>
    </p:spTree>
    <p:extLst>
      <p:ext uri="{BB962C8B-B14F-4D97-AF65-F5344CB8AC3E}">
        <p14:creationId xmlns:p14="http://schemas.microsoft.com/office/powerpoint/2010/main" val="13901300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mbedded character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142897"/>
            <a:ext cx="11233149" cy="6715103"/>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b="1" dirty="0">
                <a:solidFill>
                  <a:schemeClr val="tx1"/>
                </a:solidFill>
              </a:rPr>
              <a:t>This Master Slide is to ensure that all our characters are embedded with the presentation. Should not be used in a presentation.</a:t>
            </a:r>
          </a:p>
          <a:p>
            <a:pPr marL="0" indent="0">
              <a:buClr>
                <a:schemeClr val="tx1"/>
              </a:buClr>
              <a:buFont typeface="Ericsson Hilda Light" panose="00000400000000000000" pitchFamily="2" charset="0"/>
              <a:buNone/>
            </a:pPr>
            <a:endParaRPr lang="en-US" sz="1400" b="1" dirty="0">
              <a:solidFill>
                <a:schemeClr val="tx1"/>
              </a:solidFill>
            </a:endParaRPr>
          </a:p>
          <a:p>
            <a:pPr marL="0" indent="0">
              <a:buClr>
                <a:schemeClr val="tx1"/>
              </a:buClr>
              <a:buFont typeface="Ericsson Hilda Light" panose="00000400000000000000" pitchFamily="2" charset="0"/>
              <a:buNone/>
            </a:pPr>
            <a:r>
              <a:rPr lang="en-US" sz="1400" dirty="0">
                <a:solidFill>
                  <a:schemeClr val="tx1"/>
                </a:solidFill>
              </a:rPr>
              <a:t>!"#$%&amp;'()*+,./0123456789:;&lt;=&gt;?@ABCDEFGHIJKLMNOPQRSTUVWXYZ[\]^_`</a:t>
            </a:r>
            <a:r>
              <a:rPr lang="en-US" sz="1400" dirty="0" err="1">
                <a:solidFill>
                  <a:schemeClr val="tx1"/>
                </a:solidFill>
              </a:rPr>
              <a:t>abcdefghijklmnopqrstuvwxyz</a:t>
            </a:r>
            <a:r>
              <a:rPr lang="en-US" sz="1400"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dirty="0" err="1">
                <a:solidFill>
                  <a:schemeClr val="tx1"/>
                </a:solidFill>
              </a:rPr>
              <a:t>ẀẁẃẄẅỲỳ</a:t>
            </a:r>
            <a:r>
              <a:rPr lang="en-US" sz="1400" dirty="0">
                <a:solidFill>
                  <a:schemeClr val="tx1"/>
                </a:solidFill>
              </a:rPr>
              <a:t>‘’‚“”„†‡•…‰‹›⁄€™ĀĀĂĂĄĄĆĆĊĊČČĎĎĐĐĒĒĖĖĘĘĚĚĞĞĠĠĢĢĪĪĮĮİĶĶĹĹĻĻĽĽŃŃŅŅŇŇŌŌŐŐŔŔŖŖŘŘŚŚŞŞŢŢŤŤŪŪŮŮŰŰŲŲŴŴŶŶŹŹŻŻȘș−≤≥</a:t>
            </a:r>
            <a:r>
              <a:rPr lang="en-US" sz="1400" dirty="0" err="1">
                <a:solidFill>
                  <a:schemeClr val="tx1"/>
                </a:solidFill>
              </a:rPr>
              <a:t>ﬁﬂΆΈΉΊΌΎΏΐΑΒΓΕΖΗΘΙΚΛΜΝΞΟΠΡΣΤΥΦΧΨΪΫΆΈΉΊΰ</a:t>
            </a:r>
            <a:r>
              <a:rPr lang="en-US" sz="1400"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rPr>
              <a:t>!"#$%&amp;'()*+,./0123456789:;&lt;=&gt;?@ABCDEFGHIJKLMNOPQRSTUVWXYZ[\]^_`</a:t>
            </a:r>
            <a:r>
              <a:rPr lang="en-US" sz="1400" b="1" dirty="0" err="1">
                <a:solidFill>
                  <a:schemeClr val="tx1"/>
                </a:solidFill>
              </a:rPr>
              <a:t>abcdefghijklmnopqrstuvwxyz</a:t>
            </a:r>
            <a:r>
              <a:rPr lang="en-US" sz="1400" b="1"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b="1" dirty="0" err="1">
                <a:solidFill>
                  <a:schemeClr val="tx1"/>
                </a:solidFill>
              </a:rPr>
              <a:t>ẀẁẃẄẅỲỳ</a:t>
            </a:r>
            <a:r>
              <a:rPr lang="en-US" sz="1400" b="1" dirty="0">
                <a:solidFill>
                  <a:schemeClr val="tx1"/>
                </a:solidFill>
              </a:rPr>
              <a:t>‘’‚“”„†‡•…‰‹›⁄€™ĀĀĂĂĄĄĆĆĊĊČČĎĎĐĐĒĒĖĖĘĘĚĚĞĞĠĠĢĢĪĪĮĮİĶĶĹĹĻĻĽĽŃŃŅŅŇŇŌŌŐŐŔŔŖŖŘŘŚŚŞŞŢŢŤŤŪŪŮŮŰŰŲŲŴŴŶŶŹŹŻŻȘș−≤≥</a:t>
            </a:r>
            <a:r>
              <a:rPr lang="en-US" sz="1400" b="1" dirty="0" err="1">
                <a:solidFill>
                  <a:schemeClr val="tx1"/>
                </a:solidFill>
              </a:rPr>
              <a:t>ﬁﬂΆΈΉΊΌΎΏΐΑΒΓΕΖΗΘΙΚΛΜΝΞΟΠΡΣΤΥΦΧΨΪΫΆΈΉΊΰ</a:t>
            </a:r>
            <a:r>
              <a:rPr lang="en-US" sz="1400" b="1"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dirty="0">
                <a:solidFill>
                  <a:schemeClr val="tx1"/>
                </a:solidFill>
                <a:latin typeface="+mj-lt"/>
              </a:rPr>
              <a:t>!"#$%&amp;'()*+,./0123456789:;&lt;=&gt;?@ABCDEFGHIJKLMNOPQRSTUVWXYZ[\]^_`</a:t>
            </a:r>
            <a:r>
              <a:rPr lang="en-US" sz="1400" dirty="0" err="1">
                <a:solidFill>
                  <a:schemeClr val="tx1"/>
                </a:solidFill>
                <a:latin typeface="+mj-lt"/>
              </a:rPr>
              <a:t>abcdefghijklmnopqrstuvwxyz</a:t>
            </a:r>
            <a:r>
              <a:rPr lang="en-US" sz="1400" dirty="0">
                <a:solidFill>
                  <a:schemeClr val="tx1"/>
                </a:solidFill>
                <a:latin typeface="+mj-lt"/>
              </a:rPr>
              <a:t>{|}~¡¢£¤¥¦§¨©ª«¬®¯°±²³´¶·¸¹º»¼½ÀÁÂÃÄÅÆÇÈËÌÍÎÏÐÑÒÓÔÕÖ×ØÙÚÛÜÝÞßàáâãäåæçèéêëìíîïðñòóôõö÷øùúûüýþÿĀāĂăąĆćĊċ</a:t>
            </a:r>
            <a:r>
              <a:rPr lang="en-US" sz="1400" kern="1200" dirty="0">
                <a:solidFill>
                  <a:schemeClr val="tx1"/>
                </a:solidFill>
                <a:latin typeface="+mn-lt"/>
                <a:ea typeface="+mn-ea"/>
                <a:cs typeface="+mn-cs"/>
              </a:rPr>
              <a:t>Čč</a:t>
            </a:r>
            <a:r>
              <a:rPr lang="en-US" sz="1400" dirty="0">
                <a:solidFill>
                  <a:schemeClr val="tx1"/>
                </a:solidFill>
                <a:latin typeface="+mj-lt"/>
              </a:rPr>
              <a:t>ĎďĐđĒĖėĘęĚěĞğĠġĢģĪīĮįİıĶķĹĺĻļĽľŁłŃńŅņŇňŌŐőŒœŔŕŖŗŘřŚśŞşŠšŢţŤťŪūŮůŰűŲųŴŵŶŷŸŹźŻżŽžƒȘșˆˇ˘˙˚˛˜˝</a:t>
            </a:r>
            <a:r>
              <a:rPr lang="en-US" sz="1400" dirty="0" err="1">
                <a:solidFill>
                  <a:schemeClr val="tx1"/>
                </a:solidFill>
                <a:latin typeface="+mj-lt"/>
              </a:rPr>
              <a:t>ẀẁẃẄẅỲỳ</a:t>
            </a:r>
            <a:r>
              <a:rPr lang="en-US" sz="1400" dirty="0">
                <a:solidFill>
                  <a:schemeClr val="tx1"/>
                </a:solidFill>
                <a:latin typeface="+mj-lt"/>
              </a:rPr>
              <a:t>‘’‚“”„†‡•…‰‹›⁄€™ĀĀĂĂĄĄĆĆĊĊČČĎĎĐĐĒĒĖĖĘĘĚĚĞĞĠĠĢĢĪĪĮĮİĶĶĹĹĻĻĽĽŃŃŅŅŇŇŌŌŐŐŔŔŖŖŘŘŚŚŞŞŢŢŤŤŪŪŮŮŰŰŲŲŴŴŶŶŹŹŻŻȘș−≤≥</a:t>
            </a:r>
            <a:r>
              <a:rPr lang="en-US" sz="1400" dirty="0" err="1">
                <a:solidFill>
                  <a:schemeClr val="tx1"/>
                </a:solidFill>
                <a:latin typeface="+mj-lt"/>
              </a:rPr>
              <a:t>ﬁﬂΆΈΉΊΌΎΏΐΑΒΓΕΖΗΘΙΚΛΜΝΞΟΠΡΣΤΥΦΧΨΪΫΆΈΉΊΰ</a:t>
            </a:r>
            <a:r>
              <a:rPr lang="en-US" sz="1400"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mj-lt"/>
              </a:rPr>
              <a:t>!"#$%&amp;'()*+,./0123456789:;&lt;=&gt;?@ABCDEFGHIJKLMNOPQRSTUVWXYZ[\]^_`</a:t>
            </a:r>
            <a:r>
              <a:rPr lang="en-US" sz="1400" b="1" dirty="0" err="1">
                <a:solidFill>
                  <a:schemeClr val="tx1"/>
                </a:solidFill>
                <a:latin typeface="+mj-lt"/>
              </a:rPr>
              <a:t>abcdefghijklmnopqrstuvwxyz</a:t>
            </a:r>
            <a:r>
              <a:rPr lang="en-US" sz="1400" b="1" dirty="0">
                <a:solidFill>
                  <a:schemeClr val="tx1"/>
                </a:solidFill>
                <a:latin typeface="+mj-lt"/>
              </a:rPr>
              <a:t>{|}~¡¢£¤¥¦§¨©ª«¬®¯°±²³´¶·¸¹º»¼½ÀÁÂÃÄÅÆÇÈËÌÍÎÏÐÑÒÓÔÕÖ×ØÙÚÛÜÝÞßàáâãäåæçèéêëìíîïðñòóôõö÷øùúûüýþÿĀāĂăąĆćĊċ</a:t>
            </a:r>
            <a:r>
              <a:rPr lang="en-US" sz="1400" b="1" kern="1200" dirty="0">
                <a:solidFill>
                  <a:schemeClr val="tx1"/>
                </a:solidFill>
                <a:latin typeface="+mn-lt"/>
                <a:ea typeface="+mn-ea"/>
                <a:cs typeface="+mn-cs"/>
              </a:rPr>
              <a:t>Čč</a:t>
            </a:r>
            <a:r>
              <a:rPr lang="en-US" sz="1400" b="1" dirty="0">
                <a:solidFill>
                  <a:schemeClr val="tx1"/>
                </a:solidFill>
                <a:latin typeface="+mj-lt"/>
              </a:rPr>
              <a:t>ĎďĐđĒĖėĘęĚěĞğĠġĢģĪīĮįİıĶķĹĺĻļĽľŁłŃńŅņŇňŌŐőŒœŔŕŖŗŘřŚśŞşŠšŢţŤťŪūŮůŰűŲųŴŵŶŷŸŹźŻżŽžƒȘșˆˇ˘˙˚˛˜˝</a:t>
            </a:r>
            <a:r>
              <a:rPr lang="en-US" sz="1400" b="1" dirty="0" err="1">
                <a:solidFill>
                  <a:schemeClr val="tx1"/>
                </a:solidFill>
                <a:latin typeface="+mj-lt"/>
              </a:rPr>
              <a:t>ẀẁẃẄẅỲỳ</a:t>
            </a:r>
            <a:r>
              <a:rPr lang="en-US" sz="1400" b="1" dirty="0">
                <a:solidFill>
                  <a:schemeClr val="tx1"/>
                </a:solidFill>
                <a:latin typeface="+mj-lt"/>
              </a:rPr>
              <a:t>‘’‚“”„†‡•…‰‹›⁄€™ĀĀĂĂĄĄĆĆĊĊČČĎĎĐĐĒĒĖĖĘĘĚĚĞĞĠĠĢĢĪĪĮĮİĶĶĹĹĻĻĽĽŃŃŅŅŇŇŌŌŐŐŔŔŖŖŘŘŚŚŞŞŢŢŤŤŪŪŮŮŰŰŲŲŴŴŶŶŹŹŻŻȘș−≤≥</a:t>
            </a:r>
            <a:r>
              <a:rPr lang="en-US" sz="1400" b="1" dirty="0" err="1">
                <a:solidFill>
                  <a:schemeClr val="tx1"/>
                </a:solidFill>
                <a:latin typeface="+mj-lt"/>
              </a:rPr>
              <a:t>ﬁﬂΆΈΉΊΌΎΏΐΑΒΓΕΖΗΘΙΚΛΜΝΞΟΠΡΣΤΥΦΧΨΪΫΆΈΉΊΰ</a:t>
            </a:r>
            <a:r>
              <a:rPr lang="en-US" sz="1400" b="1"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b="1" dirty="0">
              <a:solidFill>
                <a:schemeClr val="tx1"/>
              </a:solidFill>
              <a:latin typeface="Ericsson Technical Icons" panose="00000500000000000000" pitchFamily="2" charset="0"/>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Ericsson Technical Icons" panose="00000500000000000000" pitchFamily="2" charset="0"/>
              </a:rPr>
              <a:t>B C D F G H I L M O P R S W X b c d f g h I l m o p r s w x</a:t>
            </a:r>
            <a:endParaRPr lang="en-US" sz="1400" b="1" dirty="0">
              <a:solidFill>
                <a:schemeClr val="tx1"/>
              </a:solidFill>
              <a:latin typeface="+mj-lt"/>
            </a:endParaRPr>
          </a:p>
        </p:txBody>
      </p:sp>
    </p:spTree>
    <p:extLst>
      <p:ext uri="{BB962C8B-B14F-4D97-AF65-F5344CB8AC3E}">
        <p14:creationId xmlns:p14="http://schemas.microsoft.com/office/powerpoint/2010/main" val="8598300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2" descr="C:\Users\reefrgr\AppData\Local\Microsoft\Windows\Temporary Internet Files\Content.IE5\9WEY3XJQ\IT - We turn silos into seamless - Rowing_3.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5493" b="-8286"/>
          <a:stretch/>
        </p:blipFill>
        <p:spPr bwMode="auto">
          <a:xfrm>
            <a:off x="-69355" y="-88901"/>
            <a:ext cx="12330710" cy="7628137"/>
          </a:xfrm>
          <a:prstGeom prst="rect">
            <a:avLst/>
          </a:prstGeom>
          <a:noFill/>
          <a:extLst>
            <a:ext uri="{909E8E84-426E-40DD-AFC4-6F175D3DCCD1}">
              <a14:hiddenFill xmlns:a14="http://schemas.microsoft.com/office/drawing/2010/main">
                <a:solidFill>
                  <a:srgbClr val="FFFFFF"/>
                </a:solidFill>
              </a14:hiddenFill>
            </a:ext>
          </a:extLst>
        </p:spPr>
      </p:pic>
      <p:sp>
        <p:nvSpPr>
          <p:cNvPr id="22532" name="LeftInfo"/>
          <p:cNvSpPr txBox="1">
            <a:spLocks noChangeArrowheads="1"/>
          </p:cNvSpPr>
          <p:nvPr/>
        </p:nvSpPr>
        <p:spPr bwMode="auto">
          <a:xfrm>
            <a:off x="-2019299" y="2828876"/>
            <a:ext cx="1968500" cy="3416320"/>
          </a:xfrm>
          <a:prstGeom prst="rect">
            <a:avLst/>
          </a:prstGeom>
          <a:noFill/>
          <a:ln w="9525">
            <a:noFill/>
            <a:miter lim="800000"/>
            <a:headEnd/>
            <a:tailEnd/>
          </a:ln>
          <a:effectLst/>
        </p:spPr>
        <p:txBody>
          <a:bodyPr>
            <a:spAutoFit/>
          </a:bodyPr>
          <a:lstStyle/>
          <a:p>
            <a:pPr algn="r">
              <a:spcBef>
                <a:spcPct val="0"/>
              </a:spcBef>
            </a:pPr>
            <a:r>
              <a:rPr lang="en-US" sz="1200" dirty="0">
                <a:solidFill>
                  <a:srgbClr val="FFFFFF"/>
                </a:solidFill>
              </a:rPr>
              <a:t>Slide title</a:t>
            </a:r>
          </a:p>
          <a:p>
            <a:pPr algn="r">
              <a:spcBef>
                <a:spcPct val="0"/>
              </a:spcBef>
            </a:pPr>
            <a:r>
              <a:rPr lang="en-US" sz="1200" dirty="0">
                <a:solidFill>
                  <a:srgbClr val="FFFFFF"/>
                </a:solidFill>
              </a:rPr>
              <a:t>70 pt</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9FB7D3"/>
                </a:solidFill>
              </a:rPr>
              <a:t>CAPITALS</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FFFFFF"/>
                </a:solidFill>
              </a:rPr>
              <a:t>Slide subtitle </a:t>
            </a:r>
          </a:p>
          <a:p>
            <a:pPr algn="r">
              <a:spcBef>
                <a:spcPct val="0"/>
              </a:spcBef>
            </a:pPr>
            <a:r>
              <a:rPr lang="en-US" sz="1200" dirty="0">
                <a:solidFill>
                  <a:srgbClr val="FFFFFF"/>
                </a:solidFill>
              </a:rPr>
              <a:t>minimum 30 pt</a:t>
            </a:r>
          </a:p>
          <a:p>
            <a:pPr algn="r">
              <a:spcBef>
                <a:spcPct val="0"/>
              </a:spcBef>
            </a:pPr>
            <a:endParaRPr lang="en-GB" sz="1200" dirty="0">
              <a:solidFill>
                <a:schemeClr val="bg1"/>
              </a:solidFill>
            </a:endParaRPr>
          </a:p>
        </p:txBody>
      </p:sp>
      <p:sp>
        <p:nvSpPr>
          <p:cNvPr id="22530" name="SubTitle_TM"/>
          <p:cNvSpPr>
            <a:spLocks noGrp="1" noChangeArrowheads="1"/>
          </p:cNvSpPr>
          <p:nvPr>
            <p:ph type="subTitle" idx="1" hasCustomPrompt="1"/>
          </p:nvPr>
        </p:nvSpPr>
        <p:spPr>
          <a:xfrm>
            <a:off x="524932" y="5137201"/>
            <a:ext cx="11140019" cy="1386001"/>
          </a:xfrm>
        </p:spPr>
        <p:txBody>
          <a:bodyPr anchor="b" anchorCtr="0"/>
          <a:lstStyle>
            <a:lvl1pPr marL="0" indent="0">
              <a:lnSpc>
                <a:spcPct val="75000"/>
              </a:lnSpc>
              <a:spcBef>
                <a:spcPts val="0"/>
              </a:spcBef>
              <a:buFont typeface="Arial" charset="0"/>
              <a:buNone/>
              <a:defRPr sz="3000" baseline="0">
                <a:solidFill>
                  <a:schemeClr val="bg1"/>
                </a:solidFill>
                <a:latin typeface="+mn-lt"/>
              </a:defRPr>
            </a:lvl1pPr>
          </a:lstStyle>
          <a:p>
            <a:r>
              <a:rPr lang="en-US" dirty="0"/>
              <a:t>Click to Add subtitle</a:t>
            </a:r>
          </a:p>
        </p:txBody>
      </p:sp>
      <p:sp>
        <p:nvSpPr>
          <p:cNvPr id="22531" name="Title_TM"/>
          <p:cNvSpPr>
            <a:spLocks noGrp="1" noChangeArrowheads="1"/>
          </p:cNvSpPr>
          <p:nvPr>
            <p:ph type="ctrTitle" hasCustomPrompt="1"/>
          </p:nvPr>
        </p:nvSpPr>
        <p:spPr>
          <a:xfrm>
            <a:off x="524934" y="1808709"/>
            <a:ext cx="11135785" cy="2839491"/>
          </a:xfrm>
        </p:spPr>
        <p:txBody>
          <a:bodyPr anchor="ctr">
            <a:normAutofit/>
          </a:bodyPr>
          <a:lstStyle>
            <a:lvl1pPr>
              <a:lnSpc>
                <a:spcPct val="75000"/>
              </a:lnSpc>
              <a:defRPr sz="7000">
                <a:solidFill>
                  <a:schemeClr val="bg1"/>
                </a:solidFill>
                <a:latin typeface="Ericsson Capital TT"/>
              </a:defRPr>
            </a:lvl1pPr>
          </a:lstStyle>
          <a:p>
            <a:r>
              <a:rPr lang="en-US" dirty="0"/>
              <a:t>Click to add title</a:t>
            </a:r>
          </a:p>
        </p:txBody>
      </p:sp>
      <p:pic>
        <p:nvPicPr>
          <p:cNvPr id="8" name="Logo20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929895" y="297089"/>
            <a:ext cx="1027112" cy="902270"/>
          </a:xfrm>
          <a:prstGeom prst="rect">
            <a:avLst/>
          </a:prstGeom>
        </p:spPr>
      </p:pic>
    </p:spTree>
    <p:extLst>
      <p:ext uri="{BB962C8B-B14F-4D97-AF65-F5344CB8AC3E}">
        <p14:creationId xmlns:p14="http://schemas.microsoft.com/office/powerpoint/2010/main" val="127434849"/>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2" descr="C:\Users\reefrgr\AppData\Local\Microsoft\Windows\Temporary Internet Files\Content.IE5\9WEY3XJQ\IT - We turn silos into seamless - Rowing_3.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5493" b="-8286"/>
          <a:stretch/>
        </p:blipFill>
        <p:spPr bwMode="auto">
          <a:xfrm>
            <a:off x="-69355" y="-88901"/>
            <a:ext cx="12330710" cy="7628137"/>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1"/>
          <p:cNvSpPr>
            <a:spLocks noGrp="1"/>
          </p:cNvSpPr>
          <p:nvPr>
            <p:ph idx="1"/>
          </p:nvPr>
        </p:nvSpPr>
        <p:spPr>
          <a:xfrm>
            <a:off x="529167" y="1800000"/>
            <a:ext cx="11135785" cy="3852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hasCustomPrompt="1"/>
          </p:nvPr>
        </p:nvSpPr>
        <p:spPr>
          <a:xfrm>
            <a:off x="524935" y="239714"/>
            <a:ext cx="9992784" cy="1085371"/>
          </a:xfrm>
        </p:spPr>
        <p:txBody>
          <a:bodyPr/>
          <a:lstStyle>
            <a:lvl1pPr>
              <a:defRPr>
                <a:solidFill>
                  <a:schemeClr val="bg1"/>
                </a:solidFill>
                <a:latin typeface="+mn-lt"/>
              </a:defRPr>
            </a:lvl1pPr>
          </a:lstStyle>
          <a:p>
            <a:r>
              <a:rPr lang="en-US" dirty="0"/>
              <a:t>CLICK TO EDIT MASTER TITLE STYLE</a:t>
            </a:r>
          </a:p>
        </p:txBody>
      </p:sp>
      <p:pic>
        <p:nvPicPr>
          <p:cNvPr id="6" name="Logo2011"/>
          <p:cNvPicPr>
            <a:picLocks noChangeAspect="1"/>
          </p:cNvPicPr>
          <p:nvPr userDrawn="1"/>
        </p:nvPicPr>
        <p:blipFill rotWithShape="1">
          <a:blip r:embed="rId7">
            <a:extLst>
              <a:ext uri="{28A0092B-C50C-407E-A947-70E740481C1C}">
                <a14:useLocalDpi xmlns:a14="http://schemas.microsoft.com/office/drawing/2010/main" val="0"/>
              </a:ext>
            </a:extLst>
          </a:blip>
          <a:srcRect b="23685"/>
          <a:stretch/>
        </p:blipFill>
        <p:spPr>
          <a:xfrm>
            <a:off x="10929895" y="297089"/>
            <a:ext cx="1027112" cy="688563"/>
          </a:xfrm>
          <a:prstGeom prst="rect">
            <a:avLst/>
          </a:prstGeom>
        </p:spPr>
      </p:pic>
    </p:spTree>
    <p:extLst>
      <p:ext uri="{BB962C8B-B14F-4D97-AF65-F5344CB8AC3E}">
        <p14:creationId xmlns:p14="http://schemas.microsoft.com/office/powerpoint/2010/main" val="143787008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tement P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Black, </a:t>
            </a:r>
            <a:br>
              <a:rPr lang="en-US" dirty="0"/>
            </a:br>
            <a:r>
              <a:rPr lang="en-US" dirty="0"/>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tatement/quote source, </a:t>
            </a:r>
          </a:p>
          <a:p>
            <a:r>
              <a:rPr lang="en-US" dirty="0"/>
              <a:t>Ericsson Black, Ericsson Hilda 20pt</a:t>
            </a:r>
          </a:p>
        </p:txBody>
      </p:sp>
      <p:sp>
        <p:nvSpPr>
          <p:cNvPr id="5" name="Rectangle 4">
            <a:extLst>
              <a:ext uri="{FF2B5EF4-FFF2-40B4-BE49-F238E27FC236}">
                <a16:creationId xmlns:a16="http://schemas.microsoft.com/office/drawing/2014/main" id="{DE90DF50-17A1-444D-817D-310DE852C5BD}"/>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355176887"/>
      </p:ext>
    </p:extLst>
  </p:cSld>
  <p:clrMapOvr>
    <a:masterClrMapping/>
  </p:clrMapOvr>
  <p:hf sldNum="0" hdr="0" ftr="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362" name="Picture 2" descr="C:\Users\reefrgr\AppData\Local\Microsoft\Windows\Temporary Internet Files\Content.IE5\9WEY3XJQ\IT - We turn silos into seamless - Rowing_3.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5493" b="-8286"/>
          <a:stretch/>
        </p:blipFill>
        <p:spPr bwMode="auto">
          <a:xfrm>
            <a:off x="-69355" y="-88901"/>
            <a:ext cx="12330710" cy="7628137"/>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3"/>
          <p:cNvSpPr>
            <a:spLocks noGrp="1"/>
          </p:cNvSpPr>
          <p:nvPr>
            <p:ph sz="quarter" idx="3"/>
          </p:nvPr>
        </p:nvSpPr>
        <p:spPr>
          <a:xfrm>
            <a:off x="6193367" y="1795464"/>
            <a:ext cx="5467351" cy="428466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sz="half" idx="1"/>
          </p:nvPr>
        </p:nvSpPr>
        <p:spPr>
          <a:xfrm>
            <a:off x="524934" y="1795463"/>
            <a:ext cx="5465233" cy="428466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24935" y="239714"/>
            <a:ext cx="9992784" cy="1085371"/>
          </a:xfrm>
        </p:spPr>
        <p:txBody>
          <a:bodyPr/>
          <a:lstStyle>
            <a:lvl1pPr>
              <a:defRPr>
                <a:solidFill>
                  <a:schemeClr val="bg1"/>
                </a:solidFill>
                <a:latin typeface="+mn-lt"/>
              </a:defRPr>
            </a:lvl1pPr>
          </a:lstStyle>
          <a:p>
            <a:r>
              <a:rPr lang="en-US" dirty="0"/>
              <a:t>CLICK TO EDIT MASTER TITLE STYLE</a:t>
            </a:r>
          </a:p>
        </p:txBody>
      </p:sp>
      <p:pic>
        <p:nvPicPr>
          <p:cNvPr id="7" name="Logo2011"/>
          <p:cNvPicPr>
            <a:picLocks noChangeAspect="1"/>
          </p:cNvPicPr>
          <p:nvPr userDrawn="1"/>
        </p:nvPicPr>
        <p:blipFill rotWithShape="1">
          <a:blip r:embed="rId7">
            <a:extLst>
              <a:ext uri="{28A0092B-C50C-407E-A947-70E740481C1C}">
                <a14:useLocalDpi xmlns:a14="http://schemas.microsoft.com/office/drawing/2010/main" val="0"/>
              </a:ext>
            </a:extLst>
          </a:blip>
          <a:srcRect b="25001"/>
          <a:stretch/>
        </p:blipFill>
        <p:spPr>
          <a:xfrm>
            <a:off x="10929895" y="297089"/>
            <a:ext cx="1027112" cy="676688"/>
          </a:xfrm>
          <a:prstGeom prst="rect">
            <a:avLst/>
          </a:prstGeom>
        </p:spPr>
      </p:pic>
    </p:spTree>
    <p:extLst>
      <p:ext uri="{BB962C8B-B14F-4D97-AF65-F5344CB8AC3E}">
        <p14:creationId xmlns:p14="http://schemas.microsoft.com/office/powerpoint/2010/main" val="1510381684"/>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3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descr="C:\Users\reefrgr\AppData\Local\Microsoft\Windows\Temporary Internet Files\Content.IE5\9WEY3XJQ\IT - We turn silos into seamless - Rowing_3.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5493" b="-8286"/>
          <a:stretch/>
        </p:blipFill>
        <p:spPr bwMode="auto">
          <a:xfrm>
            <a:off x="-69355" y="-88901"/>
            <a:ext cx="12330710" cy="7628137"/>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3"/>
          <p:cNvSpPr>
            <a:spLocks noGrp="1"/>
          </p:cNvSpPr>
          <p:nvPr>
            <p:ph sz="quarter" idx="12" hasCustomPrompt="1"/>
          </p:nvPr>
        </p:nvSpPr>
        <p:spPr>
          <a:xfrm>
            <a:off x="8081433"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11" hasCustomPrompt="1"/>
          </p:nvPr>
        </p:nvSpPr>
        <p:spPr>
          <a:xfrm>
            <a:off x="4305300"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1"/>
          <p:cNvSpPr>
            <a:spLocks noGrp="1"/>
          </p:cNvSpPr>
          <p:nvPr>
            <p:ph sz="quarter" idx="10" hasCustomPrompt="1"/>
          </p:nvPr>
        </p:nvSpPr>
        <p:spPr>
          <a:xfrm>
            <a:off x="524933"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hasCustomPrompt="1"/>
          </p:nvPr>
        </p:nvSpPr>
        <p:spPr>
          <a:xfrm>
            <a:off x="524935" y="239714"/>
            <a:ext cx="9992784" cy="1085371"/>
          </a:xfrm>
        </p:spPr>
        <p:txBody>
          <a:bodyPr/>
          <a:lstStyle>
            <a:lvl1pPr>
              <a:defRPr>
                <a:solidFill>
                  <a:schemeClr val="bg1"/>
                </a:solidFill>
                <a:latin typeface="+mj-lt"/>
              </a:defRPr>
            </a:lvl1pPr>
          </a:lstStyle>
          <a:p>
            <a:r>
              <a:rPr lang="en-US" dirty="0"/>
              <a:t>CLICK TO EDIT MASTER TITLE STYLE</a:t>
            </a:r>
          </a:p>
        </p:txBody>
      </p:sp>
      <p:pic>
        <p:nvPicPr>
          <p:cNvPr id="9" name="Logo2011"/>
          <p:cNvPicPr>
            <a:picLocks noChangeAspect="1"/>
          </p:cNvPicPr>
          <p:nvPr userDrawn="1"/>
        </p:nvPicPr>
        <p:blipFill rotWithShape="1">
          <a:blip r:embed="rId7">
            <a:extLst>
              <a:ext uri="{28A0092B-C50C-407E-A947-70E740481C1C}">
                <a14:useLocalDpi xmlns:a14="http://schemas.microsoft.com/office/drawing/2010/main" val="0"/>
              </a:ext>
            </a:extLst>
          </a:blip>
          <a:srcRect b="26318"/>
          <a:stretch/>
        </p:blipFill>
        <p:spPr>
          <a:xfrm>
            <a:off x="10929895" y="297089"/>
            <a:ext cx="1027112" cy="664812"/>
          </a:xfrm>
          <a:prstGeom prst="rect">
            <a:avLst/>
          </a:prstGeom>
        </p:spPr>
      </p:pic>
    </p:spTree>
    <p:extLst>
      <p:ext uri="{BB962C8B-B14F-4D97-AF65-F5344CB8AC3E}">
        <p14:creationId xmlns:p14="http://schemas.microsoft.com/office/powerpoint/2010/main" val="1717697775"/>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3" cy="1085371"/>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90034128"/>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9311051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139267"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5139265" cy="1085371"/>
          </a:xfrm>
        </p:spPr>
        <p:txBody>
          <a:bodyPr/>
          <a:lstStyle/>
          <a:p>
            <a:r>
              <a:rPr lang="en-US"/>
              <a:t>Click to edit Master title style</a:t>
            </a:r>
          </a:p>
        </p:txBody>
      </p:sp>
    </p:spTree>
    <p:extLst>
      <p:ext uri="{BB962C8B-B14F-4D97-AF65-F5344CB8AC3E}">
        <p14:creationId xmlns:p14="http://schemas.microsoft.com/office/powerpoint/2010/main" val="2552429078"/>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1484272769"/>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3367" y="239714"/>
            <a:ext cx="4324351" cy="1085371"/>
          </a:xfrm>
        </p:spPr>
        <p:txBody>
          <a:bodyPr/>
          <a:lstStyle/>
          <a:p>
            <a:r>
              <a:rPr lang="en-US" dirty="0"/>
              <a:t>Click to edit Master title style</a:t>
            </a:r>
          </a:p>
        </p:txBody>
      </p:sp>
    </p:spTree>
    <p:extLst>
      <p:ext uri="{BB962C8B-B14F-4D97-AF65-F5344CB8AC3E}">
        <p14:creationId xmlns:p14="http://schemas.microsoft.com/office/powerpoint/2010/main" val="145119876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ow 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3545841"/>
            <a:ext cx="5473700" cy="2978785"/>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1251" y="1797525"/>
            <a:ext cx="5473700" cy="1085371"/>
          </a:xfrm>
        </p:spPr>
        <p:txBody>
          <a:bodyPr/>
          <a:lstStyle/>
          <a:p>
            <a:r>
              <a:rPr lang="en-US" dirty="0"/>
              <a:t>Click to edit Master title style</a:t>
            </a:r>
          </a:p>
        </p:txBody>
      </p:sp>
    </p:spTree>
    <p:extLst>
      <p:ext uri="{BB962C8B-B14F-4D97-AF65-F5344CB8AC3E}">
        <p14:creationId xmlns:p14="http://schemas.microsoft.com/office/powerpoint/2010/main" val="226378571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1"/>
          <p:cNvSpPr>
            <a:spLocks noGrp="1"/>
          </p:cNvSpPr>
          <p:nvPr>
            <p:ph sz="quarter" idx="10" hasCustomPrompt="1"/>
          </p:nvPr>
        </p:nvSpPr>
        <p:spPr>
          <a:xfrm>
            <a:off x="524935" y="1795463"/>
            <a:ext cx="11140016"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24935" y="239714"/>
            <a:ext cx="9992784" cy="1085371"/>
          </a:xfrm>
        </p:spPr>
        <p:txBody>
          <a:bodyPr/>
          <a:lstStyle/>
          <a:p>
            <a:r>
              <a:rPr lang="en-US" dirty="0"/>
              <a:t>Click to ADD title</a:t>
            </a:r>
          </a:p>
        </p:txBody>
      </p:sp>
    </p:spTree>
    <p:extLst>
      <p:ext uri="{BB962C8B-B14F-4D97-AF65-F5344CB8AC3E}">
        <p14:creationId xmlns:p14="http://schemas.microsoft.com/office/powerpoint/2010/main" val="13901143"/>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Header, Content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193367" y="4010025"/>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2" hasCustomPrompt="1"/>
          </p:nvPr>
        </p:nvSpPr>
        <p:spPr>
          <a:xfrm>
            <a:off x="524934" y="4010025"/>
            <a:ext cx="5473700"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7" y="1795463"/>
            <a:ext cx="111357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extLst>
      <p:ext uri="{BB962C8B-B14F-4D97-AF65-F5344CB8AC3E}">
        <p14:creationId xmlns:p14="http://schemas.microsoft.com/office/powerpoint/2010/main" val="197291757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dirty="0"/>
              <a:t>Chapter/section, </a:t>
            </a:r>
            <a:br>
              <a:rPr lang="en-US" dirty="0"/>
            </a:br>
            <a:r>
              <a:rPr lang="en-US" dirty="0"/>
              <a:t>Ericsson Hilda Light 60pt, Ericsson Black, </a:t>
            </a:r>
            <a:br>
              <a:rPr lang="en-US" dirty="0"/>
            </a:br>
            <a:r>
              <a:rPr lang="en-US" dirty="0"/>
              <a:t>max 4-lines</a:t>
            </a:r>
          </a:p>
        </p:txBody>
      </p:sp>
      <p:pic>
        <p:nvPicPr>
          <p:cNvPr id="7" name="Picture 6">
            <a:extLst>
              <a:ext uri="{FF2B5EF4-FFF2-40B4-BE49-F238E27FC236}">
                <a16:creationId xmlns:a16="http://schemas.microsoft.com/office/drawing/2014/main" id="{43B3A147-5510-431A-9FDB-044AD1A35953}"/>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1"/>
            <a:ext cx="190061" cy="256032"/>
          </a:xfrm>
          <a:prstGeom prst="rect">
            <a:avLst/>
          </a:prstGeom>
          <a:ln>
            <a:noFill/>
          </a:ln>
        </p:spPr>
      </p:pic>
    </p:spTree>
    <p:extLst>
      <p:ext uri="{BB962C8B-B14F-4D97-AF65-F5344CB8AC3E}">
        <p14:creationId xmlns:p14="http://schemas.microsoft.com/office/powerpoint/2010/main" val="1793964376"/>
      </p:ext>
    </p:extLst>
  </p:cSld>
  <p:clrMapOvr>
    <a:masterClrMapping/>
  </p:clrMapOvr>
  <p:hf sldNum="0" hdr="0" ftr="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Header, two content parts over content.">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quarter" idx="10" hasCustomPrompt="1"/>
          </p:nvPr>
        </p:nvSpPr>
        <p:spPr>
          <a:xfrm>
            <a:off x="6193367" y="1795463"/>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6" y="1795463"/>
            <a:ext cx="546946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extLst>
      <p:ext uri="{BB962C8B-B14F-4D97-AF65-F5344CB8AC3E}">
        <p14:creationId xmlns:p14="http://schemas.microsoft.com/office/powerpoint/2010/main" val="1655288097"/>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4013201"/>
            <a:ext cx="5467351"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3367" y="1795464"/>
            <a:ext cx="5467351"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half" idx="1"/>
          </p:nvPr>
        </p:nvSpPr>
        <p:spPr>
          <a:xfrm>
            <a:off x="524934" y="1795463"/>
            <a:ext cx="5465233"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37756002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 name="Content Placeholder 3"/>
          <p:cNvSpPr>
            <a:spLocks noGrp="1"/>
          </p:cNvSpPr>
          <p:nvPr>
            <p:ph sz="half" idx="3"/>
          </p:nvPr>
        </p:nvSpPr>
        <p:spPr>
          <a:xfrm>
            <a:off x="6197600" y="1795463"/>
            <a:ext cx="5467351"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529167" y="4013201"/>
            <a:ext cx="546523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7" y="1795464"/>
            <a:ext cx="546523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41343897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6197600" y="4022725"/>
            <a:ext cx="5467351"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3"/>
          </p:nvPr>
        </p:nvSpPr>
        <p:spPr>
          <a:xfrm>
            <a:off x="529167" y="4022725"/>
            <a:ext cx="546523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7600" y="1804989"/>
            <a:ext cx="5467351"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7" y="1804989"/>
            <a:ext cx="546523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sz="quarter"/>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37651154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4" imgW="216" imgH="216" progId="TCLayout.ActiveDocument.1">
                  <p:embed/>
                </p:oleObj>
              </mc:Choice>
              <mc:Fallback>
                <p:oleObj name="think-cell Slide" r:id="rId4" imgW="216" imgH="216"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2" descr="C:\Users\reefrgr\AppData\Local\Microsoft\Windows\Temporary Internet Files\Content.IE5\9WEY3XJQ\IT - We turn silos into seamless - Rowing_3.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5493" b="-8286"/>
          <a:stretch/>
        </p:blipFill>
        <p:spPr bwMode="auto">
          <a:xfrm>
            <a:off x="-69355" y="-88901"/>
            <a:ext cx="12330710" cy="7628137"/>
          </a:xfrm>
          <a:prstGeom prst="rect">
            <a:avLst/>
          </a:prstGeom>
          <a:noFill/>
          <a:extLst>
            <a:ext uri="{909E8E84-426E-40DD-AFC4-6F175D3DCCD1}">
              <a14:hiddenFill xmlns:a14="http://schemas.microsoft.com/office/drawing/2010/main">
                <a:solidFill>
                  <a:srgbClr val="FFFFFF"/>
                </a:solidFill>
              </a14:hiddenFill>
            </a:ext>
          </a:extLst>
        </p:spPr>
      </p:pic>
      <p:pic>
        <p:nvPicPr>
          <p:cNvPr id="4" name="Logo2011"/>
          <p:cNvPicPr>
            <a:picLocks noChangeAspect="1"/>
          </p:cNvPicPr>
          <p:nvPr userDrawn="1"/>
        </p:nvPicPr>
        <p:blipFill rotWithShape="1">
          <a:blip r:embed="rId7">
            <a:extLst>
              <a:ext uri="{28A0092B-C50C-407E-A947-70E740481C1C}">
                <a14:useLocalDpi xmlns:a14="http://schemas.microsoft.com/office/drawing/2010/main" val="0"/>
              </a:ext>
            </a:extLst>
          </a:blip>
          <a:srcRect b="25001"/>
          <a:stretch/>
        </p:blipFill>
        <p:spPr>
          <a:xfrm>
            <a:off x="10929895" y="297089"/>
            <a:ext cx="1027112" cy="676688"/>
          </a:xfrm>
          <a:prstGeom prst="rect">
            <a:avLst/>
          </a:prstGeom>
        </p:spPr>
      </p:pic>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910574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887803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79577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9"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2" name="Rectangle 1">
            <a:extLst>
              <a:ext uri="{FF2B5EF4-FFF2-40B4-BE49-F238E27FC236}">
                <a16:creationId xmlns:a16="http://schemas.microsoft.com/office/drawing/2014/main" id="{7431B741-3DCE-4A9B-8149-8F8BE5E5F698}"/>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45794722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sp>
        <p:nvSpPr>
          <p:cNvPr id="3" name="Content Placeholder 2"/>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dirty="0"/>
              <a:t>Speaker name</a:t>
            </a:r>
          </a:p>
        </p:txBody>
      </p:sp>
      <p:sp>
        <p:nvSpPr>
          <p:cNvPr id="12" name="Content Placeholder 11"/>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spTree>
    <p:extLst>
      <p:ext uri="{BB962C8B-B14F-4D97-AF65-F5344CB8AC3E}">
        <p14:creationId xmlns:p14="http://schemas.microsoft.com/office/powerpoint/2010/main" val="1150773762"/>
      </p:ext>
    </p:extLst>
  </p:cSld>
  <p:clrMapOvr>
    <a:masterClrMapping/>
  </p:clrMapOvr>
  <p:hf sldNum="0" hdr="0" ftr="0"/>
  <p:extLst mod="1">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pic>
        <p:nvPicPr>
          <p:cNvPr id="9" name="Graphic 8">
            <a:extLst>
              <a:ext uri="{FF2B5EF4-FFF2-40B4-BE49-F238E27FC236}">
                <a16:creationId xmlns:a16="http://schemas.microsoft.com/office/drawing/2014/main" id="{6E03516D-EC68-4282-84F4-9729304A51D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90452" y="476250"/>
            <a:ext cx="256032" cy="256032"/>
          </a:xfrm>
          <a:prstGeom prst="rect">
            <a:avLst/>
          </a:prstGeom>
        </p:spPr>
      </p:pic>
      <p:sp>
        <p:nvSpPr>
          <p:cNvPr id="10" name="Content Placeholder 2">
            <a:extLst>
              <a:ext uri="{FF2B5EF4-FFF2-40B4-BE49-F238E27FC236}">
                <a16:creationId xmlns:a16="http://schemas.microsoft.com/office/drawing/2014/main" id="{C3D47211-FF10-4DFA-A5AF-8E0A63463B47}"/>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dirty="0"/>
              <a:t>Speaker name</a:t>
            </a:r>
          </a:p>
        </p:txBody>
      </p:sp>
      <p:sp>
        <p:nvSpPr>
          <p:cNvPr id="11" name="Content Placeholder 11">
            <a:extLst>
              <a:ext uri="{FF2B5EF4-FFF2-40B4-BE49-F238E27FC236}">
                <a16:creationId xmlns:a16="http://schemas.microsoft.com/office/drawing/2014/main" id="{0E57E58D-AC34-4A4B-A5B1-CE1B53ABBDA9}"/>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3" name="Content Placeholder 11">
            <a:extLst>
              <a:ext uri="{FF2B5EF4-FFF2-40B4-BE49-F238E27FC236}">
                <a16:creationId xmlns:a16="http://schemas.microsoft.com/office/drawing/2014/main" id="{A4CC6AB0-560E-4AE0-A93D-9C1C64F05440}"/>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spTree>
    <p:extLst>
      <p:ext uri="{BB962C8B-B14F-4D97-AF65-F5344CB8AC3E}">
        <p14:creationId xmlns:p14="http://schemas.microsoft.com/office/powerpoint/2010/main" val="2728394052"/>
      </p:ext>
    </p:extLst>
  </p:cSld>
  <p:clrMapOvr>
    <a:masterClrMapping/>
  </p:clrMapOvr>
  <p:hf sldNum="0" hdr="0" ftr="0"/>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332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solidFill>
                  <a:schemeClr val="bg1"/>
                </a:solidFill>
                <a:latin typeface="+mj-lt"/>
              </a:defRPr>
            </a:lvl1pPr>
          </a:lstStyle>
          <a:p>
            <a:r>
              <a:rPr lang="en-US" dirty="0"/>
              <a:t>Presentation title,</a:t>
            </a:r>
            <a:br>
              <a:rPr lang="en-US" dirty="0"/>
            </a:br>
            <a:r>
              <a:rPr lang="en-US" dirty="0"/>
              <a:t>Ericsson Hilda Light 60pt,</a:t>
            </a:r>
            <a:br>
              <a:rPr lang="en-US" dirty="0"/>
            </a:br>
            <a:r>
              <a:rPr lang="en-US" dirty="0"/>
              <a:t>Ericsson White,</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Presentation description/subtitle</a:t>
            </a:r>
            <a:br>
              <a:rPr lang="en-US" dirty="0"/>
            </a:br>
            <a:r>
              <a:rPr lang="en-US" dirty="0"/>
              <a:t>Ericsson Hilda 20pt</a:t>
            </a:r>
          </a:p>
        </p:txBody>
      </p:sp>
      <p:pic>
        <p:nvPicPr>
          <p:cNvPr id="10" name="Graphic 9">
            <a:extLst>
              <a:ext uri="{FF2B5EF4-FFF2-40B4-BE49-F238E27FC236}">
                <a16:creationId xmlns:a16="http://schemas.microsoft.com/office/drawing/2014/main" id="{E29FEEAB-1C1F-4153-BC50-6FCDEAC19C8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
        <p:nvSpPr>
          <p:cNvPr id="9" name="Content Placeholder 2">
            <a:extLst>
              <a:ext uri="{FF2B5EF4-FFF2-40B4-BE49-F238E27FC236}">
                <a16:creationId xmlns:a16="http://schemas.microsoft.com/office/drawing/2014/main" id="{07AC4DB9-933C-4680-A281-C11929BCC2F5}"/>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solidFill>
                  <a:schemeClr val="bg1"/>
                </a:solidFill>
                <a:latin typeface="+mn-lt"/>
              </a:defRPr>
            </a:lvl1pPr>
          </a:lstStyle>
          <a:p>
            <a:r>
              <a:rPr lang="en-US" dirty="0"/>
              <a:t>Speaker name</a:t>
            </a:r>
          </a:p>
        </p:txBody>
      </p:sp>
      <p:sp>
        <p:nvSpPr>
          <p:cNvPr id="11" name="Content Placeholder 11">
            <a:extLst>
              <a:ext uri="{FF2B5EF4-FFF2-40B4-BE49-F238E27FC236}">
                <a16:creationId xmlns:a16="http://schemas.microsoft.com/office/drawing/2014/main" id="{7B568BB6-C8A4-4545-B025-7D97CC4692BC}"/>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solidFill>
                  <a:schemeClr val="bg1"/>
                </a:solidFill>
                <a:latin typeface="+mn-lt"/>
              </a:defRPr>
            </a:lvl1pPr>
          </a:lstStyle>
          <a:p>
            <a:r>
              <a:rPr lang="en-US" dirty="0"/>
              <a:t>Organization</a:t>
            </a:r>
          </a:p>
        </p:txBody>
      </p:sp>
      <p:sp>
        <p:nvSpPr>
          <p:cNvPr id="13" name="Content Placeholder 11">
            <a:extLst>
              <a:ext uri="{FF2B5EF4-FFF2-40B4-BE49-F238E27FC236}">
                <a16:creationId xmlns:a16="http://schemas.microsoft.com/office/drawing/2014/main" id="{D51585B7-9911-4BC2-ACC7-3D991408BDDF}"/>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solidFill>
                  <a:schemeClr val="bg1"/>
                </a:solidFill>
                <a:latin typeface="+mn-lt"/>
              </a:defRPr>
            </a:lvl1pPr>
          </a:lstStyle>
          <a:p>
            <a:pPr lvl="0"/>
            <a:r>
              <a:rPr lang="en-US" dirty="0"/>
              <a:t>YYYY-MM-DD</a:t>
            </a:r>
          </a:p>
        </p:txBody>
      </p:sp>
    </p:spTree>
    <p:extLst>
      <p:ext uri="{BB962C8B-B14F-4D97-AF65-F5344CB8AC3E}">
        <p14:creationId xmlns:p14="http://schemas.microsoft.com/office/powerpoint/2010/main" val="1021050301"/>
      </p:ext>
    </p:extLst>
  </p:cSld>
  <p:clrMapOvr>
    <a:masterClrMapping/>
  </p:clrMapOvr>
  <p:hf sldNum="0" hdr="0" ftr="0"/>
  <p:extLst mod="1">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eynote Cover Page">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6000" b="0" dirty="0">
                <a:solidFill>
                  <a:schemeClr val="tx1"/>
                </a:solidFill>
                <a:latin typeface="+mj-lt"/>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spTree>
    <p:extLst>
      <p:ext uri="{BB962C8B-B14F-4D97-AF65-F5344CB8AC3E}">
        <p14:creationId xmlns:p14="http://schemas.microsoft.com/office/powerpoint/2010/main" val="1571537141"/>
      </p:ext>
    </p:extLst>
  </p:cSld>
  <p:clrMapOvr>
    <a:masterClrMapping/>
  </p:clrMapOvr>
  <p:hf sldNum="0" hdr="0" ftr="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tx1"/>
                </a:solidFill>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pic>
        <p:nvPicPr>
          <p:cNvPr id="6" name="Graphic 5">
            <a:extLst>
              <a:ext uri="{FF2B5EF4-FFF2-40B4-BE49-F238E27FC236}">
                <a16:creationId xmlns:a16="http://schemas.microsoft.com/office/drawing/2014/main" id="{E0F7625D-2507-407E-B5D2-5964ED88BA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528373987"/>
      </p:ext>
    </p:extLst>
  </p:cSld>
  <p:clrMapOvr>
    <a:masterClrMapping/>
  </p:clrMapOvr>
  <p:hf sldNum="0" hdr="0" ftr="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bg1"/>
                </a:solidFill>
              </a:defRPr>
            </a:lvl1pPr>
          </a:lstStyle>
          <a:p>
            <a:pPr lvl="0"/>
            <a:r>
              <a:rPr lang="en-US" dirty="0"/>
              <a:t>Keynote cover cage, </a:t>
            </a:r>
            <a:br>
              <a:rPr lang="en-US" dirty="0"/>
            </a:br>
            <a:r>
              <a:rPr lang="en-US" dirty="0"/>
              <a:t>Ericsson Hilda Light 60pt, </a:t>
            </a:r>
            <a:br>
              <a:rPr lang="en-US" dirty="0"/>
            </a:br>
            <a:r>
              <a:rPr lang="en-US" dirty="0"/>
              <a:t>Ericsson White,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peaker,</a:t>
            </a:r>
            <a:br>
              <a:rPr lang="en-US" dirty="0"/>
            </a:br>
            <a:r>
              <a:rPr lang="en-US" dirty="0"/>
              <a:t>Ericsson Black, Ericsson Hilda 20pt</a:t>
            </a:r>
          </a:p>
        </p:txBody>
      </p:sp>
      <p:pic>
        <p:nvPicPr>
          <p:cNvPr id="7" name="Graphic 6">
            <a:extLst>
              <a:ext uri="{FF2B5EF4-FFF2-40B4-BE49-F238E27FC236}">
                <a16:creationId xmlns:a16="http://schemas.microsoft.com/office/drawing/2014/main" id="{7753C092-06FE-4B22-BAB1-EBEB69074D0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388802039"/>
      </p:ext>
    </p:extLst>
  </p:cSld>
  <p:clrMapOvr>
    <a:masterClrMapping/>
  </p:clrMapOvr>
  <p:hf sldNum="0" hdr="0" ftr="0"/>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035D0DD-E99D-4FBA-B8C0-65E91EC0492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728476315"/>
      </p:ext>
    </p:extLst>
  </p:cSld>
  <p:clrMapOvr>
    <a:masterClrMapping/>
  </p:clrMapOvr>
  <p:hf sldNum="0" hdr="0" ftr="0"/>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BB77A080-9B1F-4D75-A79E-8C7540FBB16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451153240"/>
      </p:ext>
    </p:extLst>
  </p:cSld>
  <p:clrMapOvr>
    <a:masterClrMapping/>
  </p:clrMapOvr>
  <p:hf sldNum="0" hdr="0" ftr="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01042C2C-5CDA-4F99-B59E-8CE43FEF21B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688935218"/>
      </p:ext>
    </p:extLst>
  </p:cSld>
  <p:clrMapOvr>
    <a:masterClrMapping/>
  </p:clrMapOvr>
  <p:hf sldNum="0" hdr="0" ftr="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4A0CF15-A701-44C3-81FC-A544265685B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781021951"/>
      </p:ext>
    </p:extLst>
  </p:cSld>
  <p:clrMapOvr>
    <a:masterClrMapping/>
  </p:clrMapOvr>
  <p:hf sldNum="0" hdr="0" ftr="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34B7B746-B315-4EB5-B3A2-CA259B065B9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500786657"/>
      </p:ext>
    </p:extLst>
  </p:cSld>
  <p:clrMapOvr>
    <a:masterClrMapping/>
  </p:clrMapOvr>
  <p:hf sldNum="0" hdr="0" ftr="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6096BBFC-712A-429D-9C0A-7743993E7FC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698839491"/>
      </p:ext>
    </p:extLst>
  </p:cSld>
  <p:clrMapOvr>
    <a:masterClrMapping/>
  </p:clrMapOvr>
  <p:hf sldNum="0"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Rectangle 2">
            <a:extLst>
              <a:ext uri="{FF2B5EF4-FFF2-40B4-BE49-F238E27FC236}">
                <a16:creationId xmlns:a16="http://schemas.microsoft.com/office/drawing/2014/main" id="{D652BBBB-17D3-47C2-969E-673EB036BFBD}"/>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41545614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tatement Page 7">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Black, </a:t>
            </a:r>
            <a:br>
              <a:rPr lang="en-US" dirty="0"/>
            </a:br>
            <a:r>
              <a:rPr lang="en-US" dirty="0"/>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tatement/quote source, </a:t>
            </a:r>
          </a:p>
          <a:p>
            <a:r>
              <a:rPr lang="en-US" dirty="0"/>
              <a:t>Ericsson Black, Ericsson Hilda 20pt</a:t>
            </a:r>
          </a:p>
        </p:txBody>
      </p:sp>
    </p:spTree>
    <p:extLst>
      <p:ext uri="{BB962C8B-B14F-4D97-AF65-F5344CB8AC3E}">
        <p14:creationId xmlns:p14="http://schemas.microsoft.com/office/powerpoint/2010/main" val="1189755047"/>
      </p:ext>
    </p:extLst>
  </p:cSld>
  <p:clrMapOvr>
    <a:masterClrMapping/>
  </p:clrMapOvr>
  <p:hf sldNum="0" hdr="0" ftr="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dirty="0"/>
              <a:t>Chapter/section, </a:t>
            </a:r>
            <a:br>
              <a:rPr lang="en-US" dirty="0"/>
            </a:br>
            <a:r>
              <a:rPr lang="en-US" dirty="0"/>
              <a:t>Ericsson Hilda Light 60pt, Ericsson Black, </a:t>
            </a:r>
            <a:br>
              <a:rPr lang="en-US" dirty="0"/>
            </a:br>
            <a:r>
              <a:rPr lang="en-US" dirty="0"/>
              <a:t>max 4-lines</a:t>
            </a:r>
          </a:p>
        </p:txBody>
      </p:sp>
    </p:spTree>
    <p:extLst>
      <p:ext uri="{BB962C8B-B14F-4D97-AF65-F5344CB8AC3E}">
        <p14:creationId xmlns:p14="http://schemas.microsoft.com/office/powerpoint/2010/main" val="1207738936"/>
      </p:ext>
    </p:extLst>
  </p:cSld>
  <p:clrMapOvr>
    <a:masterClrMapping/>
  </p:clrMapOvr>
  <p:hf sldNum="0" hdr="0" ftr="0"/>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953333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6446919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0613FB31-E723-434D-8FBC-0054A541634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6427279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2"/>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82EAEE37-7D1D-49D7-BEC8-7A88843E383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81961368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A44C7C5B-04BF-4F0E-888E-CE87D0EF1DA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88724602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4"/>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65A3682-3283-4350-B37F-DCABDCB15F6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8081736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5"/>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6B1A279A-6DFF-44E2-AFD5-C14BD71050E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40835997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6"/>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DC9C0052-7A7B-40FB-AF90-CA9C4B79D2E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9652365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Rectangle 3">
            <a:extLst>
              <a:ext uri="{FF2B5EF4-FFF2-40B4-BE49-F238E27FC236}">
                <a16:creationId xmlns:a16="http://schemas.microsoft.com/office/drawing/2014/main" id="{7B2A0F1E-7BD4-4937-94A9-53B11E6D9AFA}"/>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9331677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Graphic heavy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D510456-FEBC-46FA-B25A-B809F2C18A6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12598330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1502254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25939106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Title_SM">
            <a:extLst>
              <a:ext uri="{FF2B5EF4-FFF2-40B4-BE49-F238E27FC236}">
                <a16:creationId xmlns:a16="http://schemas.microsoft.com/office/drawing/2014/main" id="{AC5B9436-E3EB-4A3D-BE6B-EFFF8123DE9D}"/>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291604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 Hilda Light 40pt, </a:t>
            </a:r>
            <a:r>
              <a:rPr lang="en-US" dirty="0" err="1"/>
              <a:t>Eri</a:t>
            </a:r>
            <a:r>
              <a:rPr lang="en-US" dirty="0"/>
              <a:t>. Black, max 2-lines</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395345996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Title_SM">
            <a:extLst>
              <a:ext uri="{FF2B5EF4-FFF2-40B4-BE49-F238E27FC236}">
                <a16:creationId xmlns:a16="http://schemas.microsoft.com/office/drawing/2014/main" id="{4ACB62A1-CC4A-4B59-B1D8-ED86B77D9A3A}"/>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5077049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max 2-lines</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94532882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891BF4C4-9DF9-4D9F-A738-37FBCD45AA68}"/>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3549333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B1CFD82C-8968-4B87-A964-6288AF293D7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97012734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479424"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idx="1" hasCustomPrompt="1"/>
          </p:nvPr>
        </p:nvSpPr>
        <p:spPr>
          <a:xfrm>
            <a:off x="479425"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A05AB2F5-3C8F-45BD-81CB-45EC98D4284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2082724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Rectangle 3">
            <a:extLst>
              <a:ext uri="{FF2B5EF4-FFF2-40B4-BE49-F238E27FC236}">
                <a16:creationId xmlns:a16="http://schemas.microsoft.com/office/drawing/2014/main" id="{86FC8DE4-371D-40C7-839F-B192B2448495}"/>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60799952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6240463"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524C71C0-9908-4C8C-97CC-AA201198D2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3764534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0114795F-6AFF-421E-BA39-763FAD29FC16}"/>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04328773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Content Placeholder 2"/>
          <p:cNvSpPr>
            <a:spLocks noGrp="1"/>
          </p:cNvSpPr>
          <p:nvPr>
            <p:ph sz="quarter" idx="12" hasCustomPrompt="1"/>
          </p:nvPr>
        </p:nvSpPr>
        <p:spPr>
          <a:xfrm>
            <a:off x="479425" y="4149724"/>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A14F6E09-C956-49B3-8E41-DBD053DF768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11470756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10" name="Title_SM">
            <a:extLst>
              <a:ext uri="{FF2B5EF4-FFF2-40B4-BE49-F238E27FC236}">
                <a16:creationId xmlns:a16="http://schemas.microsoft.com/office/drawing/2014/main" id="{6B686A21-AA96-4B0A-B7CE-F4C6D5D31B32}"/>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72103290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7EEF5633-BC13-4AEA-AEF5-CE2675504D30}"/>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34384442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9" name="Content Placeholder 3"/>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F4D71A67-F349-4E68-B7B8-D53CE323A764}"/>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26609710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Preamble text, </a:t>
            </a:r>
            <a:r>
              <a:rPr lang="en-US" dirty="0"/>
              <a:t>Ericsson </a:t>
            </a:r>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Hilda 25pt, Ericsson Black</a:t>
            </a:r>
            <a:endParaRPr lang="en-US" dirty="0"/>
          </a:p>
        </p:txBody>
      </p:sp>
      <p:sp>
        <p:nvSpPr>
          <p:cNvPr id="9" name="Content Placeholder 3"/>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7" name="Title_SM">
            <a:extLst>
              <a:ext uri="{FF2B5EF4-FFF2-40B4-BE49-F238E27FC236}">
                <a16:creationId xmlns:a16="http://schemas.microsoft.com/office/drawing/2014/main" id="{CD0BB64A-768A-4118-B3E5-52B98C693831}"/>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49488673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3"/>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7" name="Title_SM">
            <a:extLst>
              <a:ext uri="{FF2B5EF4-FFF2-40B4-BE49-F238E27FC236}">
                <a16:creationId xmlns:a16="http://schemas.microsoft.com/office/drawing/2014/main" id="{F83268EB-5955-4A3F-8B85-E7C084E6FAF5}"/>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62809922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2"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4" name="Content Placeholder 2"/>
          <p:cNvSpPr>
            <a:spLocks noGrp="1"/>
          </p:cNvSpPr>
          <p:nvPr>
            <p:ph sz="quarter" idx="2" hasCustomPrompt="1"/>
          </p:nvPr>
        </p:nvSpPr>
        <p:spPr>
          <a:xfrm>
            <a:off x="6240462"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sz="quarter" idx="1" hasCustomPrompt="1"/>
          </p:nvPr>
        </p:nvSpPr>
        <p:spPr>
          <a:xfrm>
            <a:off x="47942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79425" y="4149725"/>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9" name="Title_SM">
            <a:extLst>
              <a:ext uri="{FF2B5EF4-FFF2-40B4-BE49-F238E27FC236}">
                <a16:creationId xmlns:a16="http://schemas.microsoft.com/office/drawing/2014/main" id="{2C948968-FB06-45CC-8259-6BDE4430EACB}"/>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514317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3" y="415099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5" name="Content Placeholder 3"/>
          <p:cNvSpPr>
            <a:spLocks noGrp="1"/>
          </p:cNvSpPr>
          <p:nvPr>
            <p:ph sz="quarter" idx="3" hasCustomPrompt="1"/>
          </p:nvPr>
        </p:nvSpPr>
        <p:spPr>
          <a:xfrm>
            <a:off x="479424"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2"/>
          <p:cNvSpPr>
            <a:spLocks noGrp="1"/>
          </p:cNvSpPr>
          <p:nvPr>
            <p:ph sz="quarter" idx="2" hasCustomPrompt="1"/>
          </p:nvPr>
        </p:nvSpPr>
        <p:spPr>
          <a:xfrm>
            <a:off x="6240463" y="1844675"/>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3" name="Content Placeholder 1"/>
          <p:cNvSpPr>
            <a:spLocks noGrp="1"/>
          </p:cNvSpPr>
          <p:nvPr>
            <p:ph sz="quarter" idx="1" hasCustomPrompt="1"/>
          </p:nvPr>
        </p:nvSpPr>
        <p:spPr>
          <a:xfrm>
            <a:off x="479424"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8" name="Content Placeholder 3"/>
          <p:cNvSpPr>
            <a:spLocks noGrp="1"/>
          </p:cNvSpPr>
          <p:nvPr>
            <p:ph sz="quarter" idx="10" hasCustomPrompt="1"/>
          </p:nvPr>
        </p:nvSpPr>
        <p:spPr>
          <a:xfrm>
            <a:off x="3359151" y="4149724"/>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1"/>
          <p:cNvSpPr>
            <a:spLocks noGrp="1"/>
          </p:cNvSpPr>
          <p:nvPr>
            <p:ph sz="quarter" idx="11" hasCustomPrompt="1"/>
          </p:nvPr>
        </p:nvSpPr>
        <p:spPr>
          <a:xfrm>
            <a:off x="3359151" y="1844675"/>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0" name="Content Placeholder 4"/>
          <p:cNvSpPr>
            <a:spLocks noGrp="1"/>
          </p:cNvSpPr>
          <p:nvPr>
            <p:ph sz="quarter" idx="12" hasCustomPrompt="1"/>
          </p:nvPr>
        </p:nvSpPr>
        <p:spPr>
          <a:xfrm>
            <a:off x="9120188" y="4149725"/>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1" name="Content Placeholder 2"/>
          <p:cNvSpPr>
            <a:spLocks noGrp="1"/>
          </p:cNvSpPr>
          <p:nvPr>
            <p:ph sz="quarter" idx="13" hasCustomPrompt="1"/>
          </p:nvPr>
        </p:nvSpPr>
        <p:spPr>
          <a:xfrm>
            <a:off x="9120188"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13" name="Title_SM">
            <a:extLst>
              <a:ext uri="{FF2B5EF4-FFF2-40B4-BE49-F238E27FC236}">
                <a16:creationId xmlns:a16="http://schemas.microsoft.com/office/drawing/2014/main" id="{99858DC4-E787-41D2-A613-961D60F8911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510782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5" name="Rectangle 4">
            <a:extLst>
              <a:ext uri="{FF2B5EF4-FFF2-40B4-BE49-F238E27FC236}">
                <a16:creationId xmlns:a16="http://schemas.microsoft.com/office/drawing/2014/main" id="{CA38F7C8-1321-4DE6-9DEC-0CE406CFA3F3}"/>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411466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Black logo end slide">
    <p:spTree>
      <p:nvGrpSpPr>
        <p:cNvPr id="1" name=""/>
        <p:cNvGrpSpPr/>
        <p:nvPr/>
      </p:nvGrpSpPr>
      <p:grpSpPr>
        <a:xfrm>
          <a:off x="0" y="0"/>
          <a:ext cx="0" cy="0"/>
          <a:chOff x="0" y="0"/>
          <a:chExt cx="0" cy="0"/>
        </a:xfrm>
      </p:grpSpPr>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dirty="0"/>
              <a:t>ericsson.com/related-</a:t>
            </a:r>
            <a:r>
              <a:rPr lang="en-US" dirty="0" err="1"/>
              <a:t>url</a:t>
            </a:r>
            <a:endParaRPr lang="en-US" dirty="0"/>
          </a:p>
        </p:txBody>
      </p:sp>
      <p:pic>
        <p:nvPicPr>
          <p:cNvPr id="6" name="Graphic 5">
            <a:extLst>
              <a:ext uri="{FF2B5EF4-FFF2-40B4-BE49-F238E27FC236}">
                <a16:creationId xmlns:a16="http://schemas.microsoft.com/office/drawing/2014/main" id="{8979B00C-7C1F-4F17-8D52-31D787A1234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506895" y="2854112"/>
            <a:ext cx="1163145" cy="1163145"/>
          </a:xfrm>
          <a:prstGeom prst="rect">
            <a:avLst/>
          </a:prstGeom>
        </p:spPr>
      </p:pic>
    </p:spTree>
    <p:extLst>
      <p:ext uri="{BB962C8B-B14F-4D97-AF65-F5344CB8AC3E}">
        <p14:creationId xmlns:p14="http://schemas.microsoft.com/office/powerpoint/2010/main" val="207394920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White logo end slid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bg1"/>
                </a:solidFill>
                <a:latin typeface="+mn-lt"/>
              </a:defRPr>
            </a:lvl1pPr>
          </a:lstStyle>
          <a:p>
            <a:r>
              <a:rPr lang="en-US" dirty="0"/>
              <a:t>ericsson.com/related-</a:t>
            </a:r>
            <a:r>
              <a:rPr lang="en-US" dirty="0" err="1"/>
              <a:t>url</a:t>
            </a:r>
            <a:endParaRPr lang="en-US" dirty="0"/>
          </a:p>
        </p:txBody>
      </p:sp>
      <p:pic>
        <p:nvPicPr>
          <p:cNvPr id="4" name="Graphic 3">
            <a:extLst>
              <a:ext uri="{FF2B5EF4-FFF2-40B4-BE49-F238E27FC236}">
                <a16:creationId xmlns:a16="http://schemas.microsoft.com/office/drawing/2014/main" id="{ACE90D21-D589-4F0A-88B0-94229A40F0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508509" y="2842270"/>
            <a:ext cx="1174987" cy="1174987"/>
          </a:xfrm>
          <a:prstGeom prst="rect">
            <a:avLst/>
          </a:prstGeom>
        </p:spPr>
      </p:pic>
    </p:spTree>
    <p:extLst>
      <p:ext uri="{BB962C8B-B14F-4D97-AF65-F5344CB8AC3E}">
        <p14:creationId xmlns:p14="http://schemas.microsoft.com/office/powerpoint/2010/main" val="32416749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Embedded character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142897"/>
            <a:ext cx="11233149" cy="6715103"/>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b="1" dirty="0">
                <a:solidFill>
                  <a:schemeClr val="tx1"/>
                </a:solidFill>
              </a:rPr>
              <a:t>This Master Slide is to ensure that all our characters are embedded with the presentation. Should not be used in a presentation.</a:t>
            </a:r>
          </a:p>
          <a:p>
            <a:pPr marL="0" indent="0">
              <a:buClr>
                <a:schemeClr val="tx1"/>
              </a:buClr>
              <a:buFont typeface="Ericsson Hilda Light" panose="00000400000000000000" pitchFamily="2" charset="0"/>
              <a:buNone/>
            </a:pPr>
            <a:endParaRPr lang="en-US" sz="1400" b="1" dirty="0">
              <a:solidFill>
                <a:schemeClr val="tx1"/>
              </a:solidFill>
            </a:endParaRPr>
          </a:p>
          <a:p>
            <a:pPr marL="0" indent="0">
              <a:buClr>
                <a:schemeClr val="tx1"/>
              </a:buClr>
              <a:buFont typeface="Ericsson Hilda Light" panose="00000400000000000000" pitchFamily="2" charset="0"/>
              <a:buNone/>
            </a:pPr>
            <a:r>
              <a:rPr lang="en-US" sz="1400" dirty="0">
                <a:solidFill>
                  <a:schemeClr val="tx1"/>
                </a:solidFill>
              </a:rPr>
              <a:t>!"#$%&amp;'()*+,./0123456789:;&lt;=&gt;?@ABCDEFGHIJKLMNOPQRSTUVWXYZ[\]^_`</a:t>
            </a:r>
            <a:r>
              <a:rPr lang="en-US" sz="1400" dirty="0" err="1">
                <a:solidFill>
                  <a:schemeClr val="tx1"/>
                </a:solidFill>
              </a:rPr>
              <a:t>abcdefghijklmnopqrstuvwxyz</a:t>
            </a:r>
            <a:r>
              <a:rPr lang="en-US" sz="1400"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dirty="0" err="1">
                <a:solidFill>
                  <a:schemeClr val="tx1"/>
                </a:solidFill>
              </a:rPr>
              <a:t>ẀẁẃẄẅỲỳ</a:t>
            </a:r>
            <a:r>
              <a:rPr lang="en-US" sz="1400" dirty="0">
                <a:solidFill>
                  <a:schemeClr val="tx1"/>
                </a:solidFill>
              </a:rPr>
              <a:t>‘’‚“”„†‡•…‰‹›⁄€™ĀĀĂĂĄĄĆĆĊĊČČĎĎĐĐĒĒĖĖĘĘĚĚĞĞĠĠĢĢĪĪĮĮİĶĶĹĹĻĻĽĽŃŃŅŅŇŇŌŌŐŐŔŔŖŖŘŘŚŚŞŞŢŢŤŤŪŪŮŮŰŰŲŲŴŴŶŶŹŹŻŻȘș−≤≥</a:t>
            </a:r>
            <a:r>
              <a:rPr lang="en-US" sz="1400" dirty="0" err="1">
                <a:solidFill>
                  <a:schemeClr val="tx1"/>
                </a:solidFill>
              </a:rPr>
              <a:t>ﬁﬂΆΈΉΊΌΎΏΐΑΒΓΕΖΗΘΙΚΛΜΝΞΟΠΡΣΤΥΦΧΨΪΫΆΈΉΊΰ</a:t>
            </a:r>
            <a:r>
              <a:rPr lang="en-US" sz="1400"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rPr>
              <a:t>!"#$%&amp;'()*+,./0123456789:;&lt;=&gt;?@ABCDEFGHIJKLMNOPQRSTUVWXYZ[\]^_`</a:t>
            </a:r>
            <a:r>
              <a:rPr lang="en-US" sz="1400" b="1" dirty="0" err="1">
                <a:solidFill>
                  <a:schemeClr val="tx1"/>
                </a:solidFill>
              </a:rPr>
              <a:t>abcdefghijklmnopqrstuvwxyz</a:t>
            </a:r>
            <a:r>
              <a:rPr lang="en-US" sz="1400" b="1"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b="1" dirty="0" err="1">
                <a:solidFill>
                  <a:schemeClr val="tx1"/>
                </a:solidFill>
              </a:rPr>
              <a:t>ẀẁẃẄẅỲỳ</a:t>
            </a:r>
            <a:r>
              <a:rPr lang="en-US" sz="1400" b="1" dirty="0">
                <a:solidFill>
                  <a:schemeClr val="tx1"/>
                </a:solidFill>
              </a:rPr>
              <a:t>‘’‚“”„†‡•…‰‹›⁄€™ĀĀĂĂĄĄĆĆĊĊČČĎĎĐĐĒĒĖĖĘĘĚĚĞĞĠĠĢĢĪĪĮĮİĶĶĹĹĻĻĽĽŃŃŅŅŇŇŌŌŐŐŔŔŖŖŘŘŚŚŞŞŢŢŤŤŪŪŮŮŰŰŲŲŴŴŶŶŹŹŻŻȘș−≤≥</a:t>
            </a:r>
            <a:r>
              <a:rPr lang="en-US" sz="1400" b="1" dirty="0" err="1">
                <a:solidFill>
                  <a:schemeClr val="tx1"/>
                </a:solidFill>
              </a:rPr>
              <a:t>ﬁﬂΆΈΉΊΌΎΏΐΑΒΓΕΖΗΘΙΚΛΜΝΞΟΠΡΣΤΥΦΧΨΪΫΆΈΉΊΰ</a:t>
            </a:r>
            <a:r>
              <a:rPr lang="en-US" sz="1400" b="1"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dirty="0">
                <a:solidFill>
                  <a:schemeClr val="tx1"/>
                </a:solidFill>
                <a:latin typeface="+mj-lt"/>
              </a:rPr>
              <a:t>!"#$%&amp;'()*+,./0123456789:;&lt;=&gt;?@ABCDEFGHIJKLMNOPQRSTUVWXYZ[\]^_`</a:t>
            </a:r>
            <a:r>
              <a:rPr lang="en-US" sz="1400" dirty="0" err="1">
                <a:solidFill>
                  <a:schemeClr val="tx1"/>
                </a:solidFill>
                <a:latin typeface="+mj-lt"/>
              </a:rPr>
              <a:t>abcdefghijklmnopqrstuvwxyz</a:t>
            </a:r>
            <a:r>
              <a:rPr lang="en-US" sz="1400" dirty="0">
                <a:solidFill>
                  <a:schemeClr val="tx1"/>
                </a:solidFill>
                <a:latin typeface="+mj-lt"/>
              </a:rPr>
              <a:t>{|}~¡¢£¤¥¦§¨©ª«¬®¯°±²³´¶·¸¹º»¼½ÀÁÂÃÄÅÆÇÈËÌÍÎÏÐÑÒÓÔÕÖ×ØÙÚÛÜÝÞßàáâãäåæçèéêëìíîïðñòóôõö÷øùúûüýþÿĀāĂăąĆćĊċ</a:t>
            </a:r>
            <a:r>
              <a:rPr lang="en-US" sz="1400" kern="1200" dirty="0">
                <a:solidFill>
                  <a:schemeClr val="tx1"/>
                </a:solidFill>
                <a:latin typeface="+mn-lt"/>
                <a:ea typeface="+mn-ea"/>
                <a:cs typeface="+mn-cs"/>
              </a:rPr>
              <a:t>Čč</a:t>
            </a:r>
            <a:r>
              <a:rPr lang="en-US" sz="1400" dirty="0">
                <a:solidFill>
                  <a:schemeClr val="tx1"/>
                </a:solidFill>
                <a:latin typeface="+mj-lt"/>
              </a:rPr>
              <a:t>ĎďĐđĒĖėĘęĚěĞğĠġĢģĪīĮįİıĶķĹĺĻļĽľŁłŃńŅņŇňŌŐőŒœŔŕŖŗŘřŚśŞşŠšŢţŤťŪūŮůŰűŲųŴŵŶŷŸŹźŻżŽžƒȘșˆˇ˘˙˚˛˜˝</a:t>
            </a:r>
            <a:r>
              <a:rPr lang="en-US" sz="1400" dirty="0" err="1">
                <a:solidFill>
                  <a:schemeClr val="tx1"/>
                </a:solidFill>
                <a:latin typeface="+mj-lt"/>
              </a:rPr>
              <a:t>ẀẁẃẄẅỲỳ</a:t>
            </a:r>
            <a:r>
              <a:rPr lang="en-US" sz="1400" dirty="0">
                <a:solidFill>
                  <a:schemeClr val="tx1"/>
                </a:solidFill>
                <a:latin typeface="+mj-lt"/>
              </a:rPr>
              <a:t>‘’‚“”„†‡•…‰‹›⁄€™ĀĀĂĂĄĄĆĆĊĊČČĎĎĐĐĒĒĖĖĘĘĚĚĞĞĠĠĢĢĪĪĮĮİĶĶĹĹĻĻĽĽŃŃŅŅŇŇŌŌŐŐŔŔŖŖŘŘŚŚŞŞŢŢŤŤŪŪŮŮŰŰŲŲŴŴŶŶŹŹŻŻȘș−≤≥</a:t>
            </a:r>
            <a:r>
              <a:rPr lang="en-US" sz="1400" dirty="0" err="1">
                <a:solidFill>
                  <a:schemeClr val="tx1"/>
                </a:solidFill>
                <a:latin typeface="+mj-lt"/>
              </a:rPr>
              <a:t>ﬁﬂΆΈΉΊΌΎΏΐΑΒΓΕΖΗΘΙΚΛΜΝΞΟΠΡΣΤΥΦΧΨΪΫΆΈΉΊΰ</a:t>
            </a:r>
            <a:r>
              <a:rPr lang="en-US" sz="1400"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mj-lt"/>
              </a:rPr>
              <a:t>!"#$%&amp;'()*+,./0123456789:;&lt;=&gt;?@ABCDEFGHIJKLMNOPQRSTUVWXYZ[\]^_`</a:t>
            </a:r>
            <a:r>
              <a:rPr lang="en-US" sz="1400" b="1" dirty="0" err="1">
                <a:solidFill>
                  <a:schemeClr val="tx1"/>
                </a:solidFill>
                <a:latin typeface="+mj-lt"/>
              </a:rPr>
              <a:t>abcdefghijklmnopqrstuvwxyz</a:t>
            </a:r>
            <a:r>
              <a:rPr lang="en-US" sz="1400" b="1" dirty="0">
                <a:solidFill>
                  <a:schemeClr val="tx1"/>
                </a:solidFill>
                <a:latin typeface="+mj-lt"/>
              </a:rPr>
              <a:t>{|}~¡¢£¤¥¦§¨©ª«¬®¯°±²³´¶·¸¹º»¼½ÀÁÂÃÄÅÆÇÈËÌÍÎÏÐÑÒÓÔÕÖ×ØÙÚÛÜÝÞßàáâãäåæçèéêëìíîïðñòóôõö÷øùúûüýþÿĀāĂăąĆćĊċ</a:t>
            </a:r>
            <a:r>
              <a:rPr lang="en-US" sz="1400" b="1" kern="1200" dirty="0">
                <a:solidFill>
                  <a:schemeClr val="tx1"/>
                </a:solidFill>
                <a:latin typeface="+mn-lt"/>
                <a:ea typeface="+mn-ea"/>
                <a:cs typeface="+mn-cs"/>
              </a:rPr>
              <a:t>Čč</a:t>
            </a:r>
            <a:r>
              <a:rPr lang="en-US" sz="1400" b="1" dirty="0">
                <a:solidFill>
                  <a:schemeClr val="tx1"/>
                </a:solidFill>
                <a:latin typeface="+mj-lt"/>
              </a:rPr>
              <a:t>ĎďĐđĒĖėĘęĚěĞğĠġĢģĪīĮįİıĶķĹĺĻļĽľŁłŃńŅņŇňŌŐőŒœŔŕŖŗŘřŚśŞşŠšŢţŤťŪūŮůŰűŲųŴŵŶŷŸŹźŻżŽžƒȘșˆˇ˘˙˚˛˜˝</a:t>
            </a:r>
            <a:r>
              <a:rPr lang="en-US" sz="1400" b="1" dirty="0" err="1">
                <a:solidFill>
                  <a:schemeClr val="tx1"/>
                </a:solidFill>
                <a:latin typeface="+mj-lt"/>
              </a:rPr>
              <a:t>ẀẁẃẄẅỲỳ</a:t>
            </a:r>
            <a:r>
              <a:rPr lang="en-US" sz="1400" b="1" dirty="0">
                <a:solidFill>
                  <a:schemeClr val="tx1"/>
                </a:solidFill>
                <a:latin typeface="+mj-lt"/>
              </a:rPr>
              <a:t>‘’‚“”„†‡•…‰‹›⁄€™ĀĀĂĂĄĄĆĆĊĊČČĎĎĐĐĒĒĖĖĘĘĚĚĞĞĠĠĢĢĪĪĮĮİĶĶĹĹĻĻĽĽŃŃŅŅŇŇŌŌŐŐŔŔŖŖŘŘŚŚŞŞŢŢŤŤŪŪŮŮŰŰŲŲŴŴŶŶŹŹŻŻȘș−≤≥</a:t>
            </a:r>
            <a:r>
              <a:rPr lang="en-US" sz="1400" b="1" dirty="0" err="1">
                <a:solidFill>
                  <a:schemeClr val="tx1"/>
                </a:solidFill>
                <a:latin typeface="+mj-lt"/>
              </a:rPr>
              <a:t>ﬁﬂΆΈΉΊΌΎΏΐΑΒΓΕΖΗΘΙΚΛΜΝΞΟΠΡΣΤΥΦΧΨΪΫΆΈΉΊΰ</a:t>
            </a:r>
            <a:r>
              <a:rPr lang="en-US" sz="1400" b="1"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b="1" dirty="0">
              <a:solidFill>
                <a:schemeClr val="tx1"/>
              </a:solidFill>
              <a:latin typeface="Ericsson Technical Icons" panose="00000500000000000000" pitchFamily="2" charset="0"/>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Ericsson Technical Icons" panose="00000500000000000000" pitchFamily="2" charset="0"/>
              </a:rPr>
              <a:t>B C D F G H I L M O P R S W X b c d f g h I l m o p r s w x</a:t>
            </a:r>
            <a:endParaRPr lang="en-US" sz="1400" b="1" dirty="0">
              <a:solidFill>
                <a:schemeClr val="tx1"/>
              </a:solidFill>
              <a:latin typeface="+mj-lt"/>
            </a:endParaRPr>
          </a:p>
        </p:txBody>
      </p:sp>
    </p:spTree>
    <p:extLst>
      <p:ext uri="{BB962C8B-B14F-4D97-AF65-F5344CB8AC3E}">
        <p14:creationId xmlns:p14="http://schemas.microsoft.com/office/powerpoint/2010/main" val="33143743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AAE539-5ADB-49F2-BA56-F19AF9D31A85}"/>
              </a:ext>
            </a:extLst>
          </p:cNvPr>
          <p:cNvPicPr>
            <a:picLocks noChangeAspect="1"/>
          </p:cNvPicPr>
          <p:nvPr userDrawn="1"/>
        </p:nvPicPr>
        <p:blipFill>
          <a:blip r:embed="rId2"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8" name="Rectangle 7">
            <a:extLst>
              <a:ext uri="{FF2B5EF4-FFF2-40B4-BE49-F238E27FC236}">
                <a16:creationId xmlns:a16="http://schemas.microsoft.com/office/drawing/2014/main" id="{512A9153-EFF9-446E-8E5B-7175CAC722EC}"/>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22531" name="Title_TM"/>
          <p:cNvSpPr>
            <a:spLocks noGrp="1" noChangeArrowheads="1"/>
          </p:cNvSpPr>
          <p:nvPr>
            <p:ph type="ctrTitle"/>
          </p:nvPr>
        </p:nvSpPr>
        <p:spPr>
          <a:xfrm>
            <a:off x="479426" y="476250"/>
            <a:ext cx="8353426" cy="3457576"/>
          </a:xfrm>
        </p:spPr>
        <p:txBody>
          <a:bodyPr/>
          <a:lstStyle>
            <a:lvl1pPr>
              <a:lnSpc>
                <a:spcPct val="85000"/>
              </a:lnSpc>
              <a:defRPr sz="5625" b="0" kern="1400" spc="-150" baseline="0">
                <a:latin typeface="+mj-lt"/>
              </a:defRPr>
            </a:lvl1pPr>
          </a:lstStyle>
          <a:p>
            <a:r>
              <a:rPr lang="en-US"/>
              <a:t>Click to edit Master title style</a:t>
            </a:r>
            <a:endParaRPr lang="en-US" dirty="0"/>
          </a:p>
        </p:txBody>
      </p:sp>
      <p:sp>
        <p:nvSpPr>
          <p:cNvPr id="22530" name="SubTitle_TM"/>
          <p:cNvSpPr>
            <a:spLocks noGrp="1" noChangeArrowheads="1"/>
          </p:cNvSpPr>
          <p:nvPr>
            <p:ph type="subTitle" idx="1"/>
          </p:nvPr>
        </p:nvSpPr>
        <p:spPr>
          <a:xfrm>
            <a:off x="479426" y="4149727"/>
            <a:ext cx="5472114" cy="2087563"/>
          </a:xfrm>
          <a:prstGeom prst="rect">
            <a:avLst/>
          </a:prstGeom>
        </p:spPr>
        <p:txBody>
          <a:bodyPr/>
          <a:lstStyle>
            <a:lvl1pPr marL="0" indent="0">
              <a:lnSpc>
                <a:spcPct val="100000"/>
              </a:lnSpc>
              <a:spcBef>
                <a:spcPts val="0"/>
              </a:spcBef>
              <a:buFont typeface="Ericsson Hilda Light" charset="0"/>
              <a:buNone/>
              <a:defRPr sz="1875" baseline="0">
                <a:solidFill>
                  <a:schemeClr val="tx1"/>
                </a:solidFill>
                <a:latin typeface="+mn-lt"/>
              </a:defRPr>
            </a:lvl1pPr>
          </a:lstStyle>
          <a:p>
            <a:r>
              <a:rPr lang="en-US"/>
              <a:t>Click to edit Master subtitle style</a:t>
            </a:r>
            <a:endParaRPr lang="en-US" dirty="0"/>
          </a:p>
        </p:txBody>
      </p:sp>
      <p:sp>
        <p:nvSpPr>
          <p:cNvPr id="3" name="Content Placeholder 2"/>
          <p:cNvSpPr>
            <a:spLocks noGrp="1"/>
          </p:cNvSpPr>
          <p:nvPr>
            <p:ph sz="quarter" idx="10"/>
          </p:nvPr>
        </p:nvSpPr>
        <p:spPr>
          <a:xfrm>
            <a:off x="6689214" y="6237287"/>
            <a:ext cx="2469030" cy="287336"/>
          </a:xfrm>
          <a:prstGeom prst="rect">
            <a:avLst/>
          </a:prstGeom>
        </p:spPr>
        <p:txBody>
          <a:bodyPr anchor="b"/>
          <a:lstStyle>
            <a:lvl1pPr marL="0" indent="0" algn="r">
              <a:buNone/>
              <a:defRPr sz="1125">
                <a:latin typeface="+mn-lt"/>
              </a:defRPr>
            </a:lvl1pPr>
          </a:lstStyle>
          <a:p>
            <a:pPr lvl="0"/>
            <a:r>
              <a:rPr lang="en-US"/>
              <a:t>Edit Master text styles</a:t>
            </a:r>
          </a:p>
        </p:txBody>
      </p:sp>
      <p:sp>
        <p:nvSpPr>
          <p:cNvPr id="12" name="Content Placeholder 11"/>
          <p:cNvSpPr>
            <a:spLocks noGrp="1"/>
          </p:cNvSpPr>
          <p:nvPr>
            <p:ph sz="quarter" idx="11"/>
          </p:nvPr>
        </p:nvSpPr>
        <p:spPr>
          <a:xfrm>
            <a:off x="9281601" y="6237288"/>
            <a:ext cx="1463040" cy="287337"/>
          </a:xfrm>
          <a:prstGeom prst="rect">
            <a:avLst/>
          </a:prstGeom>
          <a:noFill/>
          <a:ln w="9525">
            <a:noFill/>
            <a:miter lim="800000"/>
            <a:headEnd/>
            <a:tailEnd/>
          </a:ln>
        </p:spPr>
        <p:txBody>
          <a:bodyPr tIns="0" anchor="b"/>
          <a:lstStyle>
            <a:lvl1pPr marL="0" indent="0" algn="ctr">
              <a:buNone/>
              <a:defRPr lang="en-US" sz="1125" dirty="0">
                <a:latin typeface="+mn-lt"/>
              </a:defRPr>
            </a:lvl1pPr>
          </a:lstStyle>
          <a:p>
            <a:pPr lvl="0"/>
            <a:r>
              <a:rPr lang="en-US"/>
              <a:t>Edit Master text styles</a:t>
            </a:r>
          </a:p>
        </p:txBody>
      </p:sp>
      <p:sp>
        <p:nvSpPr>
          <p:cNvPr id="15" name="Content Placeholder 11"/>
          <p:cNvSpPr>
            <a:spLocks noGrp="1"/>
          </p:cNvSpPr>
          <p:nvPr>
            <p:ph sz="quarter" idx="12"/>
          </p:nvPr>
        </p:nvSpPr>
        <p:spPr>
          <a:xfrm>
            <a:off x="10811953" y="6237289"/>
            <a:ext cx="897503" cy="287337"/>
          </a:xfrm>
          <a:prstGeom prst="rect">
            <a:avLst/>
          </a:prstGeom>
          <a:noFill/>
          <a:ln w="9525">
            <a:noFill/>
            <a:miter lim="800000"/>
            <a:headEnd/>
            <a:tailEnd/>
          </a:ln>
        </p:spPr>
        <p:txBody>
          <a:bodyPr wrap="none" tIns="0" anchor="b"/>
          <a:lstStyle>
            <a:lvl1pPr marL="0" indent="0" algn="ctr">
              <a:buNone/>
              <a:defRPr lang="en-US" sz="1125" dirty="0">
                <a:latin typeface="+mn-lt"/>
              </a:defRPr>
            </a:lvl1pPr>
          </a:lstStyle>
          <a:p>
            <a:pPr lvl="0"/>
            <a:r>
              <a:rPr lang="en-US"/>
              <a:t>Edit Master text styles</a:t>
            </a:r>
          </a:p>
        </p:txBody>
      </p:sp>
    </p:spTree>
    <p:extLst>
      <p:ext uri="{BB962C8B-B14F-4D97-AF65-F5344CB8AC3E}">
        <p14:creationId xmlns:p14="http://schemas.microsoft.com/office/powerpoint/2010/main" val="148822662"/>
      </p:ext>
    </p:extLst>
  </p:cSld>
  <p:clrMapOvr>
    <a:masterClrMapping/>
  </p:clrMapOvr>
  <p:hf sldNum="0" hdr="0" ftr="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A64CF6-1B34-42F2-9072-2C354D1A5C3A}"/>
              </a:ext>
            </a:extLst>
          </p:cNvPr>
          <p:cNvPicPr>
            <a:picLocks noChangeAspect="1"/>
          </p:cNvPicPr>
          <p:nvPr userDrawn="1"/>
        </p:nvPicPr>
        <p:blipFill>
          <a:blip r:embed="rId2"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10" name="Rectangle 9">
            <a:extLst>
              <a:ext uri="{FF2B5EF4-FFF2-40B4-BE49-F238E27FC236}">
                <a16:creationId xmlns:a16="http://schemas.microsoft.com/office/drawing/2014/main" id="{C9726D2C-D6A3-4961-AF5D-B4506B0DE188}"/>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pPr lvl="0"/>
            <a:r>
              <a:rPr lang="en-US" noProof="0"/>
              <a:t>Click icon to add picture</a:t>
            </a:r>
            <a:endParaRPr lang="en-US" noProof="0" dirty="0"/>
          </a:p>
        </p:txBody>
      </p:sp>
      <p:sp>
        <p:nvSpPr>
          <p:cNvPr id="22531" name="Title_TM"/>
          <p:cNvSpPr>
            <a:spLocks noGrp="1" noChangeArrowheads="1"/>
          </p:cNvSpPr>
          <p:nvPr>
            <p:ph type="ctrTitle"/>
          </p:nvPr>
        </p:nvSpPr>
        <p:spPr>
          <a:xfrm>
            <a:off x="479426" y="476250"/>
            <a:ext cx="8353426" cy="2330958"/>
          </a:xfrm>
        </p:spPr>
        <p:txBody>
          <a:bodyPr/>
          <a:lstStyle>
            <a:lvl1pPr>
              <a:lnSpc>
                <a:spcPct val="85000"/>
              </a:lnSpc>
              <a:defRPr sz="5625" b="0" kern="1400" spc="-150" baseline="0">
                <a:latin typeface="+mj-lt"/>
              </a:defRPr>
            </a:lvl1pPr>
          </a:lstStyle>
          <a:p>
            <a:r>
              <a:rPr lang="en-US"/>
              <a:t>Click to edit Master title style</a:t>
            </a:r>
            <a:endParaRPr lang="en-US" dirty="0"/>
          </a:p>
        </p:txBody>
      </p:sp>
      <p:sp>
        <p:nvSpPr>
          <p:cNvPr id="22530" name="SubTitle_TM"/>
          <p:cNvSpPr>
            <a:spLocks noGrp="1" noChangeArrowheads="1"/>
          </p:cNvSpPr>
          <p:nvPr>
            <p:ph type="subTitle" idx="1"/>
          </p:nvPr>
        </p:nvSpPr>
        <p:spPr>
          <a:xfrm>
            <a:off x="479426" y="4149727"/>
            <a:ext cx="5472114" cy="2087563"/>
          </a:xfrm>
          <a:prstGeom prst="rect">
            <a:avLst/>
          </a:prstGeom>
        </p:spPr>
        <p:txBody>
          <a:bodyPr/>
          <a:lstStyle>
            <a:lvl1pPr marL="0" indent="0">
              <a:lnSpc>
                <a:spcPct val="100000"/>
              </a:lnSpc>
              <a:spcBef>
                <a:spcPts val="0"/>
              </a:spcBef>
              <a:buFont typeface="Ericsson Hilda Light" charset="0"/>
              <a:buNone/>
              <a:defRPr sz="1875" baseline="0">
                <a:solidFill>
                  <a:schemeClr val="tx1"/>
                </a:solidFill>
                <a:latin typeface="+mn-lt"/>
              </a:defRPr>
            </a:lvl1pPr>
          </a:lstStyle>
          <a:p>
            <a:r>
              <a:rPr lang="en-US"/>
              <a:t>Click to edit Master subtitle style</a:t>
            </a:r>
            <a:endParaRPr lang="en-US" dirty="0"/>
          </a:p>
        </p:txBody>
      </p:sp>
      <p:sp>
        <p:nvSpPr>
          <p:cNvPr id="3" name="Content Placeholder 2"/>
          <p:cNvSpPr>
            <a:spLocks noGrp="1"/>
          </p:cNvSpPr>
          <p:nvPr>
            <p:ph sz="quarter" idx="10"/>
          </p:nvPr>
        </p:nvSpPr>
        <p:spPr>
          <a:xfrm>
            <a:off x="6689214" y="6237287"/>
            <a:ext cx="2469030" cy="287336"/>
          </a:xfrm>
          <a:prstGeom prst="rect">
            <a:avLst/>
          </a:prstGeom>
        </p:spPr>
        <p:txBody>
          <a:bodyPr anchor="b"/>
          <a:lstStyle>
            <a:lvl1pPr marL="0" indent="0" algn="r">
              <a:buNone/>
              <a:defRPr sz="1125">
                <a:latin typeface="+mn-lt"/>
              </a:defRPr>
            </a:lvl1pPr>
          </a:lstStyle>
          <a:p>
            <a:pPr lvl="0"/>
            <a:r>
              <a:rPr lang="en-US"/>
              <a:t>Edit Master text styles</a:t>
            </a:r>
          </a:p>
        </p:txBody>
      </p:sp>
      <p:sp>
        <p:nvSpPr>
          <p:cNvPr id="12" name="Content Placeholder 11"/>
          <p:cNvSpPr>
            <a:spLocks noGrp="1"/>
          </p:cNvSpPr>
          <p:nvPr>
            <p:ph sz="quarter" idx="11"/>
          </p:nvPr>
        </p:nvSpPr>
        <p:spPr>
          <a:xfrm>
            <a:off x="9281601" y="6237288"/>
            <a:ext cx="1463040" cy="287337"/>
          </a:xfrm>
          <a:prstGeom prst="rect">
            <a:avLst/>
          </a:prstGeom>
          <a:noFill/>
          <a:ln w="9525">
            <a:noFill/>
            <a:miter lim="800000"/>
            <a:headEnd/>
            <a:tailEnd/>
          </a:ln>
        </p:spPr>
        <p:txBody>
          <a:bodyPr tIns="0" anchor="b"/>
          <a:lstStyle>
            <a:lvl1pPr marL="0" indent="0" algn="ctr">
              <a:buNone/>
              <a:defRPr lang="en-US" sz="1125" dirty="0">
                <a:latin typeface="+mn-lt"/>
              </a:defRPr>
            </a:lvl1pPr>
          </a:lstStyle>
          <a:p>
            <a:pPr lvl="0"/>
            <a:r>
              <a:rPr lang="en-US"/>
              <a:t>Edit Master text styles</a:t>
            </a:r>
          </a:p>
        </p:txBody>
      </p:sp>
      <p:sp>
        <p:nvSpPr>
          <p:cNvPr id="15" name="Content Placeholder 11"/>
          <p:cNvSpPr>
            <a:spLocks noGrp="1"/>
          </p:cNvSpPr>
          <p:nvPr>
            <p:ph sz="quarter" idx="12"/>
          </p:nvPr>
        </p:nvSpPr>
        <p:spPr>
          <a:xfrm>
            <a:off x="10811953" y="6237289"/>
            <a:ext cx="897503" cy="287337"/>
          </a:xfrm>
          <a:prstGeom prst="rect">
            <a:avLst/>
          </a:prstGeom>
          <a:noFill/>
          <a:ln w="9525">
            <a:noFill/>
            <a:miter lim="800000"/>
            <a:headEnd/>
            <a:tailEnd/>
          </a:ln>
        </p:spPr>
        <p:txBody>
          <a:bodyPr wrap="none" tIns="0" anchor="b"/>
          <a:lstStyle>
            <a:lvl1pPr marL="0" indent="0" algn="ctr">
              <a:buNone/>
              <a:defRPr lang="en-US" sz="1125" dirty="0">
                <a:latin typeface="+mn-lt"/>
              </a:defRPr>
            </a:lvl1pPr>
          </a:lstStyle>
          <a:p>
            <a:pPr lvl="0"/>
            <a:r>
              <a:rPr lang="en-US"/>
              <a:t>Edit Master text styles</a:t>
            </a:r>
          </a:p>
        </p:txBody>
      </p:sp>
    </p:spTree>
    <p:extLst>
      <p:ext uri="{BB962C8B-B14F-4D97-AF65-F5344CB8AC3E}">
        <p14:creationId xmlns:p14="http://schemas.microsoft.com/office/powerpoint/2010/main" val="2199685118"/>
      </p:ext>
    </p:extLst>
  </p:cSld>
  <p:clrMapOvr>
    <a:masterClrMapping/>
  </p:clrMapOvr>
  <p:hf sldNum="0" hdr="0" ftr="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pic>
        <p:nvPicPr>
          <p:cNvPr id="9" name="Picture 11">
            <a:extLst>
              <a:ext uri="{FF2B5EF4-FFF2-40B4-BE49-F238E27FC236}">
                <a16:creationId xmlns:a16="http://schemas.microsoft.com/office/drawing/2014/main" id="{2030C56C-648B-4655-831F-8EE0C5E0775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19747" y="481014"/>
            <a:ext cx="189653"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93AC9452-8942-46E7-82B2-C7681768B9B0}"/>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pPr lvl="0"/>
            <a:r>
              <a:rPr lang="en-US" noProof="0"/>
              <a:t>Click icon to add picture</a:t>
            </a:r>
            <a:endParaRPr lang="en-US" noProof="0" dirty="0"/>
          </a:p>
        </p:txBody>
      </p:sp>
      <p:sp>
        <p:nvSpPr>
          <p:cNvPr id="22531" name="Title_TM"/>
          <p:cNvSpPr>
            <a:spLocks noGrp="1" noChangeArrowheads="1"/>
          </p:cNvSpPr>
          <p:nvPr>
            <p:ph type="ctrTitle"/>
          </p:nvPr>
        </p:nvSpPr>
        <p:spPr>
          <a:xfrm>
            <a:off x="479426" y="476250"/>
            <a:ext cx="8353426" cy="2330958"/>
          </a:xfrm>
        </p:spPr>
        <p:txBody>
          <a:bodyPr/>
          <a:lstStyle>
            <a:lvl1pPr>
              <a:lnSpc>
                <a:spcPct val="85000"/>
              </a:lnSpc>
              <a:defRPr sz="5625" b="0" kern="1400" spc="-150" baseline="0">
                <a:solidFill>
                  <a:schemeClr val="bg1"/>
                </a:solidFill>
                <a:latin typeface="+mj-lt"/>
              </a:defRPr>
            </a:lvl1pPr>
          </a:lstStyle>
          <a:p>
            <a:r>
              <a:rPr lang="en-US"/>
              <a:t>Click to edit Master title style</a:t>
            </a:r>
            <a:endParaRPr lang="en-US" dirty="0"/>
          </a:p>
        </p:txBody>
      </p:sp>
      <p:sp>
        <p:nvSpPr>
          <p:cNvPr id="22530" name="SubTitle_TM"/>
          <p:cNvSpPr>
            <a:spLocks noGrp="1" noChangeArrowheads="1"/>
          </p:cNvSpPr>
          <p:nvPr>
            <p:ph type="subTitle" idx="1"/>
          </p:nvPr>
        </p:nvSpPr>
        <p:spPr>
          <a:xfrm>
            <a:off x="479426" y="4149727"/>
            <a:ext cx="5472114" cy="2087563"/>
          </a:xfrm>
          <a:prstGeom prst="rect">
            <a:avLst/>
          </a:prstGeom>
        </p:spPr>
        <p:txBody>
          <a:bodyPr/>
          <a:lstStyle>
            <a:lvl1pPr marL="0" indent="0">
              <a:lnSpc>
                <a:spcPct val="100000"/>
              </a:lnSpc>
              <a:spcBef>
                <a:spcPts val="0"/>
              </a:spcBef>
              <a:buFont typeface="Ericsson Hilda Light" charset="0"/>
              <a:buNone/>
              <a:defRPr sz="1875" baseline="0">
                <a:solidFill>
                  <a:schemeClr val="bg1"/>
                </a:solidFill>
                <a:latin typeface="+mn-lt"/>
              </a:defRPr>
            </a:lvl1pPr>
          </a:lstStyle>
          <a:p>
            <a:r>
              <a:rPr lang="en-US"/>
              <a:t>Click to edit Master subtitle style</a:t>
            </a:r>
            <a:endParaRPr lang="en-US" dirty="0"/>
          </a:p>
        </p:txBody>
      </p:sp>
      <p:sp>
        <p:nvSpPr>
          <p:cNvPr id="3" name="Content Placeholder 2"/>
          <p:cNvSpPr>
            <a:spLocks noGrp="1"/>
          </p:cNvSpPr>
          <p:nvPr>
            <p:ph sz="quarter" idx="10"/>
          </p:nvPr>
        </p:nvSpPr>
        <p:spPr>
          <a:xfrm>
            <a:off x="6689214" y="6237287"/>
            <a:ext cx="2469030" cy="287336"/>
          </a:xfrm>
          <a:prstGeom prst="rect">
            <a:avLst/>
          </a:prstGeom>
        </p:spPr>
        <p:txBody>
          <a:bodyPr anchor="b"/>
          <a:lstStyle>
            <a:lvl1pPr marL="0" indent="0" algn="r">
              <a:buNone/>
              <a:defRPr sz="1125">
                <a:solidFill>
                  <a:schemeClr val="bg1"/>
                </a:solidFill>
                <a:latin typeface="+mn-lt"/>
              </a:defRPr>
            </a:lvl1pPr>
          </a:lstStyle>
          <a:p>
            <a:pPr lvl="0"/>
            <a:r>
              <a:rPr lang="en-US"/>
              <a:t>Edit Master text styles</a:t>
            </a:r>
          </a:p>
        </p:txBody>
      </p:sp>
      <p:sp>
        <p:nvSpPr>
          <p:cNvPr id="12" name="Content Placeholder 11"/>
          <p:cNvSpPr>
            <a:spLocks noGrp="1"/>
          </p:cNvSpPr>
          <p:nvPr>
            <p:ph sz="quarter" idx="11"/>
          </p:nvPr>
        </p:nvSpPr>
        <p:spPr>
          <a:xfrm>
            <a:off x="9281601" y="6237288"/>
            <a:ext cx="1463040" cy="287337"/>
          </a:xfrm>
          <a:prstGeom prst="rect">
            <a:avLst/>
          </a:prstGeom>
          <a:noFill/>
          <a:ln w="9525">
            <a:noFill/>
            <a:miter lim="800000"/>
            <a:headEnd/>
            <a:tailEnd/>
          </a:ln>
        </p:spPr>
        <p:txBody>
          <a:bodyPr tIns="0" anchor="b"/>
          <a:lstStyle>
            <a:lvl1pPr marL="0" indent="0" algn="ctr">
              <a:buNone/>
              <a:defRPr lang="en-US" sz="1125" dirty="0">
                <a:solidFill>
                  <a:schemeClr val="bg1"/>
                </a:solidFill>
                <a:latin typeface="+mn-lt"/>
              </a:defRPr>
            </a:lvl1pPr>
          </a:lstStyle>
          <a:p>
            <a:pPr lvl="0"/>
            <a:r>
              <a:rPr lang="en-US"/>
              <a:t>Edit Master text styles</a:t>
            </a:r>
          </a:p>
        </p:txBody>
      </p:sp>
      <p:sp>
        <p:nvSpPr>
          <p:cNvPr id="15" name="Content Placeholder 11"/>
          <p:cNvSpPr>
            <a:spLocks noGrp="1"/>
          </p:cNvSpPr>
          <p:nvPr>
            <p:ph sz="quarter" idx="12"/>
          </p:nvPr>
        </p:nvSpPr>
        <p:spPr>
          <a:xfrm>
            <a:off x="10811953" y="6237289"/>
            <a:ext cx="897503" cy="287337"/>
          </a:xfrm>
          <a:prstGeom prst="rect">
            <a:avLst/>
          </a:prstGeom>
          <a:noFill/>
          <a:ln w="9525">
            <a:noFill/>
            <a:miter lim="800000"/>
            <a:headEnd/>
            <a:tailEnd/>
          </a:ln>
        </p:spPr>
        <p:txBody>
          <a:bodyPr wrap="none" tIns="0" anchor="b"/>
          <a:lstStyle>
            <a:lvl1pPr marL="0" indent="0" algn="ctr">
              <a:buNone/>
              <a:defRPr lang="en-US" sz="1125" dirty="0">
                <a:solidFill>
                  <a:schemeClr val="bg1"/>
                </a:solidFill>
                <a:latin typeface="+mn-lt"/>
              </a:defRPr>
            </a:lvl1pPr>
          </a:lstStyle>
          <a:p>
            <a:pPr lvl="0"/>
            <a:r>
              <a:rPr lang="en-US"/>
              <a:t>Edit Master text styles</a:t>
            </a:r>
          </a:p>
        </p:txBody>
      </p:sp>
    </p:spTree>
    <p:extLst>
      <p:ext uri="{BB962C8B-B14F-4D97-AF65-F5344CB8AC3E}">
        <p14:creationId xmlns:p14="http://schemas.microsoft.com/office/powerpoint/2010/main" val="4218263272"/>
      </p:ext>
    </p:extLst>
  </p:cSld>
  <p:clrMapOvr>
    <a:masterClrMapping/>
  </p:clrMapOvr>
  <p:hf sldNum="0" hdr="0" ftr="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FFB849E-5416-4275-AA0E-628D6937DF7B}"/>
              </a:ext>
            </a:extLst>
          </p:cNvPr>
          <p:cNvPicPr>
            <a:picLocks noChangeAspect="1"/>
          </p:cNvPicPr>
          <p:nvPr userDrawn="1"/>
        </p:nvPicPr>
        <p:blipFill>
          <a:blip r:embed="rId2"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5" name="Rectangle 4">
            <a:extLst>
              <a:ext uri="{FF2B5EF4-FFF2-40B4-BE49-F238E27FC236}">
                <a16:creationId xmlns:a16="http://schemas.microsoft.com/office/drawing/2014/main" id="{9EC1138F-CDD7-4027-9A4A-A126EE436B7D}"/>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p:nvPr>
        </p:nvSpPr>
        <p:spPr>
          <a:xfrm>
            <a:off x="479426" y="476252"/>
            <a:ext cx="8353426" cy="3457575"/>
          </a:xfrm>
          <a:noFill/>
          <a:ln w="9525">
            <a:noFill/>
            <a:miter lim="800000"/>
            <a:headEnd/>
            <a:tailEnd/>
          </a:ln>
        </p:spPr>
        <p:txBody>
          <a:bodyPr/>
          <a:lstStyle>
            <a:lvl1pPr>
              <a:defRPr lang="en-US" sz="5625" b="0" dirty="0">
                <a:solidFill>
                  <a:schemeClr val="tx1"/>
                </a:solidFill>
                <a:latin typeface="+mj-lt"/>
              </a:defRPr>
            </a:lvl1pPr>
          </a:lstStyle>
          <a:p>
            <a:pPr lvl="0"/>
            <a:r>
              <a:rPr lang="en-US"/>
              <a:t>Click to edit Master title style</a:t>
            </a:r>
            <a:endParaRPr lang="en-US" dirty="0"/>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p:nvPr>
        </p:nvSpPr>
        <p:spPr>
          <a:xfrm>
            <a:off x="479426" y="4149726"/>
            <a:ext cx="5472112" cy="2087562"/>
          </a:xfrm>
          <a:prstGeom prst="rect">
            <a:avLst/>
          </a:prstGeom>
        </p:spPr>
        <p:txBody>
          <a:bodyPr/>
          <a:lstStyle>
            <a:lvl1pPr marL="0" indent="0">
              <a:lnSpc>
                <a:spcPct val="100000"/>
              </a:lnSpc>
              <a:spcBef>
                <a:spcPts val="0"/>
              </a:spcBef>
              <a:buFont typeface="Ericsson Hilda Light" charset="0"/>
              <a:buNone/>
              <a:defRPr sz="1875" baseline="0">
                <a:solidFill>
                  <a:schemeClr val="tx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689764462"/>
      </p:ext>
    </p:extLst>
  </p:cSld>
  <p:clrMapOvr>
    <a:masterClrMapping/>
  </p:clrMapOvr>
  <p:hf sldNum="0" hdr="0" ftr="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ADFECC0-56F2-40AB-B881-FC2F86CBFAFC}"/>
              </a:ext>
            </a:extLst>
          </p:cNvPr>
          <p:cNvPicPr>
            <a:picLocks noChangeAspect="1"/>
          </p:cNvPicPr>
          <p:nvPr userDrawn="1"/>
        </p:nvPicPr>
        <p:blipFill>
          <a:blip r:embed="rId2"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pPr lvl="0"/>
            <a:r>
              <a:rPr lang="en-US" noProof="0"/>
              <a:t>Click icon to add picture</a:t>
            </a:r>
            <a:endParaRPr lang="en-US" noProof="0" dirty="0"/>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p:nvPr>
        </p:nvSpPr>
        <p:spPr>
          <a:xfrm>
            <a:off x="479426" y="476252"/>
            <a:ext cx="8353426" cy="2288721"/>
          </a:xfrm>
          <a:noFill/>
          <a:ln w="9525">
            <a:noFill/>
            <a:miter lim="800000"/>
            <a:headEnd/>
            <a:tailEnd/>
          </a:ln>
        </p:spPr>
        <p:txBody>
          <a:bodyPr/>
          <a:lstStyle>
            <a:lvl1pPr>
              <a:defRPr lang="en-US" sz="5625" b="0" dirty="0">
                <a:solidFill>
                  <a:schemeClr val="tx1"/>
                </a:solidFill>
              </a:defRPr>
            </a:lvl1pPr>
          </a:lstStyle>
          <a:p>
            <a:pPr lvl="0"/>
            <a:r>
              <a:rPr lang="en-US"/>
              <a:t>Click to edit Master title style</a:t>
            </a:r>
            <a:endParaRPr lang="en-US" dirty="0"/>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p:nvPr>
        </p:nvSpPr>
        <p:spPr>
          <a:xfrm>
            <a:off x="479424" y="4149727"/>
            <a:ext cx="5472113" cy="2087563"/>
          </a:xfrm>
          <a:prstGeom prst="rect">
            <a:avLst/>
          </a:prstGeom>
        </p:spPr>
        <p:txBody>
          <a:bodyPr/>
          <a:lstStyle>
            <a:lvl1pPr marL="0" indent="0">
              <a:lnSpc>
                <a:spcPct val="100000"/>
              </a:lnSpc>
              <a:spcBef>
                <a:spcPts val="0"/>
              </a:spcBef>
              <a:buFont typeface="Ericsson Hilda Light" charset="0"/>
              <a:buNone/>
              <a:defRPr sz="1875" baseline="0">
                <a:solidFill>
                  <a:schemeClr val="tx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1248526604"/>
      </p:ext>
    </p:extLst>
  </p:cSld>
  <p:clrMapOvr>
    <a:masterClrMapping/>
  </p:clrMapOvr>
  <p:hf sldNum="0" hdr="0" ftr="0"/>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pic>
        <p:nvPicPr>
          <p:cNvPr id="5" name="Picture 11">
            <a:extLst>
              <a:ext uri="{FF2B5EF4-FFF2-40B4-BE49-F238E27FC236}">
                <a16:creationId xmlns:a16="http://schemas.microsoft.com/office/drawing/2014/main" id="{B1B577A1-A3D6-4CE0-8075-76AD847ED4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23134" y="476250"/>
            <a:ext cx="189653"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1193BE71-D3AD-4326-B993-C9677668F771}"/>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pPr lvl="0"/>
            <a:r>
              <a:rPr lang="en-US" noProof="0"/>
              <a:t>Click icon to add picture</a:t>
            </a:r>
            <a:endParaRPr lang="en-US" noProof="0" dirty="0"/>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p:nvPr>
        </p:nvSpPr>
        <p:spPr>
          <a:xfrm>
            <a:off x="479426" y="476252"/>
            <a:ext cx="8353426" cy="2288721"/>
          </a:xfrm>
          <a:noFill/>
          <a:ln w="9525">
            <a:noFill/>
            <a:miter lim="800000"/>
            <a:headEnd/>
            <a:tailEnd/>
          </a:ln>
        </p:spPr>
        <p:txBody>
          <a:bodyPr/>
          <a:lstStyle>
            <a:lvl1pPr>
              <a:defRPr lang="en-US" sz="5625" b="0" dirty="0">
                <a:solidFill>
                  <a:schemeClr val="bg1"/>
                </a:solidFill>
              </a:defRPr>
            </a:lvl1pPr>
          </a:lstStyle>
          <a:p>
            <a:pPr lvl="0"/>
            <a:r>
              <a:rPr lang="en-US"/>
              <a:t>Click to edit Master title style</a:t>
            </a:r>
            <a:endParaRPr lang="en-US" dirty="0"/>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p:nvPr>
        </p:nvSpPr>
        <p:spPr>
          <a:xfrm>
            <a:off x="479424" y="4149727"/>
            <a:ext cx="5472113" cy="2087563"/>
          </a:xfrm>
          <a:prstGeom prst="rect">
            <a:avLst/>
          </a:prstGeom>
        </p:spPr>
        <p:txBody>
          <a:bodyPr/>
          <a:lstStyle>
            <a:lvl1pPr marL="0" indent="0">
              <a:lnSpc>
                <a:spcPct val="100000"/>
              </a:lnSpc>
              <a:spcBef>
                <a:spcPts val="0"/>
              </a:spcBef>
              <a:buFont typeface="Ericsson Hilda Light" charset="0"/>
              <a:buNone/>
              <a:defRPr sz="1875" baseline="0">
                <a:solidFill>
                  <a:schemeClr val="bg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219508425"/>
      </p:ext>
    </p:extLst>
  </p:cSld>
  <p:clrMapOvr>
    <a:masterClrMapping/>
  </p:clrMapOvr>
  <p:hf sldNum="0" hdr="0" ftr="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D4EB8AB-4C9C-4F4F-BBD2-A335E0A7B981}"/>
              </a:ext>
            </a:extLst>
          </p:cNvPr>
          <p:cNvSpPr>
            <a:spLocks noChangeArrowheads="1"/>
          </p:cNvSpPr>
          <p:nvPr userDrawn="1"/>
        </p:nvSpPr>
        <p:spPr bwMode="auto">
          <a:xfrm>
            <a:off x="0" y="0"/>
            <a:ext cx="12192000" cy="6858000"/>
          </a:xfrm>
          <a:prstGeom prst="rect">
            <a:avLst/>
          </a:prstGeom>
          <a:solidFill>
            <a:schemeClr val="accent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67500" rIns="67500"/>
          <a:lstStyle>
            <a:lvl1pPr>
              <a:defRPr>
                <a:solidFill>
                  <a:schemeClr val="tx1"/>
                </a:solidFill>
                <a:latin typeface="Ericsson Hilda" panose="00000500000000000000" pitchFamily="2" charset="0"/>
              </a:defRPr>
            </a:lvl1pPr>
            <a:lvl2pPr marL="742950" indent="-285750">
              <a:defRPr>
                <a:solidFill>
                  <a:schemeClr val="tx1"/>
                </a:solidFill>
                <a:latin typeface="Ericsson Hilda" panose="00000500000000000000" pitchFamily="2" charset="0"/>
              </a:defRPr>
            </a:lvl2pPr>
            <a:lvl3pPr marL="1143000" indent="-228600">
              <a:defRPr>
                <a:solidFill>
                  <a:schemeClr val="tx1"/>
                </a:solidFill>
                <a:latin typeface="Ericsson Hilda" panose="00000500000000000000" pitchFamily="2" charset="0"/>
              </a:defRPr>
            </a:lvl3pPr>
            <a:lvl4pPr marL="1600200" indent="-228600">
              <a:defRPr>
                <a:solidFill>
                  <a:schemeClr val="tx1"/>
                </a:solidFill>
                <a:latin typeface="Ericsson Hilda" panose="00000500000000000000" pitchFamily="2" charset="0"/>
              </a:defRPr>
            </a:lvl4pPr>
            <a:lvl5pPr marL="2057400" indent="-228600">
              <a:defRPr>
                <a:solidFill>
                  <a:schemeClr val="tx1"/>
                </a:solidFill>
                <a:latin typeface="Ericsson Hilda" panose="00000500000000000000" pitchFamily="2" charset="0"/>
              </a:defRPr>
            </a:lvl5pPr>
            <a:lvl6pPr marL="2514600" indent="-228600" eaLnBrk="0" fontAlgn="base" hangingPunct="0">
              <a:spcBef>
                <a:spcPct val="0"/>
              </a:spcBef>
              <a:spcAft>
                <a:spcPct val="0"/>
              </a:spcAft>
              <a:defRPr>
                <a:solidFill>
                  <a:schemeClr val="tx1"/>
                </a:solidFill>
                <a:latin typeface="Ericsson Hilda" panose="00000500000000000000" pitchFamily="2" charset="0"/>
              </a:defRPr>
            </a:lvl6pPr>
            <a:lvl7pPr marL="2971800" indent="-228600" eaLnBrk="0" fontAlgn="base" hangingPunct="0">
              <a:spcBef>
                <a:spcPct val="0"/>
              </a:spcBef>
              <a:spcAft>
                <a:spcPct val="0"/>
              </a:spcAft>
              <a:defRPr>
                <a:solidFill>
                  <a:schemeClr val="tx1"/>
                </a:solidFill>
                <a:latin typeface="Ericsson Hilda" panose="00000500000000000000" pitchFamily="2" charset="0"/>
              </a:defRPr>
            </a:lvl7pPr>
            <a:lvl8pPr marL="3429000" indent="-228600" eaLnBrk="0" fontAlgn="base" hangingPunct="0">
              <a:spcBef>
                <a:spcPct val="0"/>
              </a:spcBef>
              <a:spcAft>
                <a:spcPct val="0"/>
              </a:spcAft>
              <a:defRPr>
                <a:solidFill>
                  <a:schemeClr val="tx1"/>
                </a:solidFill>
                <a:latin typeface="Ericsson Hilda" panose="00000500000000000000" pitchFamily="2" charset="0"/>
              </a:defRPr>
            </a:lvl8pPr>
            <a:lvl9pPr marL="3886200" indent="-228600" eaLnBrk="0" fontAlgn="base" hangingPunct="0">
              <a:spcBef>
                <a:spcPct val="0"/>
              </a:spcBef>
              <a:spcAft>
                <a:spcPct val="0"/>
              </a:spcAft>
              <a:defRPr>
                <a:solidFill>
                  <a:schemeClr val="tx1"/>
                </a:solidFill>
                <a:latin typeface="Ericsson Hilda" panose="00000500000000000000" pitchFamily="2" charset="0"/>
              </a:defRPr>
            </a:lvl9pPr>
          </a:lstStyle>
          <a:p>
            <a:pPr>
              <a:spcBef>
                <a:spcPct val="50000"/>
              </a:spcBef>
              <a:defRPr/>
            </a:pPr>
            <a:endParaRPr lang="en-US" altLang="en-US" sz="1800">
              <a:latin typeface="Ericsson Hilda Light" panose="00000400000000000000" pitchFamily="2" charset="0"/>
            </a:endParaRPr>
          </a:p>
        </p:txBody>
      </p:sp>
      <p:pic>
        <p:nvPicPr>
          <p:cNvPr id="5" name="Picture 11">
            <a:extLst>
              <a:ext uri="{FF2B5EF4-FFF2-40B4-BE49-F238E27FC236}">
                <a16:creationId xmlns:a16="http://schemas.microsoft.com/office/drawing/2014/main" id="{E16BD774-DE95-4EF7-ADBB-83B65C3D276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23134" y="476250"/>
            <a:ext cx="189653"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p:nvPr>
        </p:nvSpPr>
        <p:spPr>
          <a:xfrm>
            <a:off x="479424" y="476252"/>
            <a:ext cx="8353425" cy="3457575"/>
          </a:xfrm>
          <a:noFill/>
          <a:ln w="9525">
            <a:noFill/>
            <a:miter lim="800000"/>
            <a:headEnd/>
            <a:tailEnd/>
          </a:ln>
        </p:spPr>
        <p:txBody>
          <a:bodyPr/>
          <a:lstStyle>
            <a:lvl1pPr>
              <a:defRPr lang="en-US" sz="5625" b="0" dirty="0">
                <a:solidFill>
                  <a:schemeClr val="bg1"/>
                </a:solidFill>
              </a:defRPr>
            </a:lvl1pPr>
          </a:lstStyle>
          <a:p>
            <a:pPr lvl="0"/>
            <a:r>
              <a:rPr lang="en-US"/>
              <a:t>Click to edit Master title style</a:t>
            </a:r>
            <a:endParaRPr lang="en-US" dirty="0"/>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p:nvPr>
        </p:nvSpPr>
        <p:spPr>
          <a:xfrm>
            <a:off x="479425" y="4149727"/>
            <a:ext cx="5472113" cy="2087563"/>
          </a:xfrm>
          <a:prstGeom prst="rect">
            <a:avLst/>
          </a:prstGeom>
        </p:spPr>
        <p:txBody>
          <a:bodyPr anchor="ctr"/>
          <a:lstStyle>
            <a:lvl1pPr marL="0" indent="0">
              <a:lnSpc>
                <a:spcPct val="100000"/>
              </a:lnSpc>
              <a:spcBef>
                <a:spcPts val="0"/>
              </a:spcBef>
              <a:buFont typeface="Ericsson Hilda Light" charset="0"/>
              <a:buNone/>
              <a:defRPr sz="1875" baseline="0">
                <a:solidFill>
                  <a:schemeClr val="bg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1404518366"/>
      </p:ext>
    </p:extLst>
  </p:cSld>
  <p:clrMapOvr>
    <a:masterClrMapping/>
  </p:clrMapOvr>
  <p:hf sldNum="0" hdr="0" ft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latin typeface="+mn-lt"/>
              </a:defRPr>
            </a:lvl1pPr>
          </a:lstStyle>
          <a:p>
            <a:r>
              <a:rPr lang="en-US" dirty="0"/>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pic>
        <p:nvPicPr>
          <p:cNvPr id="16" name="Picture 15">
            <a:extLst>
              <a:ext uri="{FF2B5EF4-FFF2-40B4-BE49-F238E27FC236}">
                <a16:creationId xmlns:a16="http://schemas.microsoft.com/office/drawing/2014/main" id="{47BE5E08-5EB6-4E17-8FB8-40199F9803E0}"/>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9" name="Rectangle 8">
            <a:extLst>
              <a:ext uri="{FF2B5EF4-FFF2-40B4-BE49-F238E27FC236}">
                <a16:creationId xmlns:a16="http://schemas.microsoft.com/office/drawing/2014/main" id="{6C0A9463-F690-408A-886E-5244077792B4}"/>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999758604"/>
      </p:ext>
    </p:extLst>
  </p:cSld>
  <p:clrMapOvr>
    <a:masterClrMapping/>
  </p:clrMapOvr>
  <p:hf sldNum="0" hdr="0" ftr="0"/>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 Hilda Light 40pt, </a:t>
            </a:r>
            <a:r>
              <a:rPr lang="en-US" dirty="0" err="1"/>
              <a:t>Eri</a:t>
            </a:r>
            <a:r>
              <a:rPr lang="en-US" dirty="0"/>
              <a:t>. Black, max 2-lines</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dirty="0"/>
              <a:t>     Click icon to add picture</a:t>
            </a:r>
          </a:p>
        </p:txBody>
      </p:sp>
      <p:sp>
        <p:nvSpPr>
          <p:cNvPr id="5" name="Rectangle 4">
            <a:extLst>
              <a:ext uri="{FF2B5EF4-FFF2-40B4-BE49-F238E27FC236}">
                <a16:creationId xmlns:a16="http://schemas.microsoft.com/office/drawing/2014/main" id="{6372813E-7035-48C2-B518-B19F1BF59362}"/>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58434728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7C554BC-96BA-4D7F-887E-2EA166C28894}"/>
              </a:ext>
            </a:extLst>
          </p:cNvPr>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67500" rIns="675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sz="1875" dirty="0">
              <a:latin typeface="Ericsson Hilda Light" panose="00000400000000000000" pitchFamily="2" charset="0"/>
            </a:endParaRPr>
          </a:p>
        </p:txBody>
      </p:sp>
      <p:pic>
        <p:nvPicPr>
          <p:cNvPr id="5" name="Picture 11">
            <a:extLst>
              <a:ext uri="{FF2B5EF4-FFF2-40B4-BE49-F238E27FC236}">
                <a16:creationId xmlns:a16="http://schemas.microsoft.com/office/drawing/2014/main" id="{638A4337-E361-41CB-A0A5-622F5FF858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23134" y="476250"/>
            <a:ext cx="189653"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68F0DEAA-DB55-4937-99EA-D02C33CC9384}"/>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p:nvPr>
        </p:nvSpPr>
        <p:spPr>
          <a:xfrm>
            <a:off x="479426" y="476252"/>
            <a:ext cx="8353426" cy="3457575"/>
          </a:xfrm>
          <a:noFill/>
          <a:ln w="9525">
            <a:noFill/>
            <a:miter lim="800000"/>
            <a:headEnd/>
            <a:tailEnd/>
          </a:ln>
        </p:spPr>
        <p:txBody>
          <a:bodyPr/>
          <a:lstStyle>
            <a:lvl1pPr>
              <a:defRPr lang="en-US" sz="5625" b="0" dirty="0">
                <a:solidFill>
                  <a:schemeClr val="bg1"/>
                </a:solidFill>
              </a:defRPr>
            </a:lvl1pPr>
          </a:lstStyle>
          <a:p>
            <a:pPr lvl="0"/>
            <a:r>
              <a:rPr lang="en-US"/>
              <a:t>Click to edit Master title style</a:t>
            </a:r>
            <a:endParaRPr lang="en-US" dirty="0"/>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p:nvPr>
        </p:nvSpPr>
        <p:spPr>
          <a:xfrm>
            <a:off x="479424" y="4149727"/>
            <a:ext cx="5472113" cy="2087563"/>
          </a:xfrm>
          <a:prstGeom prst="rect">
            <a:avLst/>
          </a:prstGeom>
        </p:spPr>
        <p:txBody>
          <a:bodyPr anchor="ctr"/>
          <a:lstStyle>
            <a:lvl1pPr marL="0" indent="0">
              <a:lnSpc>
                <a:spcPct val="100000"/>
              </a:lnSpc>
              <a:spcBef>
                <a:spcPts val="0"/>
              </a:spcBef>
              <a:buFont typeface="Ericsson Hilda Light" charset="0"/>
              <a:buNone/>
              <a:defRPr sz="1875" baseline="0">
                <a:solidFill>
                  <a:schemeClr val="bg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2271161323"/>
      </p:ext>
    </p:extLst>
  </p:cSld>
  <p:clrMapOvr>
    <a:masterClrMapping/>
  </p:clrMapOvr>
  <p:hf sldNum="0" hdr="0" ftr="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F68E39-A12B-44DD-9496-D7A03B26FE0A}"/>
              </a:ext>
            </a:extLst>
          </p:cNvPr>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67500" rIns="67500"/>
          <a:lstStyle/>
          <a:p>
            <a:pPr>
              <a:spcBef>
                <a:spcPct val="50000"/>
              </a:spcBef>
              <a:defRPr/>
            </a:pPr>
            <a:endParaRPr lang="en-US" sz="1800" dirty="0">
              <a:latin typeface="Ericsson Hilda Light" panose="00000400000000000000" pitchFamily="2" charset="0"/>
            </a:endParaRPr>
          </a:p>
        </p:txBody>
      </p:sp>
      <p:pic>
        <p:nvPicPr>
          <p:cNvPr id="5" name="Picture 11">
            <a:extLst>
              <a:ext uri="{FF2B5EF4-FFF2-40B4-BE49-F238E27FC236}">
                <a16:creationId xmlns:a16="http://schemas.microsoft.com/office/drawing/2014/main" id="{B2131D79-8DC2-40BD-8C22-83CF94A48E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23134" y="476250"/>
            <a:ext cx="189653"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p:nvPr>
        </p:nvSpPr>
        <p:spPr>
          <a:xfrm>
            <a:off x="479426" y="476252"/>
            <a:ext cx="8353426" cy="3457575"/>
          </a:xfrm>
          <a:noFill/>
          <a:ln w="9525">
            <a:noFill/>
            <a:miter lim="800000"/>
            <a:headEnd/>
            <a:tailEnd/>
          </a:ln>
        </p:spPr>
        <p:txBody>
          <a:bodyPr/>
          <a:lstStyle>
            <a:lvl1pPr>
              <a:defRPr lang="en-US" sz="5625" b="0" dirty="0">
                <a:solidFill>
                  <a:schemeClr val="bg1"/>
                </a:solidFill>
              </a:defRPr>
            </a:lvl1pPr>
          </a:lstStyle>
          <a:p>
            <a:pPr lvl="0"/>
            <a:r>
              <a:rPr lang="en-US"/>
              <a:t>Click to edit Master title style</a:t>
            </a:r>
            <a:endParaRPr lang="en-US" dirty="0"/>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p:nvPr>
        </p:nvSpPr>
        <p:spPr>
          <a:xfrm>
            <a:off x="479424" y="4149727"/>
            <a:ext cx="5472113" cy="2087563"/>
          </a:xfrm>
          <a:prstGeom prst="rect">
            <a:avLst/>
          </a:prstGeom>
        </p:spPr>
        <p:txBody>
          <a:bodyPr anchor="ctr"/>
          <a:lstStyle>
            <a:lvl1pPr marL="0" indent="0">
              <a:lnSpc>
                <a:spcPct val="100000"/>
              </a:lnSpc>
              <a:spcBef>
                <a:spcPts val="0"/>
              </a:spcBef>
              <a:buFont typeface="Ericsson Hilda Light" charset="0"/>
              <a:buNone/>
              <a:defRPr sz="1875" baseline="0">
                <a:solidFill>
                  <a:schemeClr val="bg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2871504245"/>
      </p:ext>
    </p:extLst>
  </p:cSld>
  <p:clrMapOvr>
    <a:masterClrMapping/>
  </p:clrMapOvr>
  <p:hf sldNum="0" hdr="0" ftr="0"/>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9556E4-A7C8-4142-BD60-7B8AAAFC2D4D}"/>
              </a:ext>
            </a:extLst>
          </p:cNvPr>
          <p:cNvSpPr>
            <a:spLocks noChangeArrowheads="1"/>
          </p:cNvSpPr>
          <p:nvPr userDrawn="1"/>
        </p:nvSpPr>
        <p:spPr bwMode="auto">
          <a:xfrm>
            <a:off x="0" y="0"/>
            <a:ext cx="12192000" cy="6858000"/>
          </a:xfrm>
          <a:prstGeom prst="rect">
            <a:avLst/>
          </a:prstGeom>
          <a:solidFill>
            <a:schemeClr val="accent5"/>
          </a:solidFill>
          <a:ln>
            <a:noFill/>
          </a:ln>
          <a:extLst/>
        </p:spPr>
        <p:txBody>
          <a:bodyPr wrap="none" lIns="67500" rIns="675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sz="1875" dirty="0">
              <a:latin typeface="Ericsson Hilda Light" panose="00000400000000000000" pitchFamily="2" charset="0"/>
            </a:endParaRPr>
          </a:p>
        </p:txBody>
      </p:sp>
      <p:pic>
        <p:nvPicPr>
          <p:cNvPr id="5" name="Picture 11">
            <a:extLst>
              <a:ext uri="{FF2B5EF4-FFF2-40B4-BE49-F238E27FC236}">
                <a16:creationId xmlns:a16="http://schemas.microsoft.com/office/drawing/2014/main" id="{60808569-D9EC-416A-A1E4-D7496148541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23134" y="476250"/>
            <a:ext cx="189653"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p:nvPr>
        </p:nvSpPr>
        <p:spPr>
          <a:xfrm>
            <a:off x="479426" y="476252"/>
            <a:ext cx="8353426" cy="3457575"/>
          </a:xfrm>
          <a:noFill/>
          <a:ln w="9525">
            <a:noFill/>
            <a:miter lim="800000"/>
            <a:headEnd/>
            <a:tailEnd/>
          </a:ln>
        </p:spPr>
        <p:txBody>
          <a:bodyPr/>
          <a:lstStyle>
            <a:lvl1pPr>
              <a:defRPr lang="en-US" sz="5625" b="0" dirty="0">
                <a:solidFill>
                  <a:schemeClr val="bg1"/>
                </a:solidFill>
              </a:defRPr>
            </a:lvl1pPr>
          </a:lstStyle>
          <a:p>
            <a:pPr lvl="0"/>
            <a:r>
              <a:rPr lang="en-US"/>
              <a:t>Click to edit Master title style</a:t>
            </a:r>
            <a:endParaRPr lang="en-US" dirty="0"/>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p:nvPr>
        </p:nvSpPr>
        <p:spPr>
          <a:xfrm>
            <a:off x="480219" y="4149727"/>
            <a:ext cx="5472113" cy="2087563"/>
          </a:xfrm>
          <a:prstGeom prst="rect">
            <a:avLst/>
          </a:prstGeom>
        </p:spPr>
        <p:txBody>
          <a:bodyPr anchor="ctr"/>
          <a:lstStyle>
            <a:lvl1pPr marL="0" indent="0">
              <a:lnSpc>
                <a:spcPct val="100000"/>
              </a:lnSpc>
              <a:spcBef>
                <a:spcPts val="0"/>
              </a:spcBef>
              <a:buFont typeface="Ericsson Hilda Light" charset="0"/>
              <a:buNone/>
              <a:defRPr sz="1875" baseline="0">
                <a:solidFill>
                  <a:schemeClr val="bg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1749715604"/>
      </p:ext>
    </p:extLst>
  </p:cSld>
  <p:clrMapOvr>
    <a:masterClrMapping/>
  </p:clrMapOvr>
  <p:hf sldNum="0" hdr="0" ftr="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F86F2BD-2370-4883-8540-53B46FB822DC}"/>
              </a:ext>
            </a:extLst>
          </p:cNvPr>
          <p:cNvSpPr>
            <a:spLocks noChangeArrowheads="1"/>
          </p:cNvSpPr>
          <p:nvPr userDrawn="1"/>
        </p:nvSpPr>
        <p:spPr bwMode="auto">
          <a:xfrm>
            <a:off x="0" y="0"/>
            <a:ext cx="12192000" cy="6858000"/>
          </a:xfrm>
          <a:prstGeom prst="rect">
            <a:avLst/>
          </a:prstGeom>
          <a:solidFill>
            <a:schemeClr val="accent4"/>
          </a:solidFill>
          <a:ln>
            <a:noFill/>
          </a:ln>
          <a:extLst/>
        </p:spPr>
        <p:txBody>
          <a:bodyPr wrap="none" lIns="67500" rIns="675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sz="1875" dirty="0">
              <a:latin typeface="Ericsson Hilda Light" panose="00000400000000000000" pitchFamily="2" charset="0"/>
            </a:endParaRPr>
          </a:p>
        </p:txBody>
      </p:sp>
      <p:pic>
        <p:nvPicPr>
          <p:cNvPr id="5" name="Picture 11">
            <a:extLst>
              <a:ext uri="{FF2B5EF4-FFF2-40B4-BE49-F238E27FC236}">
                <a16:creationId xmlns:a16="http://schemas.microsoft.com/office/drawing/2014/main" id="{D2BE98FD-BD54-46A4-8BD3-24C51A8E764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23134" y="476250"/>
            <a:ext cx="189653"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p:nvPr>
        </p:nvSpPr>
        <p:spPr>
          <a:xfrm>
            <a:off x="479424" y="476252"/>
            <a:ext cx="8353425" cy="3457575"/>
          </a:xfrm>
          <a:noFill/>
          <a:ln w="9525">
            <a:noFill/>
            <a:miter lim="800000"/>
            <a:headEnd/>
            <a:tailEnd/>
          </a:ln>
        </p:spPr>
        <p:txBody>
          <a:bodyPr/>
          <a:lstStyle>
            <a:lvl1pPr>
              <a:defRPr lang="en-US" sz="5625" b="0" dirty="0">
                <a:solidFill>
                  <a:schemeClr val="bg1"/>
                </a:solidFill>
              </a:defRPr>
            </a:lvl1pPr>
          </a:lstStyle>
          <a:p>
            <a:pPr lvl="0"/>
            <a:r>
              <a:rPr lang="en-US"/>
              <a:t>Click to edit Master title style</a:t>
            </a:r>
            <a:endParaRPr lang="en-US" dirty="0"/>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p:nvPr>
        </p:nvSpPr>
        <p:spPr>
          <a:xfrm>
            <a:off x="479425" y="4149727"/>
            <a:ext cx="5472113" cy="2087563"/>
          </a:xfrm>
          <a:prstGeom prst="rect">
            <a:avLst/>
          </a:prstGeom>
        </p:spPr>
        <p:txBody>
          <a:bodyPr anchor="ctr"/>
          <a:lstStyle>
            <a:lvl1pPr marL="0" indent="0">
              <a:lnSpc>
                <a:spcPct val="100000"/>
              </a:lnSpc>
              <a:spcBef>
                <a:spcPts val="0"/>
              </a:spcBef>
              <a:buFont typeface="Ericsson Hilda Light" charset="0"/>
              <a:buNone/>
              <a:defRPr sz="1875" baseline="0">
                <a:solidFill>
                  <a:schemeClr val="bg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448862651"/>
      </p:ext>
    </p:extLst>
  </p:cSld>
  <p:clrMapOvr>
    <a:masterClrMapping/>
  </p:clrMapOvr>
  <p:hf sldNum="0" hdr="0" ftr="0"/>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755B94-D598-4FBB-B3F8-959725D81FC4}"/>
              </a:ext>
            </a:extLst>
          </p:cNvPr>
          <p:cNvSpPr>
            <a:spLocks noChangeArrowheads="1"/>
          </p:cNvSpPr>
          <p:nvPr userDrawn="1"/>
        </p:nvSpPr>
        <p:spPr bwMode="auto">
          <a:xfrm>
            <a:off x="0" y="0"/>
            <a:ext cx="12192000" cy="6858000"/>
          </a:xfrm>
          <a:prstGeom prst="rect">
            <a:avLst/>
          </a:prstGeom>
          <a:solidFill>
            <a:schemeClr val="accent6"/>
          </a:solidFill>
          <a:ln>
            <a:noFill/>
          </a:ln>
          <a:extLst/>
        </p:spPr>
        <p:txBody>
          <a:bodyPr wrap="none" lIns="67500" rIns="675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sz="1875" dirty="0">
              <a:latin typeface="Ericsson Hilda Light" panose="00000400000000000000" pitchFamily="2" charset="0"/>
            </a:endParaRPr>
          </a:p>
        </p:txBody>
      </p:sp>
      <p:pic>
        <p:nvPicPr>
          <p:cNvPr id="5" name="Picture 11">
            <a:extLst>
              <a:ext uri="{FF2B5EF4-FFF2-40B4-BE49-F238E27FC236}">
                <a16:creationId xmlns:a16="http://schemas.microsoft.com/office/drawing/2014/main" id="{25775A5F-76A6-4CF6-8CA8-3B8764FE9C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23134" y="476250"/>
            <a:ext cx="189653"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p:nvPr>
        </p:nvSpPr>
        <p:spPr>
          <a:xfrm>
            <a:off x="479424" y="476252"/>
            <a:ext cx="8353425" cy="3457575"/>
          </a:xfrm>
          <a:noFill/>
          <a:ln w="9525">
            <a:noFill/>
            <a:miter lim="800000"/>
            <a:headEnd/>
            <a:tailEnd/>
          </a:ln>
        </p:spPr>
        <p:txBody>
          <a:bodyPr/>
          <a:lstStyle>
            <a:lvl1pPr>
              <a:defRPr lang="en-US" sz="5625" b="0" dirty="0">
                <a:solidFill>
                  <a:schemeClr val="bg1"/>
                </a:solidFill>
              </a:defRPr>
            </a:lvl1pPr>
          </a:lstStyle>
          <a:p>
            <a:pPr lvl="0"/>
            <a:r>
              <a:rPr lang="en-US"/>
              <a:t>Click to edit Master title style</a:t>
            </a:r>
            <a:endParaRPr lang="en-US" dirty="0"/>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p:nvPr>
        </p:nvSpPr>
        <p:spPr>
          <a:xfrm>
            <a:off x="479425" y="4149727"/>
            <a:ext cx="5472113" cy="2087563"/>
          </a:xfrm>
          <a:prstGeom prst="rect">
            <a:avLst/>
          </a:prstGeom>
        </p:spPr>
        <p:txBody>
          <a:bodyPr anchor="ctr"/>
          <a:lstStyle>
            <a:lvl1pPr marL="0" indent="0">
              <a:lnSpc>
                <a:spcPct val="100000"/>
              </a:lnSpc>
              <a:spcBef>
                <a:spcPts val="0"/>
              </a:spcBef>
              <a:buFont typeface="Ericsson Hilda Light" charset="0"/>
              <a:buNone/>
              <a:defRPr sz="1875" baseline="0">
                <a:solidFill>
                  <a:schemeClr val="bg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3024159796"/>
      </p:ext>
    </p:extLst>
  </p:cSld>
  <p:clrMapOvr>
    <a:masterClrMapping/>
  </p:clrMapOvr>
  <p:hf sldNum="0" hdr="0" ftr="0"/>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tatement Page 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DD23F1A-316D-429A-8F99-0313F4962096}"/>
              </a:ext>
            </a:extLst>
          </p:cNvPr>
          <p:cNvPicPr>
            <a:picLocks noChangeAspect="1"/>
          </p:cNvPicPr>
          <p:nvPr userDrawn="1"/>
        </p:nvPicPr>
        <p:blipFill>
          <a:blip r:embed="rId2"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5" name="Rectangle 4">
            <a:extLst>
              <a:ext uri="{FF2B5EF4-FFF2-40B4-BE49-F238E27FC236}">
                <a16:creationId xmlns:a16="http://schemas.microsoft.com/office/drawing/2014/main" id="{6A993AAF-7EDE-40BB-A31B-0FF7375FB69C}"/>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p:nvPr>
        </p:nvSpPr>
        <p:spPr>
          <a:xfrm>
            <a:off x="479426" y="476252"/>
            <a:ext cx="8353426" cy="3457575"/>
          </a:xfrm>
          <a:noFill/>
          <a:ln w="9525">
            <a:noFill/>
            <a:miter lim="800000"/>
            <a:headEnd/>
            <a:tailEnd/>
          </a:ln>
        </p:spPr>
        <p:txBody>
          <a:bodyPr/>
          <a:lstStyle>
            <a:lvl1pPr>
              <a:defRPr lang="en-US" sz="5625" b="0" dirty="0">
                <a:solidFill>
                  <a:schemeClr val="tx1"/>
                </a:solidFill>
              </a:defRPr>
            </a:lvl1pPr>
          </a:lstStyle>
          <a:p>
            <a:pPr lvl="0"/>
            <a:r>
              <a:rPr lang="en-US"/>
              <a:t>Click to edit Master title style</a:t>
            </a:r>
            <a:endParaRPr lang="en-US" dirty="0"/>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p:nvPr>
        </p:nvSpPr>
        <p:spPr>
          <a:xfrm>
            <a:off x="479426" y="4149727"/>
            <a:ext cx="5472114" cy="2087563"/>
          </a:xfrm>
          <a:prstGeom prst="rect">
            <a:avLst/>
          </a:prstGeom>
        </p:spPr>
        <p:txBody>
          <a:bodyPr anchor="ctr"/>
          <a:lstStyle>
            <a:lvl1pPr marL="0" indent="0">
              <a:lnSpc>
                <a:spcPct val="100000"/>
              </a:lnSpc>
              <a:spcBef>
                <a:spcPts val="0"/>
              </a:spcBef>
              <a:buFont typeface="Ericsson Hilda Light" charset="0"/>
              <a:buNone/>
              <a:defRPr sz="1875" baseline="0">
                <a:solidFill>
                  <a:schemeClr val="tx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4088000900"/>
      </p:ext>
    </p:extLst>
  </p:cSld>
  <p:clrMapOvr>
    <a:masterClrMapping/>
  </p:clrMapOvr>
  <p:hf sldNum="0" hdr="0" ftr="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Chapter/Section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167B72F-3E3C-4438-BF85-E406112EA4F8}"/>
              </a:ext>
            </a:extLst>
          </p:cNvPr>
          <p:cNvPicPr>
            <a:picLocks noChangeAspect="1"/>
          </p:cNvPicPr>
          <p:nvPr userDrawn="1"/>
        </p:nvPicPr>
        <p:blipFill>
          <a:blip r:embed="rId2"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1522514" y="476251"/>
            <a:ext cx="190061" cy="256032"/>
          </a:xfrm>
          <a:prstGeom prst="rect">
            <a:avLst/>
          </a:prstGeom>
          <a:ln>
            <a:noFill/>
          </a:ln>
        </p:spPr>
      </p:pic>
      <p:sp>
        <p:nvSpPr>
          <p:cNvPr id="22531" name="Title_TM"/>
          <p:cNvSpPr>
            <a:spLocks noGrp="1" noChangeArrowheads="1"/>
          </p:cNvSpPr>
          <p:nvPr>
            <p:ph type="ctrTitle"/>
          </p:nvPr>
        </p:nvSpPr>
        <p:spPr>
          <a:xfrm>
            <a:off x="479425" y="476251"/>
            <a:ext cx="8353425" cy="3457574"/>
          </a:xfrm>
          <a:noFill/>
          <a:ln w="9525">
            <a:noFill/>
            <a:miter lim="800000"/>
            <a:headEnd/>
            <a:tailEnd/>
          </a:ln>
        </p:spPr>
        <p:txBody>
          <a:bodyPr/>
          <a:lstStyle>
            <a:lvl1pPr>
              <a:defRPr lang="en-US" sz="5625" b="0" baseline="0" dirty="0">
                <a:solidFill>
                  <a:schemeClr val="tx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4287161760"/>
      </p:ext>
    </p:extLst>
  </p:cSld>
  <p:clrMapOvr>
    <a:masterClrMapping/>
  </p:clrMapOvr>
  <p:hf sldNum="0" hdr="0" ftr="0"/>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51346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512A29B-6080-4DBB-B31F-87251AB6541C}"/>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4"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7298471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B76844-EEDA-44FC-8E56-3B45C9250E4C}"/>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5"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78444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5" name="Rectangle 4">
            <a:extLst>
              <a:ext uri="{FF2B5EF4-FFF2-40B4-BE49-F238E27FC236}">
                <a16:creationId xmlns:a16="http://schemas.microsoft.com/office/drawing/2014/main" id="{28BBE701-E863-405F-A8E9-AAA5CEEC44F2}"/>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52237355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381E11-0705-4F34-B57E-C43AE70729D9}"/>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5"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p:nvPr>
        </p:nvSpPr>
        <p:spPr>
          <a:xfrm>
            <a:off x="479426" y="1844675"/>
            <a:ext cx="8353426" cy="4392612"/>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56246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974454B-DE34-4E1B-8949-F067B2445EE8}"/>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4" name="Content Placeholder 1"/>
          <p:cNvSpPr>
            <a:spLocks noGrp="1"/>
          </p:cNvSpPr>
          <p:nvPr>
            <p:ph sz="quarter" idx="10"/>
          </p:nvPr>
        </p:nvSpPr>
        <p:spPr>
          <a:xfrm>
            <a:off x="479425" y="1844677"/>
            <a:ext cx="5472113"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20775390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0D9B11-57C0-4C34-AC76-1C0E78F41515}"/>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4" name="Content Placeholder 1"/>
          <p:cNvSpPr>
            <a:spLocks noGrp="1"/>
          </p:cNvSpPr>
          <p:nvPr>
            <p:ph sz="quarter" idx="10"/>
          </p:nvPr>
        </p:nvSpPr>
        <p:spPr>
          <a:xfrm>
            <a:off x="479425" y="1844677"/>
            <a:ext cx="5472113"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_SM"/>
          <p:cNvSpPr>
            <a:spLocks noGrp="1" noChangeArrowheads="1"/>
          </p:cNvSpPr>
          <p:nvPr>
            <p:ph type="title"/>
          </p:nvPr>
        </p:nvSpPr>
        <p:spPr bwMode="auto">
          <a:xfrm>
            <a:off x="479425" y="476250"/>
            <a:ext cx="5472113"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p:nvPr>
        </p:nvSpPr>
        <p:spPr>
          <a:xfrm>
            <a:off x="6096000" y="0"/>
            <a:ext cx="6096000" cy="6858000"/>
          </a:xfrm>
          <a:prstGeom prst="rect">
            <a:avLst/>
          </a:prstGeom>
        </p:spPr>
        <p:txBody>
          <a:bodyPr anchor="ctr"/>
          <a:lstStyle>
            <a:lvl1pPr marL="0" indent="0">
              <a:buNone/>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94806625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2D0B89-1A70-48B4-8293-446F7F7974C7}"/>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4" name="Content Placeholder 1"/>
          <p:cNvSpPr>
            <a:spLocks noGrp="1"/>
          </p:cNvSpPr>
          <p:nvPr>
            <p:ph sz="quarter" idx="10"/>
          </p:nvPr>
        </p:nvSpPr>
        <p:spPr>
          <a:xfrm>
            <a:off x="6240463" y="1844677"/>
            <a:ext cx="5472112"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7086998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6240463" y="1844677"/>
            <a:ext cx="5472112"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_SM"/>
          <p:cNvSpPr>
            <a:spLocks noGrp="1" noChangeArrowheads="1"/>
          </p:cNvSpPr>
          <p:nvPr>
            <p:ph type="title"/>
          </p:nvPr>
        </p:nvSpPr>
        <p:spPr bwMode="auto">
          <a:xfrm>
            <a:off x="6240463" y="476250"/>
            <a:ext cx="4924362"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p:nvPr>
        </p:nvSpPr>
        <p:spPr>
          <a:xfrm>
            <a:off x="0" y="0"/>
            <a:ext cx="6096000" cy="6858000"/>
          </a:xfrm>
          <a:prstGeom prst="rect">
            <a:avLst/>
          </a:prstGeom>
        </p:spPr>
        <p:txBody>
          <a:bodyPr anchor="ctr"/>
          <a:lstStyle>
            <a:lvl1pPr marL="0" indent="0">
              <a:buNone/>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6428359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240463" y="1844676"/>
            <a:ext cx="5472112"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sz="half" idx="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95183230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p:nvPr>
        </p:nvSpPr>
        <p:spPr>
          <a:xfrm>
            <a:off x="9120189" y="1844676"/>
            <a:ext cx="2592387"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Content Placeholder 2"/>
          <p:cNvSpPr>
            <a:spLocks noGrp="1"/>
          </p:cNvSpPr>
          <p:nvPr>
            <p:ph sz="quarter" idx="11"/>
          </p:nvPr>
        </p:nvSpPr>
        <p:spPr>
          <a:xfrm>
            <a:off x="6240463" y="1844676"/>
            <a:ext cx="2592388"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76322987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p:nvPr>
        </p:nvSpPr>
        <p:spPr>
          <a:xfrm>
            <a:off x="479424" y="1844675"/>
            <a:ext cx="5472113" cy="2089150"/>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idx="1"/>
          </p:nvPr>
        </p:nvSpPr>
        <p:spPr>
          <a:xfrm>
            <a:off x="479425" y="4149724"/>
            <a:ext cx="5472113" cy="2087564"/>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_SM"/>
          <p:cNvSpPr>
            <a:spLocks noGrp="1" noChangeArrowheads="1"/>
          </p:cNvSpPr>
          <p:nvPr>
            <p:ph type="title"/>
          </p:nvPr>
        </p:nvSpPr>
        <p:spPr bwMode="auto">
          <a:xfrm>
            <a:off x="476250" y="476250"/>
            <a:ext cx="8356601"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262434425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p:nvPr>
        </p:nvSpPr>
        <p:spPr>
          <a:xfrm>
            <a:off x="6240463" y="1844676"/>
            <a:ext cx="5472112" cy="2089151"/>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idx="1"/>
          </p:nvPr>
        </p:nvSpPr>
        <p:spPr>
          <a:xfrm>
            <a:off x="6240463" y="4149724"/>
            <a:ext cx="5472112" cy="2087564"/>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371378623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p:nvPr>
        </p:nvSpPr>
        <p:spPr>
          <a:xfrm>
            <a:off x="3359151" y="4149724"/>
            <a:ext cx="8353425" cy="2087564"/>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1"/>
          <p:cNvSpPr>
            <a:spLocks noGrp="1"/>
          </p:cNvSpPr>
          <p:nvPr>
            <p:ph sz="quarter" idx="10"/>
          </p:nvPr>
        </p:nvSpPr>
        <p:spPr>
          <a:xfrm>
            <a:off x="3359151" y="1844675"/>
            <a:ext cx="8353425" cy="2089150"/>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4551850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max 2-lines</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273198187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p:nvPr>
        </p:nvSpPr>
        <p:spPr>
          <a:xfrm>
            <a:off x="6240463" y="4149724"/>
            <a:ext cx="5472112" cy="2087564"/>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sz="quarter" idx="12"/>
          </p:nvPr>
        </p:nvSpPr>
        <p:spPr>
          <a:xfrm>
            <a:off x="479425" y="4149726"/>
            <a:ext cx="5472113" cy="208756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18072861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8F3A5F6-9FD9-4E5F-B7B8-96A7F1E62FA9}"/>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8" name="Content Placeholder 3"/>
          <p:cNvSpPr>
            <a:spLocks noGrp="1"/>
          </p:cNvSpPr>
          <p:nvPr>
            <p:ph sz="quarter" idx="12"/>
          </p:nvPr>
        </p:nvSpPr>
        <p:spPr>
          <a:xfrm>
            <a:off x="8184575" y="1844677"/>
            <a:ext cx="3528000"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Content Placeholder 2"/>
          <p:cNvSpPr>
            <a:spLocks noGrp="1"/>
          </p:cNvSpPr>
          <p:nvPr>
            <p:ph sz="quarter" idx="11"/>
          </p:nvPr>
        </p:nvSpPr>
        <p:spPr>
          <a:xfrm>
            <a:off x="4332000" y="1844675"/>
            <a:ext cx="3528000"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p:nvPr>
        </p:nvSpPr>
        <p:spPr>
          <a:xfrm>
            <a:off x="479425" y="1844676"/>
            <a:ext cx="3528000"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601815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43B200B-DADE-4A79-A704-F3444FD6D639}"/>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
        <p:nvSpPr>
          <p:cNvPr id="8" name="Content Placeholder 3"/>
          <p:cNvSpPr>
            <a:spLocks noGrp="1"/>
          </p:cNvSpPr>
          <p:nvPr>
            <p:ph sz="quarter" idx="12"/>
          </p:nvPr>
        </p:nvSpPr>
        <p:spPr>
          <a:xfrm>
            <a:off x="9121777" y="1844676"/>
            <a:ext cx="2590799"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Content Placeholder 2"/>
          <p:cNvSpPr>
            <a:spLocks noGrp="1"/>
          </p:cNvSpPr>
          <p:nvPr>
            <p:ph sz="quarter" idx="11"/>
          </p:nvPr>
        </p:nvSpPr>
        <p:spPr>
          <a:xfrm>
            <a:off x="6240464" y="1844676"/>
            <a:ext cx="2592386"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1"/>
          <p:cNvSpPr>
            <a:spLocks noGrp="1"/>
          </p:cNvSpPr>
          <p:nvPr>
            <p:ph sz="quarter" idx="10"/>
          </p:nvPr>
        </p:nvSpPr>
        <p:spPr>
          <a:xfrm>
            <a:off x="3359151" y="1844676"/>
            <a:ext cx="2592389"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63131012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6" name="Content Placeholder 2"/>
          <p:cNvSpPr>
            <a:spLocks noGrp="1"/>
          </p:cNvSpPr>
          <p:nvPr>
            <p:ph sz="quarter" idx="11"/>
          </p:nvPr>
        </p:nvSpPr>
        <p:spPr>
          <a:xfrm>
            <a:off x="3359151" y="1844676"/>
            <a:ext cx="2592389" cy="4392613"/>
          </a:xfrm>
          <a:prstGeom prst="rect">
            <a:avLst/>
          </a:prstGeom>
        </p:spPr>
        <p:txBody>
          <a:bodyPr/>
          <a:lstStyle>
            <a:lvl1pPr>
              <a:defRPr/>
            </a:lvl1pPr>
            <a:lvl2pPr>
              <a:defRPr/>
            </a:lvl2pPr>
            <a:lvl3pPr>
              <a:defRPr/>
            </a:lvl3pPr>
            <a:lvl4pPr>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1"/>
          <p:cNvSpPr>
            <a:spLocks noGrp="1"/>
          </p:cNvSpPr>
          <p:nvPr>
            <p:ph sz="quarter" idx="10"/>
          </p:nvPr>
        </p:nvSpPr>
        <p:spPr>
          <a:xfrm>
            <a:off x="479425" y="1844676"/>
            <a:ext cx="2592388" cy="4392613"/>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Content Placeholder 3"/>
          <p:cNvSpPr>
            <a:spLocks noGrp="1"/>
          </p:cNvSpPr>
          <p:nvPr>
            <p:ph sz="quarter" idx="13"/>
          </p:nvPr>
        </p:nvSpPr>
        <p:spPr>
          <a:xfrm>
            <a:off x="9120189" y="1844676"/>
            <a:ext cx="2592387" cy="4392613"/>
          </a:xfrm>
          <a:prstGeom prst="rect">
            <a:avLst/>
          </a:prstGeom>
        </p:spPr>
        <p:txBody>
          <a:bodyPr/>
          <a:lstStyle>
            <a:lvl1pPr>
              <a:defRPr/>
            </a:lvl1pPr>
            <a:lvl2pPr>
              <a:defRPr/>
            </a:lvl2pPr>
            <a:lvl3pPr>
              <a:defRPr/>
            </a:lvl3pPr>
            <a:lvl4pPr>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0"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75394894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p:nvPr>
        </p:nvSpPr>
        <p:spPr>
          <a:xfrm>
            <a:off x="6240463" y="4149726"/>
            <a:ext cx="2592388" cy="2087563"/>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6" name="Content Placeholder 2"/>
          <p:cNvSpPr>
            <a:spLocks noGrp="1"/>
          </p:cNvSpPr>
          <p:nvPr>
            <p:ph sz="quarter" idx="11"/>
          </p:nvPr>
        </p:nvSpPr>
        <p:spPr>
          <a:xfrm>
            <a:off x="3359150" y="4149725"/>
            <a:ext cx="2592388" cy="2087562"/>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4" name="Content Placeholder 1"/>
          <p:cNvSpPr>
            <a:spLocks noGrp="1"/>
          </p:cNvSpPr>
          <p:nvPr>
            <p:ph sz="quarter" idx="10"/>
          </p:nvPr>
        </p:nvSpPr>
        <p:spPr>
          <a:xfrm>
            <a:off x="479425" y="1844675"/>
            <a:ext cx="2592388" cy="4392612"/>
          </a:xfrm>
          <a:prstGeom prst="rect">
            <a:avLst/>
          </a:prstGeom>
        </p:spPr>
        <p:txBody>
          <a:bodyPr/>
          <a:lstStyle>
            <a:lvl1pPr marL="0" indent="0">
              <a:buFont typeface="Ericsson Hilda Light" panose="020B0604020202020204" pitchFamily="34" charset="0"/>
              <a:buNone/>
              <a:defRPr sz="2344">
                <a:latin typeface="+mn-lt"/>
              </a:defRPr>
            </a:lvl1pPr>
            <a:lvl2pPr marL="0" indent="0">
              <a:buFont typeface="Ericsson Hilda Light" panose="020B0604020202020204" pitchFamily="34" charset="0"/>
              <a:buNone/>
              <a:defRPr sz="2344">
                <a:latin typeface="+mj-lt"/>
              </a:defRPr>
            </a:lvl2pPr>
            <a:lvl3pPr marL="321469" indent="0">
              <a:buFont typeface="Ericsson Hilda Light" panose="020B0604020202020204" pitchFamily="34" charset="0"/>
              <a:buNone/>
              <a:defRPr sz="2344">
                <a:latin typeface="+mj-lt"/>
              </a:defRPr>
            </a:lvl3pPr>
            <a:lvl4pPr marL="642938" indent="0">
              <a:buFont typeface="Ericsson Hilda Light" panose="020B0604020202020204" pitchFamily="34" charset="0"/>
              <a:buNone/>
              <a:defRPr sz="2344">
                <a:latin typeface="+mj-lt"/>
              </a:defRPr>
            </a:lvl4pPr>
            <a:lvl5pPr marL="964406" indent="0">
              <a:buFont typeface="Ericsson Hilda Light" panose="020B0604020202020204" pitchFamily="34" charset="0"/>
              <a:buNone/>
              <a:defRPr sz="2344">
                <a:latin typeface="+mj-lt"/>
              </a:defRPr>
            </a:lvl5pPr>
          </a:lstStyle>
          <a:p>
            <a:pPr lvl="0"/>
            <a:r>
              <a:rPr lang="en-US" noProof="0"/>
              <a:t>Edit Master text styles</a:t>
            </a:r>
          </a:p>
        </p:txBody>
      </p:sp>
      <p:sp>
        <p:nvSpPr>
          <p:cNvPr id="9" name="Content Placeholder 3"/>
          <p:cNvSpPr>
            <a:spLocks noGrp="1"/>
          </p:cNvSpPr>
          <p:nvPr>
            <p:ph sz="quarter" idx="13"/>
          </p:nvPr>
        </p:nvSpPr>
        <p:spPr>
          <a:xfrm>
            <a:off x="9120189" y="4149726"/>
            <a:ext cx="2592387" cy="2087563"/>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10"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84077790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p:nvPr>
        </p:nvSpPr>
        <p:spPr>
          <a:xfrm>
            <a:off x="6240463" y="4149726"/>
            <a:ext cx="2592388" cy="2087563"/>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6" name="Content Placeholder 2"/>
          <p:cNvSpPr>
            <a:spLocks noGrp="1"/>
          </p:cNvSpPr>
          <p:nvPr>
            <p:ph sz="quarter" idx="11"/>
          </p:nvPr>
        </p:nvSpPr>
        <p:spPr>
          <a:xfrm>
            <a:off x="3359151" y="4149726"/>
            <a:ext cx="2592389" cy="2087563"/>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4" name="Content Placeholder 1"/>
          <p:cNvSpPr>
            <a:spLocks noGrp="1"/>
          </p:cNvSpPr>
          <p:nvPr>
            <p:ph sz="quarter" idx="10"/>
          </p:nvPr>
        </p:nvSpPr>
        <p:spPr>
          <a:xfrm>
            <a:off x="479425" y="4149726"/>
            <a:ext cx="2592388" cy="2087563"/>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9" name="Content Placeholder 3"/>
          <p:cNvSpPr>
            <a:spLocks noGrp="1"/>
          </p:cNvSpPr>
          <p:nvPr>
            <p:ph sz="quarter" idx="13"/>
          </p:nvPr>
        </p:nvSpPr>
        <p:spPr>
          <a:xfrm>
            <a:off x="9121777" y="4149726"/>
            <a:ext cx="2590799" cy="2087563"/>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10" name="Title_SM"/>
          <p:cNvSpPr>
            <a:spLocks noGrp="1" noChangeArrowheads="1"/>
          </p:cNvSpPr>
          <p:nvPr>
            <p:ph type="title"/>
          </p:nvPr>
        </p:nvSpPr>
        <p:spPr bwMode="auto">
          <a:xfrm>
            <a:off x="479425" y="476250"/>
            <a:ext cx="8353425"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36936052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6240463" y="4149724"/>
            <a:ext cx="5472113" cy="2087564"/>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sz="quarter" idx="2"/>
          </p:nvPr>
        </p:nvSpPr>
        <p:spPr>
          <a:xfrm>
            <a:off x="6240463" y="1844676"/>
            <a:ext cx="5472113" cy="2089151"/>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sz="quarter" idx="1"/>
          </p:nvPr>
        </p:nvSpPr>
        <p:spPr>
          <a:xfrm>
            <a:off x="479425" y="1844676"/>
            <a:ext cx="5472113" cy="2089151"/>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p:nvPr>
        </p:nvSpPr>
        <p:spPr>
          <a:xfrm>
            <a:off x="479425" y="4149727"/>
            <a:ext cx="5472113" cy="2089151"/>
          </a:xfrm>
          <a:prstGeom prst="rect">
            <a:avLst/>
          </a:prstGeo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35627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6240464" y="4150995"/>
            <a:ext cx="2592387" cy="2086292"/>
          </a:xfrm>
          <a:prstGeom prst="rect">
            <a:avLst/>
          </a:prstGeom>
        </p:spPr>
        <p:txBody>
          <a:bodyPr/>
          <a:lstStyle>
            <a:lvl1pPr>
              <a:defRPr sz="1875"/>
            </a:lvl1pPr>
            <a:lvl2pPr>
              <a:defRPr sz="1875"/>
            </a:lvl2pPr>
            <a:lvl3pPr>
              <a:defRPr sz="1875"/>
            </a:lvl3pPr>
            <a:lvl4pPr>
              <a:defRPr sz="1875"/>
            </a:lvl4pPr>
            <a:lvl5pPr marL="964406" indent="0">
              <a:buNone/>
              <a:defRPr sz="1875"/>
            </a:lvl5pPr>
          </a:lstStyle>
          <a:p>
            <a:pPr lvl="0"/>
            <a:r>
              <a:rPr lang="en-US"/>
              <a:t>Edit Master text styles</a:t>
            </a:r>
          </a:p>
          <a:p>
            <a:pPr lvl="1"/>
            <a:r>
              <a:rPr lang="en-US"/>
              <a:t>Second level</a:t>
            </a:r>
          </a:p>
          <a:p>
            <a:pPr lvl="2"/>
            <a:r>
              <a:rPr lang="en-US"/>
              <a:t>Third level</a:t>
            </a:r>
          </a:p>
        </p:txBody>
      </p:sp>
      <p:sp>
        <p:nvSpPr>
          <p:cNvPr id="5" name="Content Placeholder 3"/>
          <p:cNvSpPr>
            <a:spLocks noGrp="1"/>
          </p:cNvSpPr>
          <p:nvPr>
            <p:ph sz="quarter" idx="3"/>
          </p:nvPr>
        </p:nvSpPr>
        <p:spPr>
          <a:xfrm>
            <a:off x="479425" y="4149726"/>
            <a:ext cx="2592389" cy="2087563"/>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4" name="Content Placeholder 2"/>
          <p:cNvSpPr>
            <a:spLocks noGrp="1"/>
          </p:cNvSpPr>
          <p:nvPr>
            <p:ph sz="quarter" idx="2"/>
          </p:nvPr>
        </p:nvSpPr>
        <p:spPr>
          <a:xfrm>
            <a:off x="6240464" y="1844675"/>
            <a:ext cx="2592387" cy="2089150"/>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Content Placeholder 1"/>
          <p:cNvSpPr>
            <a:spLocks noGrp="1"/>
          </p:cNvSpPr>
          <p:nvPr>
            <p:ph sz="quarter" idx="1"/>
          </p:nvPr>
        </p:nvSpPr>
        <p:spPr>
          <a:xfrm>
            <a:off x="479425" y="1844675"/>
            <a:ext cx="2592389" cy="2089150"/>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8" name="Content Placeholder 3"/>
          <p:cNvSpPr>
            <a:spLocks noGrp="1"/>
          </p:cNvSpPr>
          <p:nvPr>
            <p:ph sz="quarter" idx="10"/>
          </p:nvPr>
        </p:nvSpPr>
        <p:spPr>
          <a:xfrm>
            <a:off x="3359152" y="4149726"/>
            <a:ext cx="2592387" cy="2087563"/>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9" name="Content Placeholder 1"/>
          <p:cNvSpPr>
            <a:spLocks noGrp="1"/>
          </p:cNvSpPr>
          <p:nvPr>
            <p:ph sz="quarter" idx="11"/>
          </p:nvPr>
        </p:nvSpPr>
        <p:spPr>
          <a:xfrm>
            <a:off x="3359151" y="1844675"/>
            <a:ext cx="2592388" cy="2089150"/>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10" name="Content Placeholder 4"/>
          <p:cNvSpPr>
            <a:spLocks noGrp="1"/>
          </p:cNvSpPr>
          <p:nvPr>
            <p:ph sz="quarter" idx="12"/>
          </p:nvPr>
        </p:nvSpPr>
        <p:spPr>
          <a:xfrm>
            <a:off x="9120189" y="4149725"/>
            <a:ext cx="2592387" cy="2087562"/>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p:txBody>
      </p:sp>
      <p:sp>
        <p:nvSpPr>
          <p:cNvPr id="11" name="Content Placeholder 2"/>
          <p:cNvSpPr>
            <a:spLocks noGrp="1"/>
          </p:cNvSpPr>
          <p:nvPr>
            <p:ph sz="quarter" idx="13"/>
          </p:nvPr>
        </p:nvSpPr>
        <p:spPr>
          <a:xfrm>
            <a:off x="9120189" y="1844676"/>
            <a:ext cx="2592387" cy="2089151"/>
          </a:xfrm>
          <a:prstGeom prst="rect">
            <a:avLst/>
          </a:prstGeom>
        </p:spPr>
        <p:txBody>
          <a:bodyPr/>
          <a:lstStyle>
            <a:lvl1pPr>
              <a:defRPr sz="1875"/>
            </a:lvl1pPr>
            <a:lvl2pPr>
              <a:defRPr sz="1875"/>
            </a:lvl2pPr>
            <a:lvl3pPr>
              <a:defRPr sz="1875"/>
            </a:lvl3pPr>
            <a:lvl4pPr>
              <a:defRPr sz="1875"/>
            </a:lvl4pPr>
            <a:lvl5pPr>
              <a:defRPr sz="1875"/>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itle_SM"/>
          <p:cNvSpPr>
            <a:spLocks noGrp="1" noChangeArrowheads="1"/>
          </p:cNvSpPr>
          <p:nvPr>
            <p:ph type="title"/>
          </p:nvPr>
        </p:nvSpPr>
        <p:spPr bwMode="auto">
          <a:xfrm>
            <a:off x="479426" y="476250"/>
            <a:ext cx="8353426" cy="1081088"/>
          </a:xfrm>
          <a:prstGeom prst="rect">
            <a:avLst/>
          </a:prstGeom>
          <a:noFill/>
          <a:ln w="9525">
            <a:noFill/>
            <a:miter lim="800000"/>
            <a:headEnd/>
            <a:tailEnd/>
          </a:ln>
        </p:spPr>
        <p:txBody>
          <a:bodyPr/>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256830448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C93C57-48F4-44F7-B2EC-51D904FD0CB5}"/>
              </a:ext>
            </a:extLst>
          </p:cNvPr>
          <p:cNvSpPr txBox="1"/>
          <p:nvPr userDrawn="1"/>
        </p:nvSpPr>
        <p:spPr bwMode="auto">
          <a:xfrm>
            <a:off x="479215" y="473075"/>
            <a:ext cx="11233573" cy="5235503"/>
          </a:xfrm>
          <a:prstGeom prst="rect">
            <a:avLst/>
          </a:prstGeom>
          <a:noFill/>
          <a:ln w="9525">
            <a:noFill/>
            <a:miter lim="800000"/>
            <a:headEnd/>
            <a:tailEnd/>
          </a:ln>
        </p:spPr>
        <p:txBody>
          <a:bodyPr lIns="67500" tIns="33750" rIns="0" bIns="0">
            <a:spAutoFit/>
          </a:bodyPr>
          <a:lstStyle>
            <a:lvl1pPr>
              <a:defRPr>
                <a:solidFill>
                  <a:schemeClr val="tx1"/>
                </a:solidFill>
                <a:latin typeface="Ericsson Hilda" panose="00000500000000000000" pitchFamily="2" charset="0"/>
              </a:defRPr>
            </a:lvl1pPr>
            <a:lvl2pPr marL="742950" indent="-285750">
              <a:defRPr>
                <a:solidFill>
                  <a:schemeClr val="tx1"/>
                </a:solidFill>
                <a:latin typeface="Ericsson Hilda" panose="00000500000000000000" pitchFamily="2" charset="0"/>
              </a:defRPr>
            </a:lvl2pPr>
            <a:lvl3pPr marL="1143000" indent="-228600">
              <a:defRPr>
                <a:solidFill>
                  <a:schemeClr val="tx1"/>
                </a:solidFill>
                <a:latin typeface="Ericsson Hilda" panose="00000500000000000000" pitchFamily="2" charset="0"/>
              </a:defRPr>
            </a:lvl3pPr>
            <a:lvl4pPr marL="1600200" indent="-228600">
              <a:defRPr>
                <a:solidFill>
                  <a:schemeClr val="tx1"/>
                </a:solidFill>
                <a:latin typeface="Ericsson Hilda" panose="00000500000000000000" pitchFamily="2" charset="0"/>
              </a:defRPr>
            </a:lvl4pPr>
            <a:lvl5pPr marL="2057400" indent="-228600">
              <a:defRPr>
                <a:solidFill>
                  <a:schemeClr val="tx1"/>
                </a:solidFill>
                <a:latin typeface="Ericsson Hilda" panose="00000500000000000000" pitchFamily="2" charset="0"/>
              </a:defRPr>
            </a:lvl5pPr>
            <a:lvl6pPr marL="2514600" indent="-228600" eaLnBrk="0" fontAlgn="base" hangingPunct="0">
              <a:spcBef>
                <a:spcPct val="0"/>
              </a:spcBef>
              <a:spcAft>
                <a:spcPct val="0"/>
              </a:spcAft>
              <a:defRPr>
                <a:solidFill>
                  <a:schemeClr val="tx1"/>
                </a:solidFill>
                <a:latin typeface="Ericsson Hilda" panose="00000500000000000000" pitchFamily="2" charset="0"/>
              </a:defRPr>
            </a:lvl6pPr>
            <a:lvl7pPr marL="2971800" indent="-228600" eaLnBrk="0" fontAlgn="base" hangingPunct="0">
              <a:spcBef>
                <a:spcPct val="0"/>
              </a:spcBef>
              <a:spcAft>
                <a:spcPct val="0"/>
              </a:spcAft>
              <a:defRPr>
                <a:solidFill>
                  <a:schemeClr val="tx1"/>
                </a:solidFill>
                <a:latin typeface="Ericsson Hilda" panose="00000500000000000000" pitchFamily="2" charset="0"/>
              </a:defRPr>
            </a:lvl7pPr>
            <a:lvl8pPr marL="3429000" indent="-228600" eaLnBrk="0" fontAlgn="base" hangingPunct="0">
              <a:spcBef>
                <a:spcPct val="0"/>
              </a:spcBef>
              <a:spcAft>
                <a:spcPct val="0"/>
              </a:spcAft>
              <a:defRPr>
                <a:solidFill>
                  <a:schemeClr val="tx1"/>
                </a:solidFill>
                <a:latin typeface="Ericsson Hilda" panose="00000500000000000000" pitchFamily="2" charset="0"/>
              </a:defRPr>
            </a:lvl8pPr>
            <a:lvl9pPr marL="3886200" indent="-228600" eaLnBrk="0" fontAlgn="base" hangingPunct="0">
              <a:spcBef>
                <a:spcPct val="0"/>
              </a:spcBef>
              <a:spcAft>
                <a:spcPct val="0"/>
              </a:spcAft>
              <a:defRPr>
                <a:solidFill>
                  <a:schemeClr val="tx1"/>
                </a:solidFill>
                <a:latin typeface="Ericsson Hilda" panose="00000500000000000000" pitchFamily="2" charset="0"/>
              </a:defRPr>
            </a:lvl9pPr>
          </a:lstStyle>
          <a:p>
            <a:pPr>
              <a:buClr>
                <a:schemeClr val="tx1"/>
              </a:buClr>
              <a:buFont typeface="Ericsson Hilda Light" panose="00000400000000000000" pitchFamily="2" charset="0"/>
              <a:buNone/>
              <a:defRPr/>
            </a:pPr>
            <a:r>
              <a:rPr lang="en-US" altLang="en-US" sz="1300">
                <a:solidFill>
                  <a:schemeClr val="bg1"/>
                </a:solidFill>
              </a:rPr>
              <a:t>Characters for Embedded characters:</a:t>
            </a:r>
          </a:p>
          <a:p>
            <a:pPr>
              <a:buClr>
                <a:schemeClr val="tx1"/>
              </a:buClr>
              <a:buFont typeface="Ericsson Hilda Light" panose="00000400000000000000" pitchFamily="2" charset="0"/>
              <a:buNone/>
              <a:defRPr/>
            </a:pPr>
            <a:r>
              <a:rPr lang="en-US" altLang="en-US" sz="1300">
                <a:solidFill>
                  <a:schemeClr val="bg1"/>
                </a:solidFill>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ΆΈΉΊΌΎΏΐΑΒΓΕΖΗΘΙΚΛΜΝΞΟΠΡΣΤΥΦΧΨΪΫΆΈΉΊΰ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eaLnBrk="1" hangingPunct="1">
              <a:buClr>
                <a:schemeClr val="tx1"/>
              </a:buClr>
              <a:buFont typeface="Ericsson Hilda Light" panose="00000400000000000000" pitchFamily="2" charset="0"/>
              <a:buNone/>
              <a:defRPr/>
            </a:pPr>
            <a:endParaRPr lang="en-US" altLang="en-US" sz="1300">
              <a:solidFill>
                <a:schemeClr val="bg1"/>
              </a:solidFill>
            </a:endParaRPr>
          </a:p>
          <a:p>
            <a:pPr eaLnBrk="1" hangingPunct="1">
              <a:buClr>
                <a:schemeClr val="tx1"/>
              </a:buClr>
              <a:buFont typeface="Ericsson Hilda Light" panose="00000400000000000000" pitchFamily="2" charset="0"/>
              <a:buNone/>
              <a:defRPr/>
            </a:pPr>
            <a:r>
              <a:rPr lang="en-US" altLang="en-US" sz="1300" b="1">
                <a:solidFill>
                  <a:schemeClr val="bg1"/>
                </a:solidFill>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ΆΈΉΊΌΎΏΐΑΒΓΕΖΗΘΙΚΛΜΝΞΟΠΡΣΤΥΦΧΨΪΫΆΈΉΊΰ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eaLnBrk="1" hangingPunct="1">
              <a:buClr>
                <a:schemeClr val="tx1"/>
              </a:buClr>
              <a:buFont typeface="Ericsson Hilda Light" panose="00000400000000000000" pitchFamily="2" charset="0"/>
              <a:buNone/>
              <a:defRPr/>
            </a:pPr>
            <a:endParaRPr lang="en-US" altLang="en-US" sz="1300">
              <a:solidFill>
                <a:schemeClr val="bg1"/>
              </a:solidFill>
            </a:endParaRPr>
          </a:p>
          <a:p>
            <a:pPr eaLnBrk="1" hangingPunct="1">
              <a:buClr>
                <a:schemeClr val="tx1"/>
              </a:buClr>
              <a:buFont typeface="Ericsson Hilda Light" panose="00000400000000000000" pitchFamily="2" charset="0"/>
              <a:buNone/>
              <a:defRPr/>
            </a:pPr>
            <a:r>
              <a:rPr lang="en-US" altLang="en-US" sz="1300">
                <a:solidFill>
                  <a:schemeClr val="bg1"/>
                </a:solidFill>
                <a:latin typeface="Ericsson Hilda Light" panose="00000400000000000000"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ΆΈΉΊΌΎΏΐΑΒΓΕΖΗΘΙΚΛΜΝΞΟΠΡΣΤΥΦΧΨΪΫΆΈΉΊΰ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eaLnBrk="1" hangingPunct="1">
              <a:buClr>
                <a:schemeClr val="tx1"/>
              </a:buClr>
              <a:buFont typeface="Ericsson Hilda Light" panose="00000400000000000000" pitchFamily="2" charset="0"/>
              <a:buNone/>
              <a:defRPr/>
            </a:pPr>
            <a:endParaRPr lang="en-US" altLang="en-US" sz="1300">
              <a:solidFill>
                <a:schemeClr val="bg1"/>
              </a:solidFill>
            </a:endParaRPr>
          </a:p>
          <a:p>
            <a:pPr eaLnBrk="1" hangingPunct="1">
              <a:buClr>
                <a:schemeClr val="tx1"/>
              </a:buClr>
              <a:buFont typeface="Ericsson Hilda Light" panose="00000400000000000000" pitchFamily="2" charset="0"/>
              <a:buNone/>
              <a:defRPr/>
            </a:pPr>
            <a:r>
              <a:rPr lang="en-US" altLang="en-US" sz="1300" b="1">
                <a:solidFill>
                  <a:schemeClr val="bg1"/>
                </a:solidFill>
                <a:latin typeface="Ericsson Hilda Light" panose="00000400000000000000"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ΆΈΉΊΌΎΏΐΑΒΓΕΖΗΘΙΚΛΜΝΞΟΠΡΣΤΥΦΧΨΪΫΆΈΉΊΰ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p:txBody>
      </p:sp>
      <p:sp>
        <p:nvSpPr>
          <p:cNvPr id="4" name="Rectangle 3">
            <a:extLst>
              <a:ext uri="{FF2B5EF4-FFF2-40B4-BE49-F238E27FC236}">
                <a16:creationId xmlns:a16="http://schemas.microsoft.com/office/drawing/2014/main" id="{1D23FA09-93DF-4FC8-8243-193EA13C45CA}"/>
              </a:ext>
            </a:extLst>
          </p:cNvPr>
          <p:cNvSpPr/>
          <p:nvPr userDrawn="1"/>
        </p:nvSpPr>
        <p:spPr bwMode="auto">
          <a:xfrm>
            <a:off x="0" y="0"/>
            <a:ext cx="12192000" cy="685800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pic>
        <p:nvPicPr>
          <p:cNvPr id="5" name="Picture 4">
            <a:extLst>
              <a:ext uri="{FF2B5EF4-FFF2-40B4-BE49-F238E27FC236}">
                <a16:creationId xmlns:a16="http://schemas.microsoft.com/office/drawing/2014/main" id="{7B5DB670-3097-46B3-A4F0-765DBDF01C6D}"/>
              </a:ext>
            </a:extLst>
          </p:cNvPr>
          <p:cNvPicPr>
            <a:picLocks noChangeAspect="1"/>
          </p:cNvPicPr>
          <p:nvPr userDrawn="1"/>
        </p:nvPicPr>
        <p:blipFill>
          <a:blip r:embed="rId2"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5663310" y="2866609"/>
            <a:ext cx="865383" cy="1145569"/>
          </a:xfrm>
          <a:prstGeom prst="rect">
            <a:avLst/>
          </a:prstGeom>
          <a:ln>
            <a:noFill/>
          </a:ln>
        </p:spPr>
      </p:pic>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p:nvPr>
        </p:nvSpPr>
        <p:spPr>
          <a:xfrm>
            <a:off x="3071814" y="4153259"/>
            <a:ext cx="6048375" cy="347472"/>
          </a:xfrm>
          <a:prstGeom prst="rect">
            <a:avLst/>
          </a:prstGeom>
        </p:spPr>
        <p:txBody>
          <a:bodyPr anchor="ctr"/>
          <a:lstStyle>
            <a:lvl1pPr marL="0" indent="0" algn="ctr">
              <a:lnSpc>
                <a:spcPct val="100000"/>
              </a:lnSpc>
              <a:spcBef>
                <a:spcPts val="0"/>
              </a:spcBef>
              <a:buFont typeface="Ericsson Hilda Light" charset="0"/>
              <a:buNone/>
              <a:defRPr sz="1875" baseline="0">
                <a:solidFill>
                  <a:schemeClr val="tx1"/>
                </a:solidFill>
                <a:latin typeface="+mn-lt"/>
              </a:defRPr>
            </a:lvl1pPr>
          </a:lstStyle>
          <a:p>
            <a:r>
              <a:rPr lang="en-US"/>
              <a:t>Click to edit Master subtitle style</a:t>
            </a:r>
            <a:endParaRPr lang="en-US" dirty="0"/>
          </a:p>
        </p:txBody>
      </p:sp>
    </p:spTree>
    <p:extLst>
      <p:ext uri="{BB962C8B-B14F-4D97-AF65-F5344CB8AC3E}">
        <p14:creationId xmlns:p14="http://schemas.microsoft.com/office/powerpoint/2010/main" val="314023858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86345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6758838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922214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479424"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3" name="Content Placeholder 1"/>
          <p:cNvSpPr>
            <a:spLocks noGrp="1"/>
          </p:cNvSpPr>
          <p:nvPr>
            <p:ph idx="1" hasCustomPrompt="1"/>
          </p:nvPr>
        </p:nvSpPr>
        <p:spPr>
          <a:xfrm>
            <a:off x="479425"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itle_SM"/>
          <p:cNvSpPr>
            <a:spLocks noGrp="1" noChangeArrowheads="1"/>
          </p:cNvSpPr>
          <p:nvPr>
            <p:ph type="title" hasCustomPrompt="1"/>
          </p:nvPr>
        </p:nvSpPr>
        <p:spPr bwMode="auto">
          <a:xfrm>
            <a:off x="476250" y="476250"/>
            <a:ext cx="8356600"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6312020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6240463"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7"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850641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8"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9772865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8" name="Content Placeholder 2"/>
          <p:cNvSpPr>
            <a:spLocks noGrp="1"/>
          </p:cNvSpPr>
          <p:nvPr>
            <p:ph sz="quarter" idx="12" hasCustomPrompt="1"/>
          </p:nvPr>
        </p:nvSpPr>
        <p:spPr>
          <a:xfrm>
            <a:off x="479425" y="4149724"/>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7625462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9"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2" name="Rectangle 1">
            <a:extLst>
              <a:ext uri="{FF2B5EF4-FFF2-40B4-BE49-F238E27FC236}">
                <a16:creationId xmlns:a16="http://schemas.microsoft.com/office/drawing/2014/main" id="{7431B741-3DCE-4A9B-8149-8F8BE5E5F698}"/>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35457253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solidFill>
                  <a:schemeClr val="bg1"/>
                </a:solidFill>
                <a:latin typeface="+mj-lt"/>
              </a:defRPr>
            </a:lvl1pPr>
          </a:lstStyle>
          <a:p>
            <a:r>
              <a:rPr lang="en-US" dirty="0"/>
              <a:t>Presentation title,</a:t>
            </a:r>
            <a:br>
              <a:rPr lang="en-US" dirty="0"/>
            </a:br>
            <a:r>
              <a:rPr lang="en-US" dirty="0"/>
              <a:t>Ericsson Hilda Light 60pt,</a:t>
            </a:r>
            <a:br>
              <a:rPr lang="en-US" dirty="0"/>
            </a:br>
            <a:r>
              <a:rPr lang="en-US" dirty="0"/>
              <a:t>Ericsson White,</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Presentation description/subtitle</a:t>
            </a:r>
            <a:br>
              <a:rPr lang="en-US" dirty="0"/>
            </a:br>
            <a:r>
              <a:rPr lang="en-US" dirty="0"/>
              <a:t>Ericsson Hilda 20pt</a:t>
            </a:r>
          </a:p>
        </p:txBody>
      </p:sp>
      <p:sp>
        <p:nvSpPr>
          <p:cNvPr id="3" name="Content Placeholder 2"/>
          <p:cNvSpPr>
            <a:spLocks noGrp="1"/>
          </p:cNvSpPr>
          <p:nvPr>
            <p:ph sz="quarter" idx="10" hasCustomPrompt="1"/>
          </p:nvPr>
        </p:nvSpPr>
        <p:spPr>
          <a:xfrm>
            <a:off x="6689214" y="6237287"/>
            <a:ext cx="2469030" cy="287336"/>
          </a:xfrm>
          <a:prstGeom prst="rect">
            <a:avLst/>
          </a:prstGeom>
        </p:spPr>
        <p:txBody>
          <a:bodyPr anchor="b"/>
          <a:lstStyle>
            <a:lvl1pPr marL="0" indent="0" algn="r">
              <a:buNone/>
              <a:defRPr sz="1200">
                <a:solidFill>
                  <a:schemeClr val="bg1"/>
                </a:solidFill>
                <a:latin typeface="+mn-lt"/>
              </a:defRPr>
            </a:lvl1pPr>
          </a:lstStyle>
          <a:p>
            <a:r>
              <a:rPr lang="en-US" dirty="0"/>
              <a:t>Speaker name</a:t>
            </a:r>
          </a:p>
        </p:txBody>
      </p:sp>
      <p:sp>
        <p:nvSpPr>
          <p:cNvPr id="12" name="Content Placeholder 11"/>
          <p:cNvSpPr>
            <a:spLocks noGrp="1"/>
          </p:cNvSpPr>
          <p:nvPr>
            <p:ph sz="quarter" idx="11" hasCustomPrompt="1"/>
          </p:nvPr>
        </p:nvSpPr>
        <p:spPr>
          <a:xfrm>
            <a:off x="9281601" y="6237286"/>
            <a:ext cx="1463040" cy="287337"/>
          </a:xfrm>
          <a:prstGeom prst="rect">
            <a:avLst/>
          </a:prstGeom>
          <a:noFill/>
          <a:ln w="9525">
            <a:noFill/>
            <a:miter lim="800000"/>
            <a:headEnd/>
            <a:tailEnd/>
          </a:ln>
        </p:spPr>
        <p:txBody>
          <a:bodyPr tIns="0" rIns="0" anchor="b"/>
          <a:lstStyle>
            <a:lvl1pPr marL="0" indent="0" algn="ctr">
              <a:buNone/>
              <a:defRPr lang="en-US" sz="1200" dirty="0">
                <a:solidFill>
                  <a:schemeClr val="bg1"/>
                </a:solidFill>
                <a:latin typeface="+mn-lt"/>
              </a:defRPr>
            </a:lvl1pPr>
          </a:lstStyle>
          <a:p>
            <a:r>
              <a:rPr lang="en-US" dirty="0"/>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solidFill>
                  <a:schemeClr val="bg1"/>
                </a:solidFill>
                <a:latin typeface="+mn-lt"/>
              </a:defRPr>
            </a:lvl1pPr>
          </a:lstStyle>
          <a:p>
            <a:pPr lvl="0"/>
            <a:r>
              <a:rPr lang="en-US" dirty="0"/>
              <a:t>YYYY-MM-DD</a:t>
            </a:r>
          </a:p>
        </p:txBody>
      </p:sp>
      <p:pic>
        <p:nvPicPr>
          <p:cNvPr id="9" name="Picture 11">
            <a:extLst>
              <a:ext uri="{FF2B5EF4-FFF2-40B4-BE49-F238E27FC236}">
                <a16:creationId xmlns:a16="http://schemas.microsoft.com/office/drawing/2014/main" id="{AE0ABF59-D34C-44E2-8569-812DEC85F2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19270" y="481203"/>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76996C36-7E34-4741-8B65-EDE33F340320}"/>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787326472"/>
      </p:ext>
    </p:extLst>
  </p:cSld>
  <p:clrMapOvr>
    <a:masterClrMapping/>
  </p:clrMapOvr>
  <p:hf sldNum="0" hdr="0" ftr="0"/>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9"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7" name="Rectangle 6">
            <a:extLst>
              <a:ext uri="{FF2B5EF4-FFF2-40B4-BE49-F238E27FC236}">
                <a16:creationId xmlns:a16="http://schemas.microsoft.com/office/drawing/2014/main" id="{204E4E11-4AF0-49A3-BFA0-2A3E08DA43E4}"/>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18960687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9" name="Content Placeholder 3"/>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p:txBody>
      </p:sp>
      <p:sp>
        <p:nvSpPr>
          <p:cNvPr id="10"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2758992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Preamble text, </a:t>
            </a:r>
            <a:r>
              <a:rPr lang="en-US" dirty="0"/>
              <a:t>Ericsson </a:t>
            </a:r>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Hilda 25pt, Ericsson Black</a:t>
            </a:r>
            <a:endParaRPr lang="en-US" dirty="0"/>
          </a:p>
        </p:txBody>
      </p:sp>
      <p:sp>
        <p:nvSpPr>
          <p:cNvPr id="9" name="Content Placeholder 3"/>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10"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5090902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9" name="Content Placeholder 3"/>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10" name="Title_SM"/>
          <p:cNvSpPr>
            <a:spLocks noGrp="1" noChangeArrowheads="1"/>
          </p:cNvSpPr>
          <p:nvPr>
            <p:ph type="title" hasCustomPrompt="1"/>
          </p:nvPr>
        </p:nvSpPr>
        <p:spPr bwMode="auto">
          <a:xfrm>
            <a:off x="479425"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1006958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2"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2"/>
          <p:cNvSpPr>
            <a:spLocks noGrp="1"/>
          </p:cNvSpPr>
          <p:nvPr>
            <p:ph sz="quarter" idx="2" hasCustomPrompt="1"/>
          </p:nvPr>
        </p:nvSpPr>
        <p:spPr>
          <a:xfrm>
            <a:off x="6240462"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3" name="Content Placeholder 1"/>
          <p:cNvSpPr>
            <a:spLocks noGrp="1"/>
          </p:cNvSpPr>
          <p:nvPr>
            <p:ph sz="quarter" idx="1" hasCustomPrompt="1"/>
          </p:nvPr>
        </p:nvSpPr>
        <p:spPr>
          <a:xfrm>
            <a:off x="47942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8"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79425" y="4149725"/>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2548612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3" y="415099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5" name="Content Placeholder 3"/>
          <p:cNvSpPr>
            <a:spLocks noGrp="1"/>
          </p:cNvSpPr>
          <p:nvPr>
            <p:ph sz="quarter" idx="3" hasCustomPrompt="1"/>
          </p:nvPr>
        </p:nvSpPr>
        <p:spPr>
          <a:xfrm>
            <a:off x="479424"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4" name="Content Placeholder 2"/>
          <p:cNvSpPr>
            <a:spLocks noGrp="1"/>
          </p:cNvSpPr>
          <p:nvPr>
            <p:ph sz="quarter" idx="2" hasCustomPrompt="1"/>
          </p:nvPr>
        </p:nvSpPr>
        <p:spPr>
          <a:xfrm>
            <a:off x="6240463" y="1844675"/>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a:p>
            <a:pPr lvl="4"/>
            <a:endParaRPr lang="en-US" dirty="0"/>
          </a:p>
        </p:txBody>
      </p:sp>
      <p:sp>
        <p:nvSpPr>
          <p:cNvPr id="3" name="Content Placeholder 1"/>
          <p:cNvSpPr>
            <a:spLocks noGrp="1"/>
          </p:cNvSpPr>
          <p:nvPr>
            <p:ph sz="quarter" idx="1" hasCustomPrompt="1"/>
          </p:nvPr>
        </p:nvSpPr>
        <p:spPr>
          <a:xfrm>
            <a:off x="479424"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8" name="Content Placeholder 3"/>
          <p:cNvSpPr>
            <a:spLocks noGrp="1"/>
          </p:cNvSpPr>
          <p:nvPr>
            <p:ph sz="quarter" idx="10" hasCustomPrompt="1"/>
          </p:nvPr>
        </p:nvSpPr>
        <p:spPr>
          <a:xfrm>
            <a:off x="3359151" y="4149724"/>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9" name="Content Placeholder 1"/>
          <p:cNvSpPr>
            <a:spLocks noGrp="1"/>
          </p:cNvSpPr>
          <p:nvPr>
            <p:ph sz="quarter" idx="11" hasCustomPrompt="1"/>
          </p:nvPr>
        </p:nvSpPr>
        <p:spPr>
          <a:xfrm>
            <a:off x="3359151" y="1844675"/>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10" name="Content Placeholder 4"/>
          <p:cNvSpPr>
            <a:spLocks noGrp="1"/>
          </p:cNvSpPr>
          <p:nvPr>
            <p:ph sz="quarter" idx="12" hasCustomPrompt="1"/>
          </p:nvPr>
        </p:nvSpPr>
        <p:spPr>
          <a:xfrm>
            <a:off x="9120188" y="4149725"/>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p:txBody>
      </p:sp>
      <p:sp>
        <p:nvSpPr>
          <p:cNvPr id="11" name="Content Placeholder 2"/>
          <p:cNvSpPr>
            <a:spLocks noGrp="1"/>
          </p:cNvSpPr>
          <p:nvPr>
            <p:ph sz="quarter" idx="13" hasCustomPrompt="1"/>
          </p:nvPr>
        </p:nvSpPr>
        <p:spPr>
          <a:xfrm>
            <a:off x="9120188"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1"/>
            <a:r>
              <a:rPr lang="en-US" dirty="0"/>
              <a:t>First level</a:t>
            </a:r>
          </a:p>
          <a:p>
            <a:pPr lvl="2"/>
            <a:r>
              <a:rPr lang="en-US" dirty="0"/>
              <a:t>Second level</a:t>
            </a:r>
          </a:p>
          <a:p>
            <a:pPr lvl="4"/>
            <a:endParaRPr lang="en-US" dirty="0"/>
          </a:p>
        </p:txBody>
      </p:sp>
      <p:sp>
        <p:nvSpPr>
          <p:cNvPr id="12"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4369881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473190"/>
            <a:ext cx="11233149" cy="6068772"/>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dirty="0">
                <a:solidFill>
                  <a:schemeClr val="bg1"/>
                </a:solidFill>
              </a:rPr>
              <a:t>Characters for Embedded characters:</a:t>
            </a:r>
          </a:p>
          <a:p>
            <a:pPr marL="0" indent="0">
              <a:buClr>
                <a:schemeClr val="tx1"/>
              </a:buClr>
              <a:buFont typeface="Ericsson Hilda Light" panose="00000400000000000000" pitchFamily="2" charset="0"/>
              <a:buNone/>
            </a:pPr>
            <a:r>
              <a:rPr lang="en-US" sz="1400" dirty="0">
                <a:solidFill>
                  <a:schemeClr val="bg1"/>
                </a:solidFill>
              </a:rPr>
              <a:t>!"#$%&amp;'()*+,./0123456789:;&lt;=&gt;?@ABCDEFGHIJKLMNOPQRSTUVWXYZ[\]^_`</a:t>
            </a:r>
            <a:r>
              <a:rPr lang="en-US" sz="1400" dirty="0" err="1">
                <a:solidFill>
                  <a:schemeClr val="bg1"/>
                </a:solidFill>
              </a:rPr>
              <a:t>abcdefghijklmnopqrstuvwxyz</a:t>
            </a:r>
            <a:r>
              <a:rPr lang="en-US" sz="1400" dirty="0">
                <a:solidFill>
                  <a:schemeClr val="bg1"/>
                </a:solidFill>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dirty="0" err="1">
                <a:solidFill>
                  <a:schemeClr val="bg1"/>
                </a:solidFill>
              </a:rPr>
              <a:t>ẀẁẃẄẅỲỳ</a:t>
            </a:r>
            <a:r>
              <a:rPr lang="en-US" sz="1400" dirty="0">
                <a:solidFill>
                  <a:schemeClr val="bg1"/>
                </a:solidFill>
              </a:rPr>
              <a:t>‘’‚“”„†‡•…‰‹›⁄€™ĀĀĂĂĄĄĆĆĊĊČČĎĎĐĐĒĒĖĖĘĘĚĚĞĞĠĠĢĢĪĪĮĮİĶĶĹĹĻĻĽĽŃŃŅŅŇŇŌŌŐŐŔŔŖŖŘŘŚŚŞŞŢŢŤŤŪŪŮŮŰŰŲŲŴŴŶŶŹŹŻŻȘș−≤≥</a:t>
            </a:r>
            <a:r>
              <a:rPr lang="en-US" sz="1400" dirty="0" err="1">
                <a:solidFill>
                  <a:schemeClr val="bg1"/>
                </a:solidFill>
              </a:rPr>
              <a:t>ﬁﬂΆΈΉΊΌΎΏΐΑΒΓΕΖΗΘΙΚΛΜΝΞΟΠΡΣΤΥΦΧΨΪΫΆΈΉΊΰ</a:t>
            </a:r>
            <a:r>
              <a:rPr lang="en-US" sz="1400" dirty="0">
                <a:solidFill>
                  <a:schemeClr val="bg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bg1"/>
                </a:solidFill>
              </a:rPr>
              <a:t>!"#$%&amp;'()*+,./0123456789:;&lt;=&gt;?@ABCDEFGHIJKLMNOPQRSTUVWXYZ[\]^_`</a:t>
            </a:r>
            <a:r>
              <a:rPr lang="en-US" sz="1400" b="1" dirty="0" err="1">
                <a:solidFill>
                  <a:schemeClr val="bg1"/>
                </a:solidFill>
              </a:rPr>
              <a:t>abcdefghijklmnopqrstuvwxyz</a:t>
            </a:r>
            <a:r>
              <a:rPr lang="en-US" sz="1400" b="1" dirty="0">
                <a:solidFill>
                  <a:schemeClr val="bg1"/>
                </a:solidFill>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b="1" dirty="0" err="1">
                <a:solidFill>
                  <a:schemeClr val="bg1"/>
                </a:solidFill>
              </a:rPr>
              <a:t>ẀẁẃẄẅỲỳ</a:t>
            </a:r>
            <a:r>
              <a:rPr lang="en-US" sz="1400" b="1" dirty="0">
                <a:solidFill>
                  <a:schemeClr val="bg1"/>
                </a:solidFill>
              </a:rPr>
              <a:t>‘’‚“”„†‡•…‰‹›⁄€™ĀĀĂĂĄĄĆĆĊĊČČĎĎĐĐĒĒĖĖĘĘĚĚĞĞĠĠĢĢĪĪĮĮİĶĶĹĹĻĻĽĽŃŃŅŅŇŇŌŌŐŐŔŔŖŖŘŘŚŚŞŞŢŢŤŤŪŪŮŮŰŰŲŲŴŴŶŶŹŹŻŻȘș−≤≥</a:t>
            </a:r>
            <a:r>
              <a:rPr lang="en-US" sz="1400" b="1" dirty="0" err="1">
                <a:solidFill>
                  <a:schemeClr val="bg1"/>
                </a:solidFill>
              </a:rPr>
              <a:t>ﬁﬂΆΈΉΊΌΎΏΐΑΒΓΕΖΗΘΙΚΛΜΝΞΟΠΡΣΤΥΦΧΨΪΫΆΈΉΊΰ</a:t>
            </a:r>
            <a:r>
              <a:rPr lang="en-US" sz="1400" b="1" dirty="0">
                <a:solidFill>
                  <a:schemeClr val="bg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dirty="0">
                <a:solidFill>
                  <a:schemeClr val="bg1"/>
                </a:solidFill>
                <a:latin typeface="+mj-lt"/>
              </a:rPr>
              <a:t>!"#$%&amp;'()*+,./0123456789:;&lt;=&gt;?@ABCDEFGHIJKLMNOPQRSTUVWXYZ[\]^_`</a:t>
            </a:r>
            <a:r>
              <a:rPr lang="en-US" sz="1400" dirty="0" err="1">
                <a:solidFill>
                  <a:schemeClr val="bg1"/>
                </a:solidFill>
                <a:latin typeface="+mj-lt"/>
              </a:rPr>
              <a:t>abcdefghijklmnopqrstuvwxyz</a:t>
            </a:r>
            <a:r>
              <a:rPr lang="en-US" sz="1400" dirty="0">
                <a:solidFill>
                  <a:schemeClr val="bg1"/>
                </a:solidFill>
                <a:latin typeface="+mj-lt"/>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dirty="0" err="1">
                <a:solidFill>
                  <a:schemeClr val="bg1"/>
                </a:solidFill>
                <a:latin typeface="+mj-lt"/>
              </a:rPr>
              <a:t>ẀẁẃẄẅỲỳ</a:t>
            </a:r>
            <a:r>
              <a:rPr lang="en-US" sz="1400" dirty="0">
                <a:solidFill>
                  <a:schemeClr val="bg1"/>
                </a:solidFill>
                <a:latin typeface="+mj-lt"/>
              </a:rPr>
              <a:t>‘’‚“”„†‡•…‰‹›⁄€™ĀĀĂĂĄĄĆĆĊĊČČĎĎĐĐĒĒĖĖĘĘĚĚĞĞĠĠĢĢĪĪĮĮİĶĶĹĹĻĻĽĽŃŃŅŅŇŇŌŌŐŐŔŔŖŖŘŘŚŚŞŞŢŢŤŤŪŪŮŮŰŰŲŲŴŴŶŶŹŹŻŻȘș−≤≥</a:t>
            </a:r>
            <a:r>
              <a:rPr lang="en-US" sz="1400" dirty="0" err="1">
                <a:solidFill>
                  <a:schemeClr val="bg1"/>
                </a:solidFill>
                <a:latin typeface="+mj-lt"/>
              </a:rPr>
              <a:t>ﬁﬂΆΈΉΊΌΎΏΐΑΒΓΕΖΗΘΙΚΛΜΝΞΟΠΡΣΤΥΦΧΨΪΫΆΈΉΊΰ</a:t>
            </a:r>
            <a:r>
              <a:rPr lang="en-US" sz="1400" dirty="0">
                <a:solidFill>
                  <a:schemeClr val="bg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bg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bg1"/>
                </a:solidFill>
                <a:latin typeface="+mj-lt"/>
              </a:rPr>
              <a:t>!"#$%&amp;'()*+,./0123456789:;&lt;=&gt;?@ABCDEFGHIJKLMNOPQRSTUVWXYZ[\]^_`</a:t>
            </a:r>
            <a:r>
              <a:rPr lang="en-US" sz="1400" b="1" dirty="0" err="1">
                <a:solidFill>
                  <a:schemeClr val="bg1"/>
                </a:solidFill>
                <a:latin typeface="+mj-lt"/>
              </a:rPr>
              <a:t>abcdefghijklmnopqrstuvwxyz</a:t>
            </a:r>
            <a:r>
              <a:rPr lang="en-US" sz="1400" b="1" dirty="0">
                <a:solidFill>
                  <a:schemeClr val="bg1"/>
                </a:solidFill>
                <a:latin typeface="+mj-lt"/>
              </a:rPr>
              <a:t>{|}~¡¢£¤¥¦§¨©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a:t>
            </a:r>
            <a:r>
              <a:rPr lang="en-US" sz="1400" b="1" dirty="0" err="1">
                <a:solidFill>
                  <a:schemeClr val="bg1"/>
                </a:solidFill>
                <a:latin typeface="+mj-lt"/>
              </a:rPr>
              <a:t>ẀẁẃẄẅỲỳ</a:t>
            </a:r>
            <a:r>
              <a:rPr lang="en-US" sz="1400" b="1" dirty="0">
                <a:solidFill>
                  <a:schemeClr val="bg1"/>
                </a:solidFill>
                <a:latin typeface="+mj-lt"/>
              </a:rPr>
              <a:t>‘’‚“”„†‡•…‰‹›⁄€™ĀĀĂĂĄĄĆĆĊĊČČĎĎĐĐĒĒĖĖĘĘĚĚĞĞĠĠĢĢĪĪĮĮİĶĶĹĹĻĻĽĽŃŃŅŅŇŇŌŌŐŐŔŔŖŖŘŘŚŚŞŞŢŢŤŤŪŪŮŮŰŰŲŲŴŴŶŶŹŹŻŻȘș−≤≥</a:t>
            </a:r>
            <a:r>
              <a:rPr lang="en-US" sz="1400" b="1" dirty="0" err="1">
                <a:solidFill>
                  <a:schemeClr val="bg1"/>
                </a:solidFill>
                <a:latin typeface="+mj-lt"/>
              </a:rPr>
              <a:t>ﬁﬂΆΈΉΊΌΎΏΐΑΒΓΕΖΗΘΙΚΛΜΝΞΟΠΡΣΤΥΦΧΨΪΫΆΈΉΊΰ</a:t>
            </a:r>
            <a:r>
              <a:rPr lang="en-US" sz="1400" b="1" dirty="0">
                <a:solidFill>
                  <a:schemeClr val="bg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p:txBody>
      </p:sp>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pic>
        <p:nvPicPr>
          <p:cNvPr id="3" name="Picture 2">
            <a:extLst>
              <a:ext uri="{FF2B5EF4-FFF2-40B4-BE49-F238E27FC236}">
                <a16:creationId xmlns:a16="http://schemas.microsoft.com/office/drawing/2014/main" id="{C99071CE-F2DE-431D-A304-302D376E0947}"/>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5663309" y="2866608"/>
            <a:ext cx="865383" cy="1145569"/>
          </a:xfrm>
          <a:prstGeom prst="rect">
            <a:avLst/>
          </a:prstGeom>
          <a:ln>
            <a:noFill/>
          </a:ln>
        </p:spPr>
      </p:pic>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dirty="0"/>
              <a:t>Ericsson.com/related-</a:t>
            </a:r>
            <a:r>
              <a:rPr lang="en-US" dirty="0" err="1"/>
              <a:t>url</a:t>
            </a:r>
            <a:endParaRPr lang="en-US" dirty="0"/>
          </a:p>
        </p:txBody>
      </p:sp>
    </p:spTree>
    <p:extLst>
      <p:ext uri="{BB962C8B-B14F-4D97-AF65-F5344CB8AC3E}">
        <p14:creationId xmlns:p14="http://schemas.microsoft.com/office/powerpoint/2010/main" val="5761685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67215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sp>
        <p:nvSpPr>
          <p:cNvPr id="3" name="Content Placeholder 2"/>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dirty="0"/>
              <a:t>Speaker name</a:t>
            </a:r>
          </a:p>
        </p:txBody>
      </p:sp>
      <p:sp>
        <p:nvSpPr>
          <p:cNvPr id="12" name="Content Placeholder 11"/>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spTree>
    <p:extLst>
      <p:ext uri="{BB962C8B-B14F-4D97-AF65-F5344CB8AC3E}">
        <p14:creationId xmlns:p14="http://schemas.microsoft.com/office/powerpoint/2010/main" val="2270718121"/>
      </p:ext>
    </p:extLst>
  </p:cSld>
  <p:clrMapOvr>
    <a:masterClrMapping/>
  </p:clrMapOvr>
  <p:hf sldNum="0" hdr="0" ftr="0"/>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pic>
        <p:nvPicPr>
          <p:cNvPr id="9" name="Graphic 8">
            <a:extLst>
              <a:ext uri="{FF2B5EF4-FFF2-40B4-BE49-F238E27FC236}">
                <a16:creationId xmlns:a16="http://schemas.microsoft.com/office/drawing/2014/main" id="{6E03516D-EC68-4282-84F4-9729304A51D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90452" y="476250"/>
            <a:ext cx="256032" cy="256032"/>
          </a:xfrm>
          <a:prstGeom prst="rect">
            <a:avLst/>
          </a:prstGeom>
        </p:spPr>
      </p:pic>
      <p:sp>
        <p:nvSpPr>
          <p:cNvPr id="10" name="Content Placeholder 2">
            <a:extLst>
              <a:ext uri="{FF2B5EF4-FFF2-40B4-BE49-F238E27FC236}">
                <a16:creationId xmlns:a16="http://schemas.microsoft.com/office/drawing/2014/main" id="{C3D47211-FF10-4DFA-A5AF-8E0A63463B47}"/>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dirty="0"/>
              <a:t>Speaker name</a:t>
            </a:r>
          </a:p>
        </p:txBody>
      </p:sp>
      <p:sp>
        <p:nvSpPr>
          <p:cNvPr id="11" name="Content Placeholder 11">
            <a:extLst>
              <a:ext uri="{FF2B5EF4-FFF2-40B4-BE49-F238E27FC236}">
                <a16:creationId xmlns:a16="http://schemas.microsoft.com/office/drawing/2014/main" id="{0E57E58D-AC34-4A4B-A5B1-CE1B53ABBDA9}"/>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3" name="Content Placeholder 11">
            <a:extLst>
              <a:ext uri="{FF2B5EF4-FFF2-40B4-BE49-F238E27FC236}">
                <a16:creationId xmlns:a16="http://schemas.microsoft.com/office/drawing/2014/main" id="{A4CC6AB0-560E-4AE0-A93D-9C1C64F05440}"/>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spTree>
    <p:extLst>
      <p:ext uri="{BB962C8B-B14F-4D97-AF65-F5344CB8AC3E}">
        <p14:creationId xmlns:p14="http://schemas.microsoft.com/office/powerpoint/2010/main" val="2116388673"/>
      </p:ext>
    </p:extLst>
  </p:cSld>
  <p:clrMapOvr>
    <a:masterClrMapping/>
  </p:clrMapOvr>
  <p:hf sldNum="0" hdr="0" ftr="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6000" b="0" dirty="0">
                <a:solidFill>
                  <a:schemeClr val="tx1"/>
                </a:solidFill>
                <a:latin typeface="+mj-lt"/>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sp>
        <p:nvSpPr>
          <p:cNvPr id="5" name="Rectangle 4">
            <a:extLst>
              <a:ext uri="{FF2B5EF4-FFF2-40B4-BE49-F238E27FC236}">
                <a16:creationId xmlns:a16="http://schemas.microsoft.com/office/drawing/2014/main" id="{F2107852-96F4-41A1-A287-DA44429A4146}"/>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1085322578"/>
      </p:ext>
    </p:extLst>
  </p:cSld>
  <p:clrMapOvr>
    <a:masterClrMapping/>
  </p:clrMapOvr>
  <p:hf sldNum="0"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solidFill>
                  <a:schemeClr val="bg1"/>
                </a:solidFill>
                <a:latin typeface="+mj-lt"/>
              </a:defRPr>
            </a:lvl1pPr>
          </a:lstStyle>
          <a:p>
            <a:r>
              <a:rPr lang="en-US" dirty="0"/>
              <a:t>Presentation title,</a:t>
            </a:r>
            <a:br>
              <a:rPr lang="en-US" dirty="0"/>
            </a:br>
            <a:r>
              <a:rPr lang="en-US" dirty="0"/>
              <a:t>Ericsson Hilda Light 60pt,</a:t>
            </a:r>
            <a:br>
              <a:rPr lang="en-US" dirty="0"/>
            </a:br>
            <a:r>
              <a:rPr lang="en-US" dirty="0"/>
              <a:t>Ericsson White,</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Presentation description/subtitle</a:t>
            </a:r>
            <a:br>
              <a:rPr lang="en-US" dirty="0"/>
            </a:br>
            <a:r>
              <a:rPr lang="en-US" dirty="0"/>
              <a:t>Ericsson Hilda 20pt</a:t>
            </a:r>
          </a:p>
        </p:txBody>
      </p:sp>
      <p:pic>
        <p:nvPicPr>
          <p:cNvPr id="10" name="Graphic 9">
            <a:extLst>
              <a:ext uri="{FF2B5EF4-FFF2-40B4-BE49-F238E27FC236}">
                <a16:creationId xmlns:a16="http://schemas.microsoft.com/office/drawing/2014/main" id="{E29FEEAB-1C1F-4153-BC50-6FCDEAC19C8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
        <p:nvSpPr>
          <p:cNvPr id="9" name="Content Placeholder 2">
            <a:extLst>
              <a:ext uri="{FF2B5EF4-FFF2-40B4-BE49-F238E27FC236}">
                <a16:creationId xmlns:a16="http://schemas.microsoft.com/office/drawing/2014/main" id="{07AC4DB9-933C-4680-A281-C11929BCC2F5}"/>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solidFill>
                  <a:schemeClr val="bg1"/>
                </a:solidFill>
                <a:latin typeface="+mn-lt"/>
              </a:defRPr>
            </a:lvl1pPr>
          </a:lstStyle>
          <a:p>
            <a:r>
              <a:rPr lang="en-US" dirty="0"/>
              <a:t>Speaker name</a:t>
            </a:r>
          </a:p>
        </p:txBody>
      </p:sp>
      <p:sp>
        <p:nvSpPr>
          <p:cNvPr id="11" name="Content Placeholder 11">
            <a:extLst>
              <a:ext uri="{FF2B5EF4-FFF2-40B4-BE49-F238E27FC236}">
                <a16:creationId xmlns:a16="http://schemas.microsoft.com/office/drawing/2014/main" id="{7B568BB6-C8A4-4545-B025-7D97CC4692BC}"/>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solidFill>
                  <a:schemeClr val="bg1"/>
                </a:solidFill>
                <a:latin typeface="+mn-lt"/>
              </a:defRPr>
            </a:lvl1pPr>
          </a:lstStyle>
          <a:p>
            <a:r>
              <a:rPr lang="en-US" dirty="0"/>
              <a:t>Organization</a:t>
            </a:r>
          </a:p>
        </p:txBody>
      </p:sp>
      <p:sp>
        <p:nvSpPr>
          <p:cNvPr id="13" name="Content Placeholder 11">
            <a:extLst>
              <a:ext uri="{FF2B5EF4-FFF2-40B4-BE49-F238E27FC236}">
                <a16:creationId xmlns:a16="http://schemas.microsoft.com/office/drawing/2014/main" id="{D51585B7-9911-4BC2-ACC7-3D991408BDDF}"/>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solidFill>
                  <a:schemeClr val="bg1"/>
                </a:solidFill>
                <a:latin typeface="+mn-lt"/>
              </a:defRPr>
            </a:lvl1pPr>
          </a:lstStyle>
          <a:p>
            <a:pPr lvl="0"/>
            <a:r>
              <a:rPr lang="en-US" dirty="0"/>
              <a:t>YYYY-MM-DD</a:t>
            </a:r>
          </a:p>
        </p:txBody>
      </p:sp>
    </p:spTree>
    <p:extLst>
      <p:ext uri="{BB962C8B-B14F-4D97-AF65-F5344CB8AC3E}">
        <p14:creationId xmlns:p14="http://schemas.microsoft.com/office/powerpoint/2010/main" val="1965606992"/>
      </p:ext>
    </p:extLst>
  </p:cSld>
  <p:clrMapOvr>
    <a:masterClrMapping/>
  </p:clrMapOvr>
  <p:hf sldNum="0" hdr="0" ftr="0"/>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note Cover Page">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6000" b="0" dirty="0">
                <a:solidFill>
                  <a:schemeClr val="tx1"/>
                </a:solidFill>
                <a:latin typeface="+mj-lt"/>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spTree>
    <p:extLst>
      <p:ext uri="{BB962C8B-B14F-4D97-AF65-F5344CB8AC3E}">
        <p14:creationId xmlns:p14="http://schemas.microsoft.com/office/powerpoint/2010/main" val="1735525486"/>
      </p:ext>
    </p:extLst>
  </p:cSld>
  <p:clrMapOvr>
    <a:masterClrMapping/>
  </p:clrMapOvr>
  <p:hf sldNum="0" hdr="0" ftr="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tx1"/>
                </a:solidFill>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pic>
        <p:nvPicPr>
          <p:cNvPr id="6" name="Graphic 5">
            <a:extLst>
              <a:ext uri="{FF2B5EF4-FFF2-40B4-BE49-F238E27FC236}">
                <a16:creationId xmlns:a16="http://schemas.microsoft.com/office/drawing/2014/main" id="{E0F7625D-2507-407E-B5D2-5964ED88BA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1530450881"/>
      </p:ext>
    </p:extLst>
  </p:cSld>
  <p:clrMapOvr>
    <a:masterClrMapping/>
  </p:clrMapOvr>
  <p:hf sldNum="0" hdr="0" ftr="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bg1"/>
                </a:solidFill>
              </a:defRPr>
            </a:lvl1pPr>
          </a:lstStyle>
          <a:p>
            <a:pPr lvl="0"/>
            <a:r>
              <a:rPr lang="en-US" dirty="0"/>
              <a:t>Keynote cover cage, </a:t>
            </a:r>
            <a:br>
              <a:rPr lang="en-US" dirty="0"/>
            </a:br>
            <a:r>
              <a:rPr lang="en-US" dirty="0"/>
              <a:t>Ericsson Hilda Light 60pt, </a:t>
            </a:r>
            <a:br>
              <a:rPr lang="en-US" dirty="0"/>
            </a:br>
            <a:r>
              <a:rPr lang="en-US" dirty="0"/>
              <a:t>Ericsson White,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peaker,</a:t>
            </a:r>
            <a:br>
              <a:rPr lang="en-US" dirty="0"/>
            </a:br>
            <a:r>
              <a:rPr lang="en-US" dirty="0"/>
              <a:t>Ericsson Black, Ericsson Hilda 20pt</a:t>
            </a:r>
          </a:p>
        </p:txBody>
      </p:sp>
      <p:pic>
        <p:nvPicPr>
          <p:cNvPr id="7" name="Graphic 6">
            <a:extLst>
              <a:ext uri="{FF2B5EF4-FFF2-40B4-BE49-F238E27FC236}">
                <a16:creationId xmlns:a16="http://schemas.microsoft.com/office/drawing/2014/main" id="{7753C092-06FE-4B22-BAB1-EBEB69074D0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647922519"/>
      </p:ext>
    </p:extLst>
  </p:cSld>
  <p:clrMapOvr>
    <a:masterClrMapping/>
  </p:clrMapOvr>
  <p:hf sldNum="0" hdr="0" ftr="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035D0DD-E99D-4FBA-B8C0-65E91EC0492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925141121"/>
      </p:ext>
    </p:extLst>
  </p:cSld>
  <p:clrMapOvr>
    <a:masterClrMapping/>
  </p:clrMapOvr>
  <p:hf sldNum="0" hdr="0" ftr="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BB77A080-9B1F-4D75-A79E-8C7540FBB16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813718077"/>
      </p:ext>
    </p:extLst>
  </p:cSld>
  <p:clrMapOvr>
    <a:masterClrMapping/>
  </p:clrMapOvr>
  <p:hf sldNum="0" hdr="0" ft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01042C2C-5CDA-4F99-B59E-8CE43FEF21B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883045252"/>
      </p:ext>
    </p:extLst>
  </p:cSld>
  <p:clrMapOvr>
    <a:masterClrMapping/>
  </p:clrMapOvr>
  <p:hf sldNum="0" hdr="0" ft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4A0CF15-A701-44C3-81FC-A544265685B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993597709"/>
      </p:ext>
    </p:extLst>
  </p:cSld>
  <p:clrMapOvr>
    <a:masterClrMapping/>
  </p:clrMapOvr>
  <p:hf sldNum="0" hdr="0" ftr="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34B7B746-B315-4EB5-B3A2-CA259B065B9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209000271"/>
      </p:ext>
    </p:extLst>
  </p:cSld>
  <p:clrMapOvr>
    <a:masterClrMapping/>
  </p:clrMapOvr>
  <p:hf sldNum="0" hdr="0" ftr="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6096BBFC-712A-429D-9C0A-7743993E7FC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236230792"/>
      </p:ext>
    </p:extLst>
  </p:cSld>
  <p:clrMapOvr>
    <a:masterClrMapping/>
  </p:clrMapOvr>
  <p:hf sldNum="0" hdr="0" ft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tx1"/>
                </a:solidFill>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pic>
        <p:nvPicPr>
          <p:cNvPr id="8" name="Picture 7">
            <a:extLst>
              <a:ext uri="{FF2B5EF4-FFF2-40B4-BE49-F238E27FC236}">
                <a16:creationId xmlns:a16="http://schemas.microsoft.com/office/drawing/2014/main" id="{5EA31692-921B-434F-B398-8E2B345D16EE}"/>
              </a:ext>
            </a:extLst>
          </p:cNvPr>
          <p:cNvPicPr>
            <a:picLocks noChangeAspect="1"/>
          </p:cNvPicPr>
          <p:nvPr userDrawn="1"/>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Tree>
    <p:extLst>
      <p:ext uri="{BB962C8B-B14F-4D97-AF65-F5344CB8AC3E}">
        <p14:creationId xmlns:p14="http://schemas.microsoft.com/office/powerpoint/2010/main" val="1177055427"/>
      </p:ext>
    </p:extLst>
  </p:cSld>
  <p:clrMapOvr>
    <a:masterClrMapping/>
  </p:clrMapOvr>
  <p:hf sldNum="0" hdr="0" ft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tement Page 7">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Black, </a:t>
            </a:r>
            <a:br>
              <a:rPr lang="en-US" dirty="0"/>
            </a:br>
            <a:r>
              <a:rPr lang="en-US" dirty="0"/>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tatement/quote source, </a:t>
            </a:r>
          </a:p>
          <a:p>
            <a:r>
              <a:rPr lang="en-US" dirty="0"/>
              <a:t>Ericsson Black, Ericsson Hilda 20pt</a:t>
            </a:r>
          </a:p>
        </p:txBody>
      </p:sp>
    </p:spTree>
    <p:extLst>
      <p:ext uri="{BB962C8B-B14F-4D97-AF65-F5344CB8AC3E}">
        <p14:creationId xmlns:p14="http://schemas.microsoft.com/office/powerpoint/2010/main" val="479394550"/>
      </p:ext>
    </p:extLst>
  </p:cSld>
  <p:clrMapOvr>
    <a:masterClrMapping/>
  </p:clrMapOvr>
  <p:hf sldNum="0" hdr="0" ftr="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dirty="0"/>
              <a:t>Chapter/section, </a:t>
            </a:r>
            <a:br>
              <a:rPr lang="en-US" dirty="0"/>
            </a:br>
            <a:r>
              <a:rPr lang="en-US" dirty="0"/>
              <a:t>Ericsson Hilda Light 60pt, Ericsson Black, </a:t>
            </a:r>
            <a:br>
              <a:rPr lang="en-US" dirty="0"/>
            </a:br>
            <a:r>
              <a:rPr lang="en-US" dirty="0"/>
              <a:t>max 4-lines</a:t>
            </a:r>
          </a:p>
        </p:txBody>
      </p:sp>
    </p:spTree>
    <p:extLst>
      <p:ext uri="{BB962C8B-B14F-4D97-AF65-F5344CB8AC3E}">
        <p14:creationId xmlns:p14="http://schemas.microsoft.com/office/powerpoint/2010/main" val="3566235257"/>
      </p:ext>
    </p:extLst>
  </p:cSld>
  <p:clrMapOvr>
    <a:masterClrMapping/>
  </p:clrMapOvr>
  <p:hf sldNum="0" hdr="0" ftr="0"/>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28249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1683303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0613FB31-E723-434D-8FBC-0054A541634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9808658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2"/>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82EAEE37-7D1D-49D7-BEC8-7A88843E383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2627693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A44C7C5B-04BF-4F0E-888E-CE87D0EF1DA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1253540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4"/>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65A3682-3283-4350-B37F-DCABDCB15F6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0324280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5"/>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6B1A279A-6DFF-44E2-AFD5-C14BD71050E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430042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6"/>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DC9C0052-7A7B-40FB-AF90-CA9C4B79D2E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6684979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bg1"/>
                </a:solidFill>
              </a:defRPr>
            </a:lvl1pPr>
          </a:lstStyle>
          <a:p>
            <a:pPr lvl="0"/>
            <a:r>
              <a:rPr lang="en-US" dirty="0"/>
              <a:t>Keynote cover cage, </a:t>
            </a:r>
            <a:br>
              <a:rPr lang="en-US" dirty="0"/>
            </a:br>
            <a:r>
              <a:rPr lang="en-US" dirty="0"/>
              <a:t>Ericsson Hilda Light 60pt, </a:t>
            </a:r>
            <a:br>
              <a:rPr lang="en-US" dirty="0"/>
            </a:br>
            <a:r>
              <a:rPr lang="en-US" dirty="0"/>
              <a:t>Ericsson White,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peaker,</a:t>
            </a:r>
            <a:br>
              <a:rPr lang="en-US" dirty="0"/>
            </a:br>
            <a:r>
              <a:rPr lang="en-US" dirty="0"/>
              <a:t>Ericsson Black, Ericsson Hilda 20pt</a:t>
            </a:r>
          </a:p>
        </p:txBody>
      </p:sp>
      <p:pic>
        <p:nvPicPr>
          <p:cNvPr id="6" name="Picture 11">
            <a:extLst>
              <a:ext uri="{FF2B5EF4-FFF2-40B4-BE49-F238E27FC236}">
                <a16:creationId xmlns:a16="http://schemas.microsoft.com/office/drawing/2014/main" id="{62EA197D-ECA7-4E2F-AB03-2BA31AB9DEF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126502F4-C632-4CE4-B855-FB1137A3952D}"/>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064663325"/>
      </p:ext>
    </p:extLst>
  </p:cSld>
  <p:clrMapOvr>
    <a:masterClrMapping/>
  </p:clrMapOvr>
  <p:hf sldNum="0" hdr="0" ft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aphic heavy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7D510456-FEBC-46FA-B25A-B809F2C18A6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54957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5" name="Title_SM"/>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
        <p:nvSpPr>
          <p:cNvPr id="3" name="Content Placeholder 2">
            <a:extLst>
              <a:ext uri="{FF2B5EF4-FFF2-40B4-BE49-F238E27FC236}">
                <a16:creationId xmlns:a16="http://schemas.microsoft.com/office/drawing/2014/main" id="{810CFEFC-6AC8-4817-A0D3-6029D48BD293}"/>
              </a:ext>
            </a:extLst>
          </p:cNvPr>
          <p:cNvSpPr>
            <a:spLocks noGrp="1"/>
          </p:cNvSpPr>
          <p:nvPr>
            <p:ph sz="quarter" idx="10" hasCustomPrompt="1"/>
          </p:nvPr>
        </p:nvSpPr>
        <p:spPr>
          <a:xfrm>
            <a:off x="479425" y="1844675"/>
            <a:ext cx="11233150"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1592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1 smaller column">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79425" y="1844675"/>
            <a:ext cx="8353426" cy="4392612"/>
          </a:xfr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8538043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Title_SM">
            <a:extLst>
              <a:ext uri="{FF2B5EF4-FFF2-40B4-BE49-F238E27FC236}">
                <a16:creationId xmlns:a16="http://schemas.microsoft.com/office/drawing/2014/main" id="{AC5B9436-E3EB-4A3D-BE6B-EFFF8123DE9D}"/>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1182980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479425" y="1844675"/>
            <a:ext cx="5472113"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p:cNvSpPr>
            <a:spLocks noGrp="1" noChangeArrowheads="1"/>
          </p:cNvSpPr>
          <p:nvPr>
            <p:ph type="title" hasCustomPrompt="1"/>
          </p:nvPr>
        </p:nvSpPr>
        <p:spPr bwMode="auto">
          <a:xfrm>
            <a:off x="479425" y="476250"/>
            <a:ext cx="5472113"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 Hilda Light 40pt, </a:t>
            </a:r>
            <a:r>
              <a:rPr lang="en-US" dirty="0" err="1"/>
              <a:t>Eri</a:t>
            </a:r>
            <a:r>
              <a:rPr lang="en-US" dirty="0"/>
              <a:t>. Black, max 2-lines</a:t>
            </a:r>
          </a:p>
        </p:txBody>
      </p:sp>
      <p:sp>
        <p:nvSpPr>
          <p:cNvPr id="3" name="Picture Placeholder 2">
            <a:extLst>
              <a:ext uri="{FF2B5EF4-FFF2-40B4-BE49-F238E27FC236}">
                <a16:creationId xmlns:a16="http://schemas.microsoft.com/office/drawing/2014/main" id="{2F5F844D-0CF3-4814-B0DE-3D27A83936FD}"/>
              </a:ext>
            </a:extLst>
          </p:cNvPr>
          <p:cNvSpPr>
            <a:spLocks noGrp="1"/>
          </p:cNvSpPr>
          <p:nvPr>
            <p:ph type="pic" sz="quarter" idx="11" hasCustomPrompt="1"/>
          </p:nvPr>
        </p:nvSpPr>
        <p:spPr>
          <a:xfrm>
            <a:off x="609600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15267316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Title_SM">
            <a:extLst>
              <a:ext uri="{FF2B5EF4-FFF2-40B4-BE49-F238E27FC236}">
                <a16:creationId xmlns:a16="http://schemas.microsoft.com/office/drawing/2014/main" id="{4ACB62A1-CC4A-4B59-B1D8-ED86B77D9A3A}"/>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8561783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240463" y="1844675"/>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p:cNvSpPr>
            <a:spLocks noGrp="1" noChangeArrowheads="1"/>
          </p:cNvSpPr>
          <p:nvPr>
            <p:ph type="title" hasCustomPrompt="1"/>
          </p:nvPr>
        </p:nvSpPr>
        <p:spPr bwMode="auto">
          <a:xfrm>
            <a:off x="6240463" y="476250"/>
            <a:ext cx="4924362"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max 2-lines</a:t>
            </a:r>
          </a:p>
        </p:txBody>
      </p:sp>
      <p:sp>
        <p:nvSpPr>
          <p:cNvPr id="3" name="Picture Placeholder 2">
            <a:extLst>
              <a:ext uri="{FF2B5EF4-FFF2-40B4-BE49-F238E27FC236}">
                <a16:creationId xmlns:a16="http://schemas.microsoft.com/office/drawing/2014/main" id="{B0349585-9F54-46CC-8CEC-052CD1853EC5}"/>
              </a:ext>
            </a:extLst>
          </p:cNvPr>
          <p:cNvSpPr>
            <a:spLocks noGrp="1"/>
          </p:cNvSpPr>
          <p:nvPr>
            <p:ph type="pic" sz="quarter" idx="11" hasCustomPrompt="1"/>
          </p:nvPr>
        </p:nvSpPr>
        <p:spPr>
          <a:xfrm>
            <a:off x="0" y="0"/>
            <a:ext cx="6096000" cy="6858000"/>
          </a:xfrm>
          <a:prstGeom prst="rect">
            <a:avLst/>
          </a:prstGeom>
        </p:spPr>
        <p:txBody>
          <a:bodyPr anchor="ctr"/>
          <a:lstStyle>
            <a:lvl1pPr marL="0" indent="0">
              <a:buNone/>
              <a:defRPr/>
            </a:lvl1pPr>
          </a:lstStyle>
          <a:p>
            <a:r>
              <a:rPr lang="en-US" dirty="0"/>
              <a:t>      Click icon to add picture</a:t>
            </a:r>
          </a:p>
        </p:txBody>
      </p:sp>
    </p:spTree>
    <p:extLst>
      <p:ext uri="{BB962C8B-B14F-4D97-AF65-F5344CB8AC3E}">
        <p14:creationId xmlns:p14="http://schemas.microsoft.com/office/powerpoint/2010/main" val="8390740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hasCustomPrompt="1"/>
          </p:nvPr>
        </p:nvSpPr>
        <p:spPr>
          <a:xfrm>
            <a:off x="6240463" y="1844674"/>
            <a:ext cx="5472112"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sz="half" idx="1" hasCustomPrompt="1"/>
          </p:nvPr>
        </p:nvSpPr>
        <p:spPr>
          <a:xfrm>
            <a:off x="479425" y="1844675"/>
            <a:ext cx="5472113" cy="4392612"/>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891BF4C4-9DF9-4D9F-A738-37FBCD45AA68}"/>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4379592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2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0188" y="1844674"/>
            <a:ext cx="2592387"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3"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B1CFD82C-8968-4B87-A964-6288AF293D7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4218182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er, righ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479424" y="1844675"/>
            <a:ext cx="5472113"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idx="1" hasCustomPrompt="1"/>
          </p:nvPr>
        </p:nvSpPr>
        <p:spPr>
          <a:xfrm>
            <a:off x="479425"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A05AB2F5-3C8F-45BD-81CB-45EC98D4284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2855248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pic>
        <p:nvPicPr>
          <p:cNvPr id="9" name="Picture 11">
            <a:extLst>
              <a:ext uri="{FF2B5EF4-FFF2-40B4-BE49-F238E27FC236}">
                <a16:creationId xmlns:a16="http://schemas.microsoft.com/office/drawing/2014/main" id="{10DEA382-3777-4D1B-A88B-88F6F05CB21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spTree>
    <p:extLst>
      <p:ext uri="{BB962C8B-B14F-4D97-AF65-F5344CB8AC3E}">
        <p14:creationId xmlns:p14="http://schemas.microsoft.com/office/powerpoint/2010/main" val="2108219646"/>
      </p:ext>
    </p:extLst>
  </p:cSld>
  <p:clrMapOvr>
    <a:masterClrMapping/>
  </p:clrMapOvr>
  <p:hf sldNum="0" hdr="0" ftr="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er, left image with two contents">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6240463" y="1844674"/>
            <a:ext cx="5472112"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idx="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524C71C0-9908-4C8C-97CC-AA201198D2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3009051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3359150" y="4149724"/>
            <a:ext cx="8353425"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5" name="Content Placeholder 1"/>
          <p:cNvSpPr>
            <a:spLocks noGrp="1"/>
          </p:cNvSpPr>
          <p:nvPr>
            <p:ph sz="quarter" idx="10" hasCustomPrompt="1"/>
          </p:nvPr>
        </p:nvSpPr>
        <p:spPr>
          <a:xfrm>
            <a:off x="3359150" y="1844675"/>
            <a:ext cx="8353425" cy="2089150"/>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0114795F-6AFF-421E-BA39-763FAD29FC16}"/>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5421800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er, Image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240463" y="4149724"/>
            <a:ext cx="5472112"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8" name="Content Placeholder 2"/>
          <p:cNvSpPr>
            <a:spLocks noGrp="1"/>
          </p:cNvSpPr>
          <p:nvPr>
            <p:ph sz="quarter" idx="12" hasCustomPrompt="1"/>
          </p:nvPr>
        </p:nvSpPr>
        <p:spPr>
          <a:xfrm>
            <a:off x="479425" y="4149724"/>
            <a:ext cx="5472113" cy="2087563"/>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6" name="Title_SM">
            <a:extLst>
              <a:ext uri="{FF2B5EF4-FFF2-40B4-BE49-F238E27FC236}">
                <a16:creationId xmlns:a16="http://schemas.microsoft.com/office/drawing/2014/main" id="{A14F6E09-C956-49B3-8E41-DBD053DF768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6295769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184575" y="1844675"/>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4332000" y="1844673"/>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Content Placeholder 1">
            <a:extLst>
              <a:ext uri="{FF2B5EF4-FFF2-40B4-BE49-F238E27FC236}">
                <a16:creationId xmlns:a16="http://schemas.microsoft.com/office/drawing/2014/main" id="{8E3794F8-471D-4987-945F-3C29BB03AB49}"/>
              </a:ext>
            </a:extLst>
          </p:cNvPr>
          <p:cNvSpPr>
            <a:spLocks noGrp="1"/>
          </p:cNvSpPr>
          <p:nvPr>
            <p:ph sz="quarter" idx="13" hasCustomPrompt="1"/>
          </p:nvPr>
        </p:nvSpPr>
        <p:spPr>
          <a:xfrm>
            <a:off x="479425" y="1844674"/>
            <a:ext cx="3528000"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10" name="Title_SM">
            <a:extLst>
              <a:ext uri="{FF2B5EF4-FFF2-40B4-BE49-F238E27FC236}">
                <a16:creationId xmlns:a16="http://schemas.microsoft.com/office/drawing/2014/main" id="{6B686A21-AA96-4B0A-B7CE-F4C6D5D31B32}"/>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9299092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3 narrow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9121776" y="1844674"/>
            <a:ext cx="259079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6240464" y="1844674"/>
            <a:ext cx="2592386"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4" name="Content Placeholder 1"/>
          <p:cNvSpPr>
            <a:spLocks noGrp="1"/>
          </p:cNvSpPr>
          <p:nvPr>
            <p:ph sz="quarter" idx="10" hasCustomPrompt="1"/>
          </p:nvPr>
        </p:nvSpPr>
        <p:spPr>
          <a:xfrm>
            <a:off x="3359149" y="1844674"/>
            <a:ext cx="2592389"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7EEF5633-BC13-4AEA-AEF5-CE2675504D30}"/>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390970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1844674"/>
            <a:ext cx="2592388" cy="4392614"/>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6" name="Content Placeholder 2"/>
          <p:cNvSpPr>
            <a:spLocks noGrp="1"/>
          </p:cNvSpPr>
          <p:nvPr>
            <p:ph sz="quarter" idx="11" hasCustomPrompt="1"/>
          </p:nvPr>
        </p:nvSpPr>
        <p:spPr>
          <a:xfrm>
            <a:off x="3359149" y="1844674"/>
            <a:ext cx="2592389"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4" name="Content Placeholder 1"/>
          <p:cNvSpPr>
            <a:spLocks noGrp="1"/>
          </p:cNvSpPr>
          <p:nvPr>
            <p:ph sz="quarter" idx="10" hasCustomPrompt="1"/>
          </p:nvPr>
        </p:nvSpPr>
        <p:spPr>
          <a:xfrm>
            <a:off x="479425" y="1844674"/>
            <a:ext cx="2592388" cy="4392613"/>
          </a:xfrm>
          <a:prstGeom prst="rect">
            <a:avLst/>
          </a:prstGeom>
        </p:spPr>
        <p:txBody>
          <a:bodyPr/>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9" name="Content Placeholder 3"/>
          <p:cNvSpPr>
            <a:spLocks noGrp="1"/>
          </p:cNvSpPr>
          <p:nvPr>
            <p:ph sz="quarter" idx="13" hasCustomPrompt="1"/>
          </p:nvPr>
        </p:nvSpPr>
        <p:spPr>
          <a:xfrm>
            <a:off x="9120188" y="1844674"/>
            <a:ext cx="2592387" cy="4392613"/>
          </a:xfrm>
          <a:prstGeom prst="rect">
            <a:avLst/>
          </a:prstGeom>
        </p:spPr>
        <p:txBody>
          <a:bodyPr/>
          <a:lstStyle>
            <a:lvl1pPr>
              <a:defRPr/>
            </a:lvl1pPr>
            <a:lvl2pPr>
              <a:defRPr/>
            </a:lvl2pPr>
            <a:lvl3pPr>
              <a:defRPr/>
            </a:lvl3pPr>
            <a:lvl4pPr>
              <a:defRPr/>
            </a:lvl4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p:txBody>
      </p:sp>
      <p:sp>
        <p:nvSpPr>
          <p:cNvPr id="7" name="Title_SM">
            <a:extLst>
              <a:ext uri="{FF2B5EF4-FFF2-40B4-BE49-F238E27FC236}">
                <a16:creationId xmlns:a16="http://schemas.microsoft.com/office/drawing/2014/main" id="{F4D71A67-F349-4E68-B7B8-D53CE323A764}"/>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8933110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Preamb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50" y="4149725"/>
            <a:ext cx="2592388" cy="2087562"/>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1"/>
          <p:cNvSpPr>
            <a:spLocks noGrp="1"/>
          </p:cNvSpPr>
          <p:nvPr>
            <p:ph sz="quarter" idx="10" hasCustomPrompt="1"/>
          </p:nvPr>
        </p:nvSpPr>
        <p:spPr>
          <a:xfrm>
            <a:off x="479425" y="1844675"/>
            <a:ext cx="2592388" cy="4392612"/>
          </a:xfrm>
          <a:prstGeom prst="rect">
            <a:avLst/>
          </a:prstGeom>
        </p:spPr>
        <p:txBody>
          <a:bodyPr/>
          <a:lstStyle>
            <a:lvl1pPr marL="0" indent="0">
              <a:buFont typeface="Ericsson Hilda Light" panose="020B0604020202020204" pitchFamily="34" charset="0"/>
              <a:buNone/>
              <a:defRPr sz="2500">
                <a:latin typeface="+mn-lt"/>
              </a:defRPr>
            </a:lvl1pPr>
            <a:lvl2pPr marL="0" indent="0">
              <a:buFont typeface="Ericsson Hilda Light" panose="020B0604020202020204" pitchFamily="34" charset="0"/>
              <a:buNone/>
              <a:defRPr sz="2500">
                <a:latin typeface="+mj-lt"/>
              </a:defRPr>
            </a:lvl2pPr>
            <a:lvl3pPr marL="342900" indent="0">
              <a:buFont typeface="Ericsson Hilda Light" panose="020B0604020202020204" pitchFamily="34" charset="0"/>
              <a:buNone/>
              <a:defRPr sz="2500">
                <a:latin typeface="+mj-lt"/>
              </a:defRPr>
            </a:lvl3pPr>
            <a:lvl4pPr marL="685800" indent="0">
              <a:buFont typeface="Ericsson Hilda Light" panose="020B0604020202020204" pitchFamily="34" charset="0"/>
              <a:buNone/>
              <a:defRPr sz="2500">
                <a:latin typeface="+mj-lt"/>
              </a:defRPr>
            </a:lvl4pPr>
            <a:lvl5pPr marL="1028700" indent="0">
              <a:buFont typeface="Ericsson Hilda Light" panose="020B0604020202020204" pitchFamily="34" charset="0"/>
              <a:buNone/>
              <a:defRPr sz="2500">
                <a:latin typeface="+mj-lt"/>
              </a:defRPr>
            </a:lvl5pPr>
          </a:lstStyle>
          <a:p>
            <a:pPr lvl="0"/>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Preamble text, </a:t>
            </a:r>
            <a:r>
              <a:rPr lang="en-US" dirty="0"/>
              <a:t>Ericsson </a:t>
            </a:r>
            <a:r>
              <a:rPr kumimoji="0" lang="en-US" sz="2500" b="0" i="0" u="none" strike="noStrike" kern="1200" cap="none" spc="0" normalizeH="0" baseline="0" noProof="0" dirty="0">
                <a:ln>
                  <a:noFill/>
                </a:ln>
                <a:solidFill>
                  <a:srgbClr val="181818"/>
                </a:solidFill>
                <a:effectLst/>
                <a:uLnTx/>
                <a:uFillTx/>
                <a:ea typeface="+mn-ea"/>
                <a:cs typeface="Ericsson Hilda Light" panose="020B0604020202020204" pitchFamily="34" charset="0"/>
              </a:rPr>
              <a:t>Hilda 25pt, Ericsson Black</a:t>
            </a:r>
            <a:endParaRPr lang="en-US" dirty="0"/>
          </a:p>
        </p:txBody>
      </p:sp>
      <p:sp>
        <p:nvSpPr>
          <p:cNvPr id="9" name="Content Placeholder 3"/>
          <p:cNvSpPr>
            <a:spLocks noGrp="1"/>
          </p:cNvSpPr>
          <p:nvPr>
            <p:ph sz="quarter" idx="13" hasCustomPrompt="1"/>
          </p:nvPr>
        </p:nvSpPr>
        <p:spPr>
          <a:xfrm>
            <a:off x="9120188" y="4149724"/>
            <a:ext cx="2592387" cy="2087563"/>
          </a:xfrm>
          <a:prstGeom prst="rect">
            <a:avLst/>
          </a:prstGeom>
        </p:spPr>
        <p:txBody>
          <a:bodyPr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7" name="Title_SM">
            <a:extLst>
              <a:ext uri="{FF2B5EF4-FFF2-40B4-BE49-F238E27FC236}">
                <a16:creationId xmlns:a16="http://schemas.microsoft.com/office/drawing/2014/main" id="{CD0BB64A-768A-4118-B3E5-52B98C693831}"/>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7386604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4 columns with visual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6240463"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6" name="Content Placeholder 2"/>
          <p:cNvSpPr>
            <a:spLocks noGrp="1"/>
          </p:cNvSpPr>
          <p:nvPr>
            <p:ph sz="quarter" idx="11" hasCustomPrompt="1"/>
          </p:nvPr>
        </p:nvSpPr>
        <p:spPr>
          <a:xfrm>
            <a:off x="3359149"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1"/>
          <p:cNvSpPr>
            <a:spLocks noGrp="1"/>
          </p:cNvSpPr>
          <p:nvPr>
            <p:ph sz="quarter" idx="10" hasCustomPrompt="1"/>
          </p:nvPr>
        </p:nvSpPr>
        <p:spPr>
          <a:xfrm>
            <a:off x="479425" y="4149724"/>
            <a:ext cx="2592388"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3"/>
          <p:cNvSpPr>
            <a:spLocks noGrp="1"/>
          </p:cNvSpPr>
          <p:nvPr>
            <p:ph sz="quarter" idx="13" hasCustomPrompt="1"/>
          </p:nvPr>
        </p:nvSpPr>
        <p:spPr>
          <a:xfrm>
            <a:off x="9121776" y="4149724"/>
            <a:ext cx="259079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7" name="Title_SM">
            <a:extLst>
              <a:ext uri="{FF2B5EF4-FFF2-40B4-BE49-F238E27FC236}">
                <a16:creationId xmlns:a16="http://schemas.microsoft.com/office/drawing/2014/main" id="{F83268EB-5955-4A3F-8B85-E7C084E6FAF5}"/>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19069134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2" y="4149724"/>
            <a:ext cx="5472113" cy="2087564"/>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4" name="Content Placeholder 2"/>
          <p:cNvSpPr>
            <a:spLocks noGrp="1"/>
          </p:cNvSpPr>
          <p:nvPr>
            <p:ph sz="quarter" idx="2" hasCustomPrompt="1"/>
          </p:nvPr>
        </p:nvSpPr>
        <p:spPr>
          <a:xfrm>
            <a:off x="6240462"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3" name="Content Placeholder 1"/>
          <p:cNvSpPr>
            <a:spLocks noGrp="1"/>
          </p:cNvSpPr>
          <p:nvPr>
            <p:ph sz="quarter" idx="1" hasCustomPrompt="1"/>
          </p:nvPr>
        </p:nvSpPr>
        <p:spPr>
          <a:xfrm>
            <a:off x="479425" y="1844674"/>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7" name="Content Placeholder 1">
            <a:extLst>
              <a:ext uri="{FF2B5EF4-FFF2-40B4-BE49-F238E27FC236}">
                <a16:creationId xmlns:a16="http://schemas.microsoft.com/office/drawing/2014/main" id="{5BD2C41D-0700-4885-AB77-25AFFE4E1FDA}"/>
              </a:ext>
            </a:extLst>
          </p:cNvPr>
          <p:cNvSpPr>
            <a:spLocks noGrp="1"/>
          </p:cNvSpPr>
          <p:nvPr>
            <p:ph sz="quarter" idx="10" hasCustomPrompt="1"/>
          </p:nvPr>
        </p:nvSpPr>
        <p:spPr>
          <a:xfrm>
            <a:off x="479425" y="4149725"/>
            <a:ext cx="5472113" cy="2089151"/>
          </a:xfrm>
          <a:prstGeom prst="rect">
            <a:avLst/>
          </a:prstGeom>
        </p:spPr>
        <p:txBody>
          <a:bodyPr lIns="72000" tIns="36000"/>
          <a:lstStyle>
            <a:lvl1pPr>
              <a:defRPr/>
            </a:lvl1pPr>
            <a:lvl2pPr>
              <a:defRPr/>
            </a:lvl2pPr>
            <a:lvl3pPr>
              <a:defRPr/>
            </a:lvl3pPr>
            <a:lvl4pPr>
              <a:defRPr/>
            </a:lvl4pPr>
            <a:lvl5pPr>
              <a:defRPr/>
            </a:lvl5p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p:txBody>
      </p:sp>
      <p:sp>
        <p:nvSpPr>
          <p:cNvPr id="9" name="Title_SM">
            <a:extLst>
              <a:ext uri="{FF2B5EF4-FFF2-40B4-BE49-F238E27FC236}">
                <a16:creationId xmlns:a16="http://schemas.microsoft.com/office/drawing/2014/main" id="{2C948968-FB06-45CC-8259-6BDE4430EACB}"/>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4497986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8 Content">
    <p:spTree>
      <p:nvGrpSpPr>
        <p:cNvPr id="1" name=""/>
        <p:cNvGrpSpPr/>
        <p:nvPr/>
      </p:nvGrpSpPr>
      <p:grpSpPr>
        <a:xfrm>
          <a:off x="0" y="0"/>
          <a:ext cx="0" cy="0"/>
          <a:chOff x="0" y="0"/>
          <a:chExt cx="0" cy="0"/>
        </a:xfrm>
      </p:grpSpPr>
      <p:sp>
        <p:nvSpPr>
          <p:cNvPr id="6" name="Content Placeholder 4"/>
          <p:cNvSpPr>
            <a:spLocks noGrp="1"/>
          </p:cNvSpPr>
          <p:nvPr>
            <p:ph sz="quarter" idx="4" hasCustomPrompt="1"/>
          </p:nvPr>
        </p:nvSpPr>
        <p:spPr>
          <a:xfrm>
            <a:off x="6240463" y="4150995"/>
            <a:ext cx="2592387" cy="2086292"/>
          </a:xfrm>
          <a:prstGeom prst="rect">
            <a:avLst/>
          </a:prstGeom>
        </p:spPr>
        <p:txBody>
          <a:bodyPr lIns="72000" tIns="36000"/>
          <a:lstStyle>
            <a:lvl1pPr>
              <a:defRPr sz="2000"/>
            </a:lvl1pPr>
            <a:lvl2pPr>
              <a:defRPr sz="2000"/>
            </a:lvl2pPr>
            <a:lvl3pPr>
              <a:defRPr sz="2000"/>
            </a:lvl3pPr>
            <a:lvl4pPr>
              <a:defRPr sz="2000"/>
            </a:lvl4pPr>
            <a:lvl5pPr marL="1028700" indent="0">
              <a:buNone/>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5" name="Content Placeholder 3"/>
          <p:cNvSpPr>
            <a:spLocks noGrp="1"/>
          </p:cNvSpPr>
          <p:nvPr>
            <p:ph sz="quarter" idx="3" hasCustomPrompt="1"/>
          </p:nvPr>
        </p:nvSpPr>
        <p:spPr>
          <a:xfrm>
            <a:off x="479424" y="4149724"/>
            <a:ext cx="2592389"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4" name="Content Placeholder 2"/>
          <p:cNvSpPr>
            <a:spLocks noGrp="1"/>
          </p:cNvSpPr>
          <p:nvPr>
            <p:ph sz="quarter" idx="2" hasCustomPrompt="1"/>
          </p:nvPr>
        </p:nvSpPr>
        <p:spPr>
          <a:xfrm>
            <a:off x="6240463" y="1844675"/>
            <a:ext cx="2592387"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3" name="Content Placeholder 1"/>
          <p:cNvSpPr>
            <a:spLocks noGrp="1"/>
          </p:cNvSpPr>
          <p:nvPr>
            <p:ph sz="quarter" idx="1" hasCustomPrompt="1"/>
          </p:nvPr>
        </p:nvSpPr>
        <p:spPr>
          <a:xfrm>
            <a:off x="479424" y="1844675"/>
            <a:ext cx="2592389"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8" name="Content Placeholder 3"/>
          <p:cNvSpPr>
            <a:spLocks noGrp="1"/>
          </p:cNvSpPr>
          <p:nvPr>
            <p:ph sz="quarter" idx="10" hasCustomPrompt="1"/>
          </p:nvPr>
        </p:nvSpPr>
        <p:spPr>
          <a:xfrm>
            <a:off x="3359151" y="4149724"/>
            <a:ext cx="2592387" cy="2087563"/>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9" name="Content Placeholder 1"/>
          <p:cNvSpPr>
            <a:spLocks noGrp="1"/>
          </p:cNvSpPr>
          <p:nvPr>
            <p:ph sz="quarter" idx="11" hasCustomPrompt="1"/>
          </p:nvPr>
        </p:nvSpPr>
        <p:spPr>
          <a:xfrm>
            <a:off x="3359151" y="1844675"/>
            <a:ext cx="2592388" cy="2089150"/>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0" name="Content Placeholder 4"/>
          <p:cNvSpPr>
            <a:spLocks noGrp="1"/>
          </p:cNvSpPr>
          <p:nvPr>
            <p:ph sz="quarter" idx="12" hasCustomPrompt="1"/>
          </p:nvPr>
        </p:nvSpPr>
        <p:spPr>
          <a:xfrm>
            <a:off x="9120188" y="4149725"/>
            <a:ext cx="2592387" cy="2087562"/>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p:txBody>
      </p:sp>
      <p:sp>
        <p:nvSpPr>
          <p:cNvPr id="11" name="Content Placeholder 2"/>
          <p:cNvSpPr>
            <a:spLocks noGrp="1"/>
          </p:cNvSpPr>
          <p:nvPr>
            <p:ph sz="quarter" idx="13" hasCustomPrompt="1"/>
          </p:nvPr>
        </p:nvSpPr>
        <p:spPr>
          <a:xfrm>
            <a:off x="9120188" y="1844674"/>
            <a:ext cx="2592387" cy="2089151"/>
          </a:xfrm>
          <a:prstGeom prst="rect">
            <a:avLst/>
          </a:prstGeom>
        </p:spPr>
        <p:txBody>
          <a:bodyPr lIns="72000" tIns="36000"/>
          <a:lstStyle>
            <a:lvl1pPr>
              <a:defRPr sz="2000"/>
            </a:lvl1pPr>
            <a:lvl2pPr>
              <a:defRPr sz="2000"/>
            </a:lvl2pPr>
            <a:lvl3pPr>
              <a:defRPr sz="2000"/>
            </a:lvl3pPr>
            <a:lvl4pPr>
              <a:defRPr sz="2000"/>
            </a:lvl4pPr>
            <a:lvl5pPr>
              <a:defRPr sz="2000"/>
            </a:lvl5pPr>
          </a:lstStyle>
          <a:p>
            <a:pPr lvl="0"/>
            <a:r>
              <a:rPr lang="en-US" dirty="0"/>
              <a:t>For heading, use Ericsson Hilda in bold. For copy and bullets, use E. Hilda.</a:t>
            </a:r>
          </a:p>
          <a:p>
            <a:pPr lvl="0"/>
            <a:r>
              <a:rPr lang="en-US" dirty="0"/>
              <a:t>First level</a:t>
            </a:r>
          </a:p>
          <a:p>
            <a:pPr lvl="1"/>
            <a:r>
              <a:rPr lang="en-US" dirty="0"/>
              <a:t>Second level</a:t>
            </a:r>
          </a:p>
          <a:p>
            <a:pPr lvl="3"/>
            <a:endParaRPr lang="en-US" dirty="0"/>
          </a:p>
        </p:txBody>
      </p:sp>
      <p:sp>
        <p:nvSpPr>
          <p:cNvPr id="13" name="Title_SM">
            <a:extLst>
              <a:ext uri="{FF2B5EF4-FFF2-40B4-BE49-F238E27FC236}">
                <a16:creationId xmlns:a16="http://schemas.microsoft.com/office/drawing/2014/main" id="{99858DC4-E787-41D2-A613-961D60F89117}"/>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26920656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pic>
        <p:nvPicPr>
          <p:cNvPr id="9" name="Picture 11">
            <a:extLst>
              <a:ext uri="{FF2B5EF4-FFF2-40B4-BE49-F238E27FC236}">
                <a16:creationId xmlns:a16="http://schemas.microsoft.com/office/drawing/2014/main" id="{6CF73A11-8A39-48C9-ACAA-C58D0BA7D95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sp>
        <p:nvSpPr>
          <p:cNvPr id="6" name="Rectangle 5">
            <a:extLst>
              <a:ext uri="{FF2B5EF4-FFF2-40B4-BE49-F238E27FC236}">
                <a16:creationId xmlns:a16="http://schemas.microsoft.com/office/drawing/2014/main" id="{05B64570-24C6-4329-A5B3-63440E469E96}"/>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99406540"/>
      </p:ext>
    </p:extLst>
  </p:cSld>
  <p:clrMapOvr>
    <a:masterClrMapping/>
  </p:clrMapOvr>
  <p:hf sldNum="0" hdr="0" ftr="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ck logo end slide">
    <p:spTree>
      <p:nvGrpSpPr>
        <p:cNvPr id="1" name=""/>
        <p:cNvGrpSpPr/>
        <p:nvPr/>
      </p:nvGrpSpPr>
      <p:grpSpPr>
        <a:xfrm>
          <a:off x="0" y="0"/>
          <a:ext cx="0" cy="0"/>
          <a:chOff x="0" y="0"/>
          <a:chExt cx="0" cy="0"/>
        </a:xfrm>
      </p:grpSpPr>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tx1"/>
                </a:solidFill>
                <a:latin typeface="+mn-lt"/>
              </a:defRPr>
            </a:lvl1pPr>
          </a:lstStyle>
          <a:p>
            <a:r>
              <a:rPr lang="en-US" dirty="0"/>
              <a:t>ericsson.com/related-</a:t>
            </a:r>
            <a:r>
              <a:rPr lang="en-US" dirty="0" err="1"/>
              <a:t>url</a:t>
            </a:r>
            <a:endParaRPr lang="en-US" dirty="0"/>
          </a:p>
        </p:txBody>
      </p:sp>
      <p:pic>
        <p:nvPicPr>
          <p:cNvPr id="6" name="Graphic 5">
            <a:extLst>
              <a:ext uri="{FF2B5EF4-FFF2-40B4-BE49-F238E27FC236}">
                <a16:creationId xmlns:a16="http://schemas.microsoft.com/office/drawing/2014/main" id="{8979B00C-7C1F-4F17-8D52-31D787A1234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506895" y="2854112"/>
            <a:ext cx="1163145" cy="1163145"/>
          </a:xfrm>
          <a:prstGeom prst="rect">
            <a:avLst/>
          </a:prstGeom>
        </p:spPr>
      </p:pic>
    </p:spTree>
    <p:extLst>
      <p:ext uri="{BB962C8B-B14F-4D97-AF65-F5344CB8AC3E}">
        <p14:creationId xmlns:p14="http://schemas.microsoft.com/office/powerpoint/2010/main" val="37301120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White logo end slid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AEBC62E-40C0-43CF-98DC-55F7A1D1FD31}"/>
              </a:ext>
            </a:extLst>
          </p:cNvPr>
          <p:cNvSpPr/>
          <p:nvPr userDrawn="1"/>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
        <p:nvSpPr>
          <p:cNvPr id="9" name="SubTitle_TM">
            <a:extLst>
              <a:ext uri="{FF2B5EF4-FFF2-40B4-BE49-F238E27FC236}">
                <a16:creationId xmlns:a16="http://schemas.microsoft.com/office/drawing/2014/main" id="{B200748E-0B61-48E1-8B47-504C30250995}"/>
              </a:ext>
            </a:extLst>
          </p:cNvPr>
          <p:cNvSpPr>
            <a:spLocks noGrp="1" noChangeArrowheads="1"/>
          </p:cNvSpPr>
          <p:nvPr>
            <p:ph type="subTitle" idx="1" hasCustomPrompt="1"/>
          </p:nvPr>
        </p:nvSpPr>
        <p:spPr>
          <a:xfrm>
            <a:off x="3071813" y="4153259"/>
            <a:ext cx="6048375" cy="347472"/>
          </a:xfrm>
          <a:prstGeom prst="rect">
            <a:avLst/>
          </a:prstGeom>
        </p:spPr>
        <p:txBody>
          <a:bodyPr rIns="0" anchor="ctr"/>
          <a:lstStyle>
            <a:lvl1pPr marL="0" indent="0" algn="ctr">
              <a:lnSpc>
                <a:spcPct val="100000"/>
              </a:lnSpc>
              <a:spcBef>
                <a:spcPts val="0"/>
              </a:spcBef>
              <a:buFont typeface="Ericsson Hilda Light" charset="0"/>
              <a:buNone/>
              <a:defRPr sz="2000" baseline="0">
                <a:solidFill>
                  <a:schemeClr val="bg1"/>
                </a:solidFill>
                <a:latin typeface="+mn-lt"/>
              </a:defRPr>
            </a:lvl1pPr>
          </a:lstStyle>
          <a:p>
            <a:r>
              <a:rPr lang="en-US" dirty="0"/>
              <a:t>ericsson.com/related-</a:t>
            </a:r>
            <a:r>
              <a:rPr lang="en-US" dirty="0" err="1"/>
              <a:t>url</a:t>
            </a:r>
            <a:endParaRPr lang="en-US" dirty="0"/>
          </a:p>
        </p:txBody>
      </p:sp>
      <p:pic>
        <p:nvPicPr>
          <p:cNvPr id="4" name="Graphic 3">
            <a:extLst>
              <a:ext uri="{FF2B5EF4-FFF2-40B4-BE49-F238E27FC236}">
                <a16:creationId xmlns:a16="http://schemas.microsoft.com/office/drawing/2014/main" id="{ACE90D21-D589-4F0A-88B0-94229A40F01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508509" y="2842270"/>
            <a:ext cx="1174987" cy="1174987"/>
          </a:xfrm>
          <a:prstGeom prst="rect">
            <a:avLst/>
          </a:prstGeom>
        </p:spPr>
      </p:pic>
    </p:spTree>
    <p:extLst>
      <p:ext uri="{BB962C8B-B14F-4D97-AF65-F5344CB8AC3E}">
        <p14:creationId xmlns:p14="http://schemas.microsoft.com/office/powerpoint/2010/main" val="5999153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Embedded character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9AF35DD-3E5E-42CB-AFA5-5E09E14F72A4}"/>
              </a:ext>
            </a:extLst>
          </p:cNvPr>
          <p:cNvSpPr txBox="1"/>
          <p:nvPr userDrawn="1"/>
        </p:nvSpPr>
        <p:spPr bwMode="auto">
          <a:xfrm>
            <a:off x="479425" y="142897"/>
            <a:ext cx="11233149" cy="6715103"/>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0" indent="0">
              <a:buClr>
                <a:schemeClr val="tx1"/>
              </a:buClr>
              <a:buFont typeface="Ericsson Hilda Light" panose="00000400000000000000" pitchFamily="2" charset="0"/>
              <a:buNone/>
            </a:pPr>
            <a:r>
              <a:rPr lang="en-US" sz="1400" b="1" dirty="0">
                <a:solidFill>
                  <a:schemeClr val="tx1"/>
                </a:solidFill>
              </a:rPr>
              <a:t>This Master Slide is to ensure that all our characters are embedded with the presentation. Should not be used in a presentation.</a:t>
            </a:r>
          </a:p>
          <a:p>
            <a:pPr marL="0" indent="0">
              <a:buClr>
                <a:schemeClr val="tx1"/>
              </a:buClr>
              <a:buFont typeface="Ericsson Hilda Light" panose="00000400000000000000" pitchFamily="2" charset="0"/>
              <a:buNone/>
            </a:pPr>
            <a:endParaRPr lang="en-US" sz="1400" b="1" dirty="0">
              <a:solidFill>
                <a:schemeClr val="tx1"/>
              </a:solidFill>
            </a:endParaRPr>
          </a:p>
          <a:p>
            <a:pPr marL="0" indent="0">
              <a:buClr>
                <a:schemeClr val="tx1"/>
              </a:buClr>
              <a:buFont typeface="Ericsson Hilda Light" panose="00000400000000000000" pitchFamily="2" charset="0"/>
              <a:buNone/>
            </a:pPr>
            <a:r>
              <a:rPr lang="en-US" sz="1400" dirty="0">
                <a:solidFill>
                  <a:schemeClr val="tx1"/>
                </a:solidFill>
              </a:rPr>
              <a:t>!"#$%&amp;'()*+,./0123456789:;&lt;=&gt;?@ABCDEFGHIJKLMNOPQRSTUVWXYZ[\]^_`</a:t>
            </a:r>
            <a:r>
              <a:rPr lang="en-US" sz="1400" dirty="0" err="1">
                <a:solidFill>
                  <a:schemeClr val="tx1"/>
                </a:solidFill>
              </a:rPr>
              <a:t>abcdefghijklmnopqrstuvwxyz</a:t>
            </a:r>
            <a:r>
              <a:rPr lang="en-US" sz="1400"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dirty="0" err="1">
                <a:solidFill>
                  <a:schemeClr val="tx1"/>
                </a:solidFill>
              </a:rPr>
              <a:t>ẀẁẃẄẅỲỳ</a:t>
            </a:r>
            <a:r>
              <a:rPr lang="en-US" sz="1400" dirty="0">
                <a:solidFill>
                  <a:schemeClr val="tx1"/>
                </a:solidFill>
              </a:rPr>
              <a:t>‘’‚“”„†‡•…‰‹›⁄€™ĀĀĂĂĄĄĆĆĊĊČČĎĎĐĐĒĒĖĖĘĘĚĚĞĞĠĠĢĢĪĪĮĮİĶĶĹĹĻĻĽĽŃŃŅŅŇŇŌŌŐŐŔŔŖŖŘŘŚŚŞŞŢŢŤŤŪŪŮŮŰŰŲŲŴŴŶŶŹŹŻŻȘș−≤≥</a:t>
            </a:r>
            <a:r>
              <a:rPr lang="en-US" sz="1400" dirty="0" err="1">
                <a:solidFill>
                  <a:schemeClr val="tx1"/>
                </a:solidFill>
              </a:rPr>
              <a:t>ﬁﬂΆΈΉΊΌΎΏΐΑΒΓΕΖΗΘΙΚΛΜΝΞΟΠΡΣΤΥΦΧΨΪΫΆΈΉΊΰ</a:t>
            </a:r>
            <a:r>
              <a:rPr lang="en-US" sz="1400"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rPr>
              <a:t>!"#$%&amp;'()*+,./0123456789:;&lt;=&gt;?@ABCDEFGHIJKLMNOPQRSTUVWXYZ[\]^_`</a:t>
            </a:r>
            <a:r>
              <a:rPr lang="en-US" sz="1400" b="1" dirty="0" err="1">
                <a:solidFill>
                  <a:schemeClr val="tx1"/>
                </a:solidFill>
              </a:rPr>
              <a:t>abcdefghijklmnopqrstuvwxyz</a:t>
            </a:r>
            <a:r>
              <a:rPr lang="en-US" sz="1400" b="1" dirty="0">
                <a:solidFill>
                  <a:schemeClr val="tx1"/>
                </a:solidFill>
              </a:rPr>
              <a:t>{|}~¡¢£¤¥¦§¨©ª«¬®¯°±²³´¶·¸¹º»¼½ÀÁÂÃÄÅÆÇÈËÌÍÎÏÐÑÒÓÔÕÖ×ØÙÚÛÜÝÞßàáâãäåæçèéêëìíîïðñòóôõö÷øùúûüýþÿĀāĂăąĆćĊċČčĎďĐđĒĖėĘęĚěĞğĠġĢģĪīĮįİıĶķĹĺĻļĽľŁłŃńŅņŇňŌŐőŒœŔŕŖŗŘřŚśŞşŠšŢţŤťŪūŮůŰűŲųŴŵŶŷŸŹźŻżŽžƒȘșˆˇ˘˙˚˛˜˝</a:t>
            </a:r>
            <a:r>
              <a:rPr lang="en-US" sz="1400" b="1" dirty="0" err="1">
                <a:solidFill>
                  <a:schemeClr val="tx1"/>
                </a:solidFill>
              </a:rPr>
              <a:t>ẀẁẃẄẅỲỳ</a:t>
            </a:r>
            <a:r>
              <a:rPr lang="en-US" sz="1400" b="1" dirty="0">
                <a:solidFill>
                  <a:schemeClr val="tx1"/>
                </a:solidFill>
              </a:rPr>
              <a:t>‘’‚“”„†‡•…‰‹›⁄€™ĀĀĂĂĄĄĆĆĊĊČČĎĎĐĐĒĒĖĖĘĘĚĚĞĞĠĠĢĢĪĪĮĮİĶĶĹĹĻĻĽĽŃŃŅŅŇŇŌŌŐŐŔŔŖŖŘŘŚŚŞŞŢŢŤŤŪŪŮŮŰŰŲŲŴŴŶŶŹŹŻŻȘș−≤≥</a:t>
            </a:r>
            <a:r>
              <a:rPr lang="en-US" sz="1400" b="1" dirty="0" err="1">
                <a:solidFill>
                  <a:schemeClr val="tx1"/>
                </a:solidFill>
              </a:rPr>
              <a:t>ﬁﬂΆΈΉΊΌΎΏΐΑΒΓΕΖΗΘΙΚΛΜΝΞΟΠΡΣΤΥΦΧΨΪΫΆΈΉΊΰ</a:t>
            </a:r>
            <a:r>
              <a:rPr lang="en-US" sz="1400" b="1" dirty="0">
                <a:solidFill>
                  <a:schemeClr val="tx1"/>
                </a:solidFill>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dirty="0">
                <a:solidFill>
                  <a:schemeClr val="tx1"/>
                </a:solidFill>
                <a:latin typeface="+mj-lt"/>
              </a:rPr>
              <a:t>!"#$%&amp;'()*+,./0123456789:;&lt;=&gt;?@ABCDEFGHIJKLMNOPQRSTUVWXYZ[\]^_`</a:t>
            </a:r>
            <a:r>
              <a:rPr lang="en-US" sz="1400" dirty="0" err="1">
                <a:solidFill>
                  <a:schemeClr val="tx1"/>
                </a:solidFill>
                <a:latin typeface="+mj-lt"/>
              </a:rPr>
              <a:t>abcdefghijklmnopqrstuvwxyz</a:t>
            </a:r>
            <a:r>
              <a:rPr lang="en-US" sz="1400" dirty="0">
                <a:solidFill>
                  <a:schemeClr val="tx1"/>
                </a:solidFill>
                <a:latin typeface="+mj-lt"/>
              </a:rPr>
              <a:t>{|}~¡¢£¤¥¦§¨©ª«¬®¯°±²³´¶·¸¹º»¼½ÀÁÂÃÄÅÆÇÈËÌÍÎÏÐÑÒÓÔÕÖ×ØÙÚÛÜÝÞßàáâãäåæçèéêëìíîïðñòóôõö÷øùúûüýþÿĀāĂăąĆćĊċ</a:t>
            </a:r>
            <a:r>
              <a:rPr lang="en-US" sz="1400" kern="1200" dirty="0">
                <a:solidFill>
                  <a:schemeClr val="tx1"/>
                </a:solidFill>
                <a:latin typeface="+mn-lt"/>
                <a:ea typeface="+mn-ea"/>
                <a:cs typeface="+mn-cs"/>
              </a:rPr>
              <a:t>Čč</a:t>
            </a:r>
            <a:r>
              <a:rPr lang="en-US" sz="1400" dirty="0">
                <a:solidFill>
                  <a:schemeClr val="tx1"/>
                </a:solidFill>
                <a:latin typeface="+mj-lt"/>
              </a:rPr>
              <a:t>ĎďĐđĒĖėĘęĚěĞğĠġĢģĪīĮįİıĶķĹĺĻļĽľŁłŃńŅņŇňŌŐőŒœŔŕŖŗŘřŚśŞşŠšŢţŤťŪūŮůŰűŲųŴŵŶŷŸŹźŻżŽžƒȘșˆˇ˘˙˚˛˜˝</a:t>
            </a:r>
            <a:r>
              <a:rPr lang="en-US" sz="1400" dirty="0" err="1">
                <a:solidFill>
                  <a:schemeClr val="tx1"/>
                </a:solidFill>
                <a:latin typeface="+mj-lt"/>
              </a:rPr>
              <a:t>ẀẁẃẄẅỲỳ</a:t>
            </a:r>
            <a:r>
              <a:rPr lang="en-US" sz="1400" dirty="0">
                <a:solidFill>
                  <a:schemeClr val="tx1"/>
                </a:solidFill>
                <a:latin typeface="+mj-lt"/>
              </a:rPr>
              <a:t>‘’‚“”„†‡•…‰‹›⁄€™ĀĀĂĂĄĄĆĆĊĊČČĎĎĐĐĒĒĖĖĘĘĚĚĞĞĠĠĢĢĪĪĮĮİĶĶĹĹĻĻĽĽŃŃŅŅŇŇŌŌŐŐŔŔŖŖŘŘŚŚŞŞŢŢŤŤŪŪŮŮŰŰŲŲŴŴŶŶŹŹŻŻȘș−≤≥</a:t>
            </a:r>
            <a:r>
              <a:rPr lang="en-US" sz="1400" dirty="0" err="1">
                <a:solidFill>
                  <a:schemeClr val="tx1"/>
                </a:solidFill>
                <a:latin typeface="+mj-lt"/>
              </a:rPr>
              <a:t>ﬁﬂΆΈΉΊΌΎΏΐΑΒΓΕΖΗΘΙΚΛΜΝΞΟΠΡΣΤΥΦΧΨΪΫΆΈΉΊΰ</a:t>
            </a:r>
            <a:r>
              <a:rPr lang="en-US" sz="1400"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dirty="0">
              <a:solidFill>
                <a:schemeClr val="tx1"/>
              </a:solidFill>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mj-lt"/>
              </a:rPr>
              <a:t>!"#$%&amp;'()*+,./0123456789:;&lt;=&gt;?@ABCDEFGHIJKLMNOPQRSTUVWXYZ[\]^_`</a:t>
            </a:r>
            <a:r>
              <a:rPr lang="en-US" sz="1400" b="1" dirty="0" err="1">
                <a:solidFill>
                  <a:schemeClr val="tx1"/>
                </a:solidFill>
                <a:latin typeface="+mj-lt"/>
              </a:rPr>
              <a:t>abcdefghijklmnopqrstuvwxyz</a:t>
            </a:r>
            <a:r>
              <a:rPr lang="en-US" sz="1400" b="1" dirty="0">
                <a:solidFill>
                  <a:schemeClr val="tx1"/>
                </a:solidFill>
                <a:latin typeface="+mj-lt"/>
              </a:rPr>
              <a:t>{|}~¡¢£¤¥¦§¨©ª«¬®¯°±²³´¶·¸¹º»¼½ÀÁÂÃÄÅÆÇÈËÌÍÎÏÐÑÒÓÔÕÖ×ØÙÚÛÜÝÞßàáâãäåæçèéêëìíîïðñòóôõö÷øùúûüýþÿĀāĂăąĆćĊċ</a:t>
            </a:r>
            <a:r>
              <a:rPr lang="en-US" sz="1400" b="1" kern="1200" dirty="0">
                <a:solidFill>
                  <a:schemeClr val="tx1"/>
                </a:solidFill>
                <a:latin typeface="+mn-lt"/>
                <a:ea typeface="+mn-ea"/>
                <a:cs typeface="+mn-cs"/>
              </a:rPr>
              <a:t>Čč</a:t>
            </a:r>
            <a:r>
              <a:rPr lang="en-US" sz="1400" b="1" dirty="0">
                <a:solidFill>
                  <a:schemeClr val="tx1"/>
                </a:solidFill>
                <a:latin typeface="+mj-lt"/>
              </a:rPr>
              <a:t>ĎďĐđĒĖėĘęĚěĞğĠġĢģĪīĮįİıĶķĹĺĻļĽľŁłŃńŅņŇňŌŐőŒœŔŕŖŗŘřŚśŞşŠšŢţŤťŪūŮůŰűŲųŴŵŶŷŸŹźŻżŽžƒȘșˆˇ˘˙˚˛˜˝</a:t>
            </a:r>
            <a:r>
              <a:rPr lang="en-US" sz="1400" b="1" dirty="0" err="1">
                <a:solidFill>
                  <a:schemeClr val="tx1"/>
                </a:solidFill>
                <a:latin typeface="+mj-lt"/>
              </a:rPr>
              <a:t>ẀẁẃẄẅỲỳ</a:t>
            </a:r>
            <a:r>
              <a:rPr lang="en-US" sz="1400" b="1" dirty="0">
                <a:solidFill>
                  <a:schemeClr val="tx1"/>
                </a:solidFill>
                <a:latin typeface="+mj-lt"/>
              </a:rPr>
              <a:t>‘’‚“”„†‡•…‰‹›⁄€™ĀĀĂĂĄĄĆĆĊĊČČĎĎĐĐĒĒĖĖĘĘĚĚĞĞĠĠĢĢĪĪĮĮİĶĶĹĹĻĻĽĽŃŃŅŅŇŇŌŌŐŐŔŔŖŖŘŘŚŚŞŞŢŢŤŤŪŪŮŮŰŰŲŲŴŴŶŶŹŹŻŻȘș−≤≥</a:t>
            </a:r>
            <a:r>
              <a:rPr lang="en-US" sz="1400" b="1" dirty="0" err="1">
                <a:solidFill>
                  <a:schemeClr val="tx1"/>
                </a:solidFill>
                <a:latin typeface="+mj-lt"/>
              </a:rPr>
              <a:t>ﬁﬂΆΈΉΊΌΎΏΐΑΒΓΕΖΗΘΙΚΛΜΝΞΟΠΡΣΤΥΦΧΨΪΫΆΈΉΊΰ</a:t>
            </a:r>
            <a:r>
              <a:rPr lang="en-US" sz="1400" b="1" dirty="0">
                <a:solidFill>
                  <a:schemeClr val="tx1"/>
                </a:solidFill>
                <a:latin typeface="+mj-lt"/>
              </a:rPr>
              <a:t>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a:t>
            </a: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endParaRPr lang="en-US" sz="1400" b="1" dirty="0">
              <a:solidFill>
                <a:schemeClr val="tx1"/>
              </a:solidFill>
              <a:latin typeface="Ericsson Technical Icons" panose="00000500000000000000" pitchFamily="2" charset="0"/>
            </a:endParaRPr>
          </a:p>
          <a:p>
            <a:pPr marL="0" marR="0" lvl="0" indent="0" algn="l" defTabSz="914400" rtl="0" eaLnBrk="1" fontAlgn="auto" latinLnBrk="0" hangingPunct="1">
              <a:lnSpc>
                <a:spcPct val="100000"/>
              </a:lnSpc>
              <a:spcBef>
                <a:spcPts val="0"/>
              </a:spcBef>
              <a:spcAft>
                <a:spcPts val="0"/>
              </a:spcAft>
              <a:buClr>
                <a:schemeClr val="tx1"/>
              </a:buClr>
              <a:buSzTx/>
              <a:buFont typeface="Ericsson Hilda Light" panose="00000400000000000000" pitchFamily="2" charset="0"/>
              <a:buNone/>
              <a:tabLst/>
              <a:defRPr/>
            </a:pPr>
            <a:r>
              <a:rPr lang="en-US" sz="1400" b="1" dirty="0">
                <a:solidFill>
                  <a:schemeClr val="tx1"/>
                </a:solidFill>
                <a:latin typeface="Ericsson Technical Icons" panose="00000500000000000000" pitchFamily="2" charset="0"/>
              </a:rPr>
              <a:t>B C D F G H I L M O P R S W X b c d f g h I l m o p r s w x</a:t>
            </a:r>
            <a:endParaRPr lang="en-US" sz="1400" b="1" dirty="0">
              <a:solidFill>
                <a:schemeClr val="tx1"/>
              </a:solidFill>
              <a:latin typeface="+mj-lt"/>
            </a:endParaRPr>
          </a:p>
        </p:txBody>
      </p:sp>
    </p:spTree>
    <p:extLst>
      <p:ext uri="{BB962C8B-B14F-4D97-AF65-F5344CB8AC3E}">
        <p14:creationId xmlns:p14="http://schemas.microsoft.com/office/powerpoint/2010/main" val="30266977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0"/>
            <a:ext cx="8353426" cy="3457576"/>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sp>
        <p:nvSpPr>
          <p:cNvPr id="3" name="Content Placeholder 2"/>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dirty="0"/>
              <a:t>Speaker name</a:t>
            </a:r>
          </a:p>
        </p:txBody>
      </p:sp>
      <p:sp>
        <p:nvSpPr>
          <p:cNvPr id="12" name="Content Placeholder 11"/>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5" name="Content Placeholder 11"/>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spTree>
    <p:extLst>
      <p:ext uri="{BB962C8B-B14F-4D97-AF65-F5344CB8AC3E}">
        <p14:creationId xmlns:p14="http://schemas.microsoft.com/office/powerpoint/2010/main" val="2879465243"/>
      </p:ext>
    </p:extLst>
  </p:cSld>
  <p:clrMapOvr>
    <a:masterClrMapping/>
  </p:clrMapOvr>
  <p:hf sldNum="0" hdr="0" ftr="0"/>
  <p:extLst mod="1">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Page w. Bright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A763E3F-D546-48DC-86FC-898851FBC7BD}"/>
              </a:ext>
            </a:extLst>
          </p:cNvPr>
          <p:cNvSpPr>
            <a:spLocks noGrp="1"/>
          </p:cNvSpPr>
          <p:nvPr>
            <p:ph type="pic" sz="quarter" idx="13"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latin typeface="+mj-lt"/>
              </a:defRPr>
            </a:lvl1pPr>
          </a:lstStyle>
          <a:p>
            <a:r>
              <a:rPr lang="en-US" dirty="0"/>
              <a:t>Presentation title,</a:t>
            </a:r>
            <a:br>
              <a:rPr lang="en-US" dirty="0"/>
            </a:br>
            <a:r>
              <a:rPr lang="en-US" dirty="0"/>
              <a:t>Ericsson Hilda Light 60pt,</a:t>
            </a:r>
            <a:br>
              <a:rPr lang="en-US" dirty="0"/>
            </a:br>
            <a:r>
              <a:rPr lang="en-US" dirty="0"/>
              <a:t>Ericsson Black,</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Presentation description/subtitle</a:t>
            </a:r>
            <a:br>
              <a:rPr lang="en-US" dirty="0"/>
            </a:br>
            <a:r>
              <a:rPr lang="en-US" dirty="0"/>
              <a:t>Ericsson Hilda 20pt</a:t>
            </a:r>
          </a:p>
        </p:txBody>
      </p:sp>
      <p:pic>
        <p:nvPicPr>
          <p:cNvPr id="9" name="Graphic 8">
            <a:extLst>
              <a:ext uri="{FF2B5EF4-FFF2-40B4-BE49-F238E27FC236}">
                <a16:creationId xmlns:a16="http://schemas.microsoft.com/office/drawing/2014/main" id="{6E03516D-EC68-4282-84F4-9729304A51D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90452" y="476250"/>
            <a:ext cx="256032" cy="256032"/>
          </a:xfrm>
          <a:prstGeom prst="rect">
            <a:avLst/>
          </a:prstGeom>
        </p:spPr>
      </p:pic>
      <p:sp>
        <p:nvSpPr>
          <p:cNvPr id="10" name="Content Placeholder 2">
            <a:extLst>
              <a:ext uri="{FF2B5EF4-FFF2-40B4-BE49-F238E27FC236}">
                <a16:creationId xmlns:a16="http://schemas.microsoft.com/office/drawing/2014/main" id="{C3D47211-FF10-4DFA-A5AF-8E0A63463B47}"/>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latin typeface="+mn-lt"/>
              </a:defRPr>
            </a:lvl1pPr>
          </a:lstStyle>
          <a:p>
            <a:r>
              <a:rPr lang="en-US" dirty="0"/>
              <a:t>Speaker name</a:t>
            </a:r>
          </a:p>
        </p:txBody>
      </p:sp>
      <p:sp>
        <p:nvSpPr>
          <p:cNvPr id="11" name="Content Placeholder 11">
            <a:extLst>
              <a:ext uri="{FF2B5EF4-FFF2-40B4-BE49-F238E27FC236}">
                <a16:creationId xmlns:a16="http://schemas.microsoft.com/office/drawing/2014/main" id="{0E57E58D-AC34-4A4B-A5B1-CE1B53ABBDA9}"/>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latin typeface="+mn-lt"/>
              </a:defRPr>
            </a:lvl1pPr>
          </a:lstStyle>
          <a:p>
            <a:r>
              <a:rPr lang="en-US" dirty="0"/>
              <a:t>Organization</a:t>
            </a:r>
          </a:p>
        </p:txBody>
      </p:sp>
      <p:sp>
        <p:nvSpPr>
          <p:cNvPr id="13" name="Content Placeholder 11">
            <a:extLst>
              <a:ext uri="{FF2B5EF4-FFF2-40B4-BE49-F238E27FC236}">
                <a16:creationId xmlns:a16="http://schemas.microsoft.com/office/drawing/2014/main" id="{A4CC6AB0-560E-4AE0-A93D-9C1C64F05440}"/>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latin typeface="+mn-lt"/>
              </a:defRPr>
            </a:lvl1pPr>
          </a:lstStyle>
          <a:p>
            <a:pPr lvl="0"/>
            <a:r>
              <a:rPr lang="en-US" dirty="0"/>
              <a:t>YYYY-MM-DD</a:t>
            </a:r>
          </a:p>
        </p:txBody>
      </p:sp>
    </p:spTree>
    <p:extLst>
      <p:ext uri="{BB962C8B-B14F-4D97-AF65-F5344CB8AC3E}">
        <p14:creationId xmlns:p14="http://schemas.microsoft.com/office/powerpoint/2010/main" val="4027488536"/>
      </p:ext>
    </p:extLst>
  </p:cSld>
  <p:clrMapOvr>
    <a:masterClrMapping/>
  </p:clrMapOvr>
  <p:hf sldNum="0" hdr="0" ftr="0"/>
  <p:extLst mod="1">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Page w. Dark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AD780AD-21B6-4312-96C4-9E36B1648871}"/>
              </a:ext>
            </a:extLst>
          </p:cNvPr>
          <p:cNvSpPr>
            <a:spLocks noGrp="1"/>
          </p:cNvSpPr>
          <p:nvPr>
            <p:ph type="pic" sz="quarter" idx="13"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22531" name="Title_TM"/>
          <p:cNvSpPr>
            <a:spLocks noGrp="1" noChangeArrowheads="1"/>
          </p:cNvSpPr>
          <p:nvPr>
            <p:ph type="ctrTitle" hasCustomPrompt="1"/>
          </p:nvPr>
        </p:nvSpPr>
        <p:spPr>
          <a:xfrm>
            <a:off x="479425" y="476250"/>
            <a:ext cx="8353426" cy="2330958"/>
          </a:xfrm>
        </p:spPr>
        <p:txBody>
          <a:bodyPr/>
          <a:lstStyle>
            <a:lvl1pPr>
              <a:lnSpc>
                <a:spcPct val="85000"/>
              </a:lnSpc>
              <a:defRPr sz="6000" b="0" kern="1400" spc="-160" baseline="0">
                <a:solidFill>
                  <a:schemeClr val="bg1"/>
                </a:solidFill>
                <a:latin typeface="+mj-lt"/>
              </a:defRPr>
            </a:lvl1pPr>
          </a:lstStyle>
          <a:p>
            <a:r>
              <a:rPr lang="en-US" dirty="0"/>
              <a:t>Presentation title,</a:t>
            </a:r>
            <a:br>
              <a:rPr lang="en-US" dirty="0"/>
            </a:br>
            <a:r>
              <a:rPr lang="en-US" dirty="0"/>
              <a:t>Ericsson Hilda Light 60pt,</a:t>
            </a:r>
            <a:br>
              <a:rPr lang="en-US" dirty="0"/>
            </a:br>
            <a:r>
              <a:rPr lang="en-US" dirty="0"/>
              <a:t>Ericsson White,</a:t>
            </a:r>
            <a:br>
              <a:rPr lang="en-US" dirty="0"/>
            </a:br>
            <a:r>
              <a:rPr lang="en-US" dirty="0"/>
              <a:t>max 4-lines</a:t>
            </a:r>
          </a:p>
        </p:txBody>
      </p:sp>
      <p:sp>
        <p:nvSpPr>
          <p:cNvPr id="22530" name="SubTitle_TM"/>
          <p:cNvSpPr>
            <a:spLocks noGrp="1" noChangeArrowheads="1"/>
          </p:cNvSpPr>
          <p:nvPr>
            <p:ph type="subTitle" idx="1" hasCustomPrompt="1"/>
          </p:nvPr>
        </p:nvSpPr>
        <p:spPr>
          <a:xfrm>
            <a:off x="479425" y="4149725"/>
            <a:ext cx="5472114" cy="2087563"/>
          </a:xfrm>
          <a:prstGeom prst="rect">
            <a:avLst/>
          </a:prstGeom>
        </p:spPr>
        <p:txBody>
          <a:bodyPr lIns="7200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Presentation description/subtitle</a:t>
            </a:r>
            <a:br>
              <a:rPr lang="en-US" dirty="0"/>
            </a:br>
            <a:r>
              <a:rPr lang="en-US" dirty="0"/>
              <a:t>Ericsson Hilda 20pt</a:t>
            </a:r>
          </a:p>
        </p:txBody>
      </p:sp>
      <p:pic>
        <p:nvPicPr>
          <p:cNvPr id="10" name="Graphic 9">
            <a:extLst>
              <a:ext uri="{FF2B5EF4-FFF2-40B4-BE49-F238E27FC236}">
                <a16:creationId xmlns:a16="http://schemas.microsoft.com/office/drawing/2014/main" id="{E29FEEAB-1C1F-4153-BC50-6FCDEAC19C8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
        <p:nvSpPr>
          <p:cNvPr id="9" name="Content Placeholder 2">
            <a:extLst>
              <a:ext uri="{FF2B5EF4-FFF2-40B4-BE49-F238E27FC236}">
                <a16:creationId xmlns:a16="http://schemas.microsoft.com/office/drawing/2014/main" id="{07AC4DB9-933C-4680-A281-C11929BCC2F5}"/>
              </a:ext>
            </a:extLst>
          </p:cNvPr>
          <p:cNvSpPr>
            <a:spLocks noGrp="1"/>
          </p:cNvSpPr>
          <p:nvPr>
            <p:ph sz="quarter" idx="10" hasCustomPrompt="1"/>
          </p:nvPr>
        </p:nvSpPr>
        <p:spPr>
          <a:xfrm>
            <a:off x="6240463" y="6237288"/>
            <a:ext cx="1910479" cy="287336"/>
          </a:xfrm>
          <a:prstGeom prst="rect">
            <a:avLst/>
          </a:prstGeom>
        </p:spPr>
        <p:txBody>
          <a:bodyPr wrap="none" anchor="b"/>
          <a:lstStyle>
            <a:lvl1pPr marL="0" indent="0" algn="r">
              <a:buNone/>
              <a:defRPr sz="1200">
                <a:solidFill>
                  <a:schemeClr val="bg1"/>
                </a:solidFill>
                <a:latin typeface="+mn-lt"/>
              </a:defRPr>
            </a:lvl1pPr>
          </a:lstStyle>
          <a:p>
            <a:r>
              <a:rPr lang="en-US" dirty="0"/>
              <a:t>Speaker name</a:t>
            </a:r>
          </a:p>
        </p:txBody>
      </p:sp>
      <p:sp>
        <p:nvSpPr>
          <p:cNvPr id="11" name="Content Placeholder 11">
            <a:extLst>
              <a:ext uri="{FF2B5EF4-FFF2-40B4-BE49-F238E27FC236}">
                <a16:creationId xmlns:a16="http://schemas.microsoft.com/office/drawing/2014/main" id="{7B568BB6-C8A4-4545-B025-7D97CC4692BC}"/>
              </a:ext>
            </a:extLst>
          </p:cNvPr>
          <p:cNvSpPr>
            <a:spLocks noGrp="1"/>
          </p:cNvSpPr>
          <p:nvPr>
            <p:ph sz="quarter" idx="11" hasCustomPrompt="1"/>
          </p:nvPr>
        </p:nvSpPr>
        <p:spPr>
          <a:xfrm>
            <a:off x="8229600" y="6237287"/>
            <a:ext cx="2515041" cy="287337"/>
          </a:xfrm>
          <a:prstGeom prst="rect">
            <a:avLst/>
          </a:prstGeom>
          <a:noFill/>
          <a:ln w="9525">
            <a:noFill/>
            <a:miter lim="800000"/>
            <a:headEnd/>
            <a:tailEnd/>
          </a:ln>
        </p:spPr>
        <p:txBody>
          <a:bodyPr tIns="0" rIns="0" anchor="b"/>
          <a:lstStyle>
            <a:lvl1pPr marL="0" indent="0" algn="ctr">
              <a:buNone/>
              <a:defRPr lang="en-US" sz="1200" dirty="0">
                <a:solidFill>
                  <a:schemeClr val="bg1"/>
                </a:solidFill>
                <a:latin typeface="+mn-lt"/>
              </a:defRPr>
            </a:lvl1pPr>
          </a:lstStyle>
          <a:p>
            <a:r>
              <a:rPr lang="en-US" dirty="0"/>
              <a:t>Organization</a:t>
            </a:r>
          </a:p>
        </p:txBody>
      </p:sp>
      <p:sp>
        <p:nvSpPr>
          <p:cNvPr id="13" name="Content Placeholder 11">
            <a:extLst>
              <a:ext uri="{FF2B5EF4-FFF2-40B4-BE49-F238E27FC236}">
                <a16:creationId xmlns:a16="http://schemas.microsoft.com/office/drawing/2014/main" id="{D51585B7-9911-4BC2-ACC7-3D991408BDDF}"/>
              </a:ext>
            </a:extLst>
          </p:cNvPr>
          <p:cNvSpPr>
            <a:spLocks noGrp="1"/>
          </p:cNvSpPr>
          <p:nvPr>
            <p:ph sz="quarter" idx="12" hasCustomPrompt="1"/>
          </p:nvPr>
        </p:nvSpPr>
        <p:spPr>
          <a:xfrm>
            <a:off x="10811951" y="6237287"/>
            <a:ext cx="897503" cy="287337"/>
          </a:xfrm>
          <a:prstGeom prst="rect">
            <a:avLst/>
          </a:prstGeom>
          <a:noFill/>
          <a:ln w="9525">
            <a:noFill/>
            <a:miter lim="800000"/>
            <a:headEnd/>
            <a:tailEnd/>
          </a:ln>
        </p:spPr>
        <p:txBody>
          <a:bodyPr wrap="none" tIns="0" rIns="0" anchor="b"/>
          <a:lstStyle>
            <a:lvl1pPr marL="0" indent="0" algn="ctr">
              <a:buNone/>
              <a:defRPr lang="en-US" sz="1200" dirty="0">
                <a:solidFill>
                  <a:schemeClr val="bg1"/>
                </a:solidFill>
                <a:latin typeface="+mn-lt"/>
              </a:defRPr>
            </a:lvl1pPr>
          </a:lstStyle>
          <a:p>
            <a:pPr lvl="0"/>
            <a:r>
              <a:rPr lang="en-US" dirty="0"/>
              <a:t>YYYY-MM-DD</a:t>
            </a:r>
          </a:p>
        </p:txBody>
      </p:sp>
    </p:spTree>
    <p:extLst>
      <p:ext uri="{BB962C8B-B14F-4D97-AF65-F5344CB8AC3E}">
        <p14:creationId xmlns:p14="http://schemas.microsoft.com/office/powerpoint/2010/main" val="2998158915"/>
      </p:ext>
    </p:extLst>
  </p:cSld>
  <p:clrMapOvr>
    <a:masterClrMapping/>
  </p:clrMapOvr>
  <p:hf sldNum="0" hdr="0" ftr="0"/>
  <p:extLst mod="1">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note Cover Page">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nchor="t"/>
          <a:lstStyle>
            <a:lvl1pPr>
              <a:defRPr lang="en-US" sz="6000" b="0" dirty="0">
                <a:solidFill>
                  <a:schemeClr val="tx1"/>
                </a:solidFill>
                <a:latin typeface="+mj-lt"/>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6"/>
            <a:ext cx="5472112" cy="2087562"/>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spTree>
    <p:extLst>
      <p:ext uri="{BB962C8B-B14F-4D97-AF65-F5344CB8AC3E}">
        <p14:creationId xmlns:p14="http://schemas.microsoft.com/office/powerpoint/2010/main" val="2196788151"/>
      </p:ext>
    </p:extLst>
  </p:cSld>
  <p:clrMapOvr>
    <a:masterClrMapping/>
  </p:clrMapOvr>
  <p:hf sldNum="0" hdr="0" ftr="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Bright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lumMod val="10000"/>
              <a:lumOff val="90000"/>
            </a:schemeClr>
          </a:solidFill>
        </p:spPr>
        <p:txBody>
          <a:bodyPr anchor="ctr"/>
          <a:lstStyle>
            <a:lvl1pPr marL="0" indent="0" algn="ctr">
              <a:buNone/>
              <a:defRPr/>
            </a:lvl1pPr>
          </a:lstStyle>
          <a:p>
            <a:r>
              <a:rPr lang="en-US" dirty="0"/>
              <a:t>                                                                         Click icon to add a bright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tx1"/>
                </a:solidFill>
              </a:defRPr>
            </a:lvl1pPr>
          </a:lstStyle>
          <a:p>
            <a:pPr lvl="0"/>
            <a:r>
              <a:rPr lang="en-US" dirty="0"/>
              <a:t>Keynote cover page, </a:t>
            </a:r>
            <a:br>
              <a:rPr lang="en-US" dirty="0"/>
            </a:br>
            <a:r>
              <a:rPr lang="en-US" dirty="0"/>
              <a:t>Ericsson Hilda Light 60pt, </a:t>
            </a:r>
            <a:br>
              <a:rPr lang="en-US" dirty="0"/>
            </a:br>
            <a:r>
              <a:rPr lang="en-US" dirty="0"/>
              <a:t>Ericsson Black,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peaker,</a:t>
            </a:r>
            <a:br>
              <a:rPr lang="en-US" dirty="0"/>
            </a:br>
            <a:r>
              <a:rPr lang="en-US" dirty="0"/>
              <a:t>Ericsson Black, Ericsson Hilda 20pt</a:t>
            </a:r>
          </a:p>
        </p:txBody>
      </p:sp>
      <p:pic>
        <p:nvPicPr>
          <p:cNvPr id="6" name="Graphic 5">
            <a:extLst>
              <a:ext uri="{FF2B5EF4-FFF2-40B4-BE49-F238E27FC236}">
                <a16:creationId xmlns:a16="http://schemas.microsoft.com/office/drawing/2014/main" id="{E0F7625D-2507-407E-B5D2-5964ED88BA9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705077283"/>
      </p:ext>
    </p:extLst>
  </p:cSld>
  <p:clrMapOvr>
    <a:masterClrMapping/>
  </p:clrMapOvr>
  <p:hf sldNum="0" hdr="0" ftr="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eynote Cover Page w. Dark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368127A-B068-4F16-BC03-AF06DDDB17AE}"/>
              </a:ext>
            </a:extLst>
          </p:cNvPr>
          <p:cNvSpPr>
            <a:spLocks noGrp="1"/>
          </p:cNvSpPr>
          <p:nvPr>
            <p:ph type="pic" sz="quarter" idx="10" hasCustomPrompt="1"/>
          </p:nvPr>
        </p:nvSpPr>
        <p:spPr>
          <a:xfrm>
            <a:off x="1" y="0"/>
            <a:ext cx="12192000" cy="6858000"/>
          </a:xfrm>
          <a:prstGeom prst="rect">
            <a:avLst/>
          </a:prstGeom>
          <a:solidFill>
            <a:schemeClr val="tx1"/>
          </a:solidFill>
        </p:spPr>
        <p:txBody>
          <a:bodyPr anchor="ctr"/>
          <a:lstStyle>
            <a:lvl1pPr marL="0" indent="0" algn="ctr">
              <a:buNone/>
              <a:defRPr>
                <a:solidFill>
                  <a:schemeClr val="bg1"/>
                </a:solidFill>
              </a:defRPr>
            </a:lvl1pPr>
          </a:lstStyle>
          <a:p>
            <a:r>
              <a:rPr lang="en-US" dirty="0"/>
              <a:t>                                                                      Click icon to add a dark image</a:t>
            </a:r>
          </a:p>
        </p:txBody>
      </p:sp>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2288721"/>
          </a:xfrm>
          <a:noFill/>
          <a:ln w="9525">
            <a:noFill/>
            <a:miter lim="800000"/>
            <a:headEnd/>
            <a:tailEnd/>
          </a:ln>
        </p:spPr>
        <p:txBody>
          <a:bodyPr anchor="t"/>
          <a:lstStyle>
            <a:lvl1pPr>
              <a:defRPr lang="en-US" sz="6000" b="0" dirty="0">
                <a:solidFill>
                  <a:schemeClr val="bg1"/>
                </a:solidFill>
              </a:defRPr>
            </a:lvl1pPr>
          </a:lstStyle>
          <a:p>
            <a:pPr lvl="0"/>
            <a:r>
              <a:rPr lang="en-US" dirty="0"/>
              <a:t>Keynote cover cage, </a:t>
            </a:r>
            <a:br>
              <a:rPr lang="en-US" dirty="0"/>
            </a:br>
            <a:r>
              <a:rPr lang="en-US" dirty="0"/>
              <a:t>Ericsson Hilda Light 60pt, </a:t>
            </a:r>
            <a:br>
              <a:rPr lang="en-US" dirty="0"/>
            </a:br>
            <a:r>
              <a:rPr lang="en-US" dirty="0"/>
              <a:t>Ericsson White, </a:t>
            </a:r>
            <a:br>
              <a:rPr lang="en-US" dirty="0"/>
            </a:br>
            <a:r>
              <a:rPr lang="en-US" dirty="0"/>
              <a:t>max 4-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4" y="4149725"/>
            <a:ext cx="5472113" cy="2087563"/>
          </a:xfrm>
          <a:prstGeom prst="rect">
            <a:avLst/>
          </a:prstGeom>
        </p:spPr>
        <p:txBody>
          <a:bodyPr rIns="0" anchor="t"/>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peaker,</a:t>
            </a:r>
            <a:br>
              <a:rPr lang="en-US" dirty="0"/>
            </a:br>
            <a:r>
              <a:rPr lang="en-US" dirty="0"/>
              <a:t>Ericsson Black, Ericsson Hilda 20pt</a:t>
            </a:r>
          </a:p>
        </p:txBody>
      </p:sp>
      <p:pic>
        <p:nvPicPr>
          <p:cNvPr id="7" name="Graphic 6">
            <a:extLst>
              <a:ext uri="{FF2B5EF4-FFF2-40B4-BE49-F238E27FC236}">
                <a16:creationId xmlns:a16="http://schemas.microsoft.com/office/drawing/2014/main" id="{7753C092-06FE-4B22-BAB1-EBEB69074D0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1096527469"/>
      </p:ext>
    </p:extLst>
  </p:cSld>
  <p:clrMapOvr>
    <a:masterClrMapping/>
  </p:clrMapOvr>
  <p:hf sldNum="0" hdr="0" ftr="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tatement Page 1">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1" name="Title_TM">
            <a:extLst>
              <a:ext uri="{FF2B5EF4-FFF2-40B4-BE49-F238E27FC236}">
                <a16:creationId xmlns:a16="http://schemas.microsoft.com/office/drawing/2014/main" id="{48FE7FF9-3930-4C4A-8BC6-EB9A286812D4}"/>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2" name="SubTitle_TM">
            <a:extLst>
              <a:ext uri="{FF2B5EF4-FFF2-40B4-BE49-F238E27FC236}">
                <a16:creationId xmlns:a16="http://schemas.microsoft.com/office/drawing/2014/main" id="{A60848B0-180A-4C02-A8B3-E172AF538B61}"/>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035D0DD-E99D-4FBA-B8C0-65E91EC0492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278254443"/>
      </p:ext>
    </p:extLst>
  </p:cSld>
  <p:clrMapOvr>
    <a:masterClrMapping/>
  </p:clrMapOvr>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pic>
        <p:nvPicPr>
          <p:cNvPr id="9" name="Picture 11">
            <a:extLst>
              <a:ext uri="{FF2B5EF4-FFF2-40B4-BE49-F238E27FC236}">
                <a16:creationId xmlns:a16="http://schemas.microsoft.com/office/drawing/2014/main" id="{AD8118F2-961D-4A26-82DD-827B741645D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522391" y="476250"/>
            <a:ext cx="190184" cy="25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spTree>
    <p:extLst>
      <p:ext uri="{BB962C8B-B14F-4D97-AF65-F5344CB8AC3E}">
        <p14:creationId xmlns:p14="http://schemas.microsoft.com/office/powerpoint/2010/main" val="3450366910"/>
      </p:ext>
    </p:extLst>
  </p:cSld>
  <p:clrMapOvr>
    <a:masterClrMapping/>
  </p:clrMapOvr>
  <p:hf sldNum="0" hdr="0" ftr="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tatement Page 2">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4F3FE80A-6B53-492B-8FC1-A575806A0D0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3AECA499-20B0-4F79-85A2-1C9D1BFBB0C0}"/>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BB77A080-9B1F-4D75-A79E-8C7540FBB16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62452223"/>
      </p:ext>
    </p:extLst>
  </p:cSld>
  <p:clrMapOvr>
    <a:masterClrMapping/>
  </p:clrMapOvr>
  <p:hf sldNum="0" hdr="0" ftr="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tatement Page 3">
    <p:spTree>
      <p:nvGrpSpPr>
        <p:cNvPr id="1" name=""/>
        <p:cNvGrpSpPr/>
        <p:nvPr/>
      </p:nvGrpSpPr>
      <p:grpSpPr>
        <a:xfrm>
          <a:off x="0" y="0"/>
          <a:ext cx="0" cy="0"/>
          <a:chOff x="0" y="0"/>
          <a:chExt cx="0" cy="0"/>
        </a:xfrm>
      </p:grpSpPr>
      <p:sp>
        <p:nvSpPr>
          <p:cNvPr id="4" name="Rectangle 3"/>
          <p:cNvSpPr/>
          <p:nvPr userDrawn="1"/>
        </p:nvSpPr>
        <p:spPr bwMode="auto">
          <a:xfrm>
            <a:off x="0" y="0"/>
            <a:ext cx="12192000" cy="6858000"/>
          </a:xfrm>
          <a:prstGeom prst="rect">
            <a:avLst/>
          </a:prstGeom>
          <a:solidFill>
            <a:schemeClr val="accent3"/>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10" name="Title_TM">
            <a:extLst>
              <a:ext uri="{FF2B5EF4-FFF2-40B4-BE49-F238E27FC236}">
                <a16:creationId xmlns:a16="http://schemas.microsoft.com/office/drawing/2014/main" id="{6AB007D5-DA18-4842-9C2D-8C72512602C0}"/>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0D3699C9-F9CA-4781-89C3-F0A901D1F1AF}"/>
              </a:ext>
            </a:extLst>
          </p:cNvPr>
          <p:cNvSpPr>
            <a:spLocks noGrp="1" noChangeArrowheads="1"/>
          </p:cNvSpPr>
          <p:nvPr>
            <p:ph type="subTitle" idx="1" hasCustomPrompt="1"/>
          </p:nvPr>
        </p:nvSpPr>
        <p:spPr>
          <a:xfrm>
            <a:off x="479424"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01042C2C-5CDA-4F99-B59E-8CE43FEF21B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680516571"/>
      </p:ext>
    </p:extLst>
  </p:cSld>
  <p:clrMapOvr>
    <a:masterClrMapping/>
  </p:clrMapOvr>
  <p:hf sldNum="0" hdr="0" ftr="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tatement Page 4">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5"/>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0" name="Title_TM">
            <a:extLst>
              <a:ext uri="{FF2B5EF4-FFF2-40B4-BE49-F238E27FC236}">
                <a16:creationId xmlns:a16="http://schemas.microsoft.com/office/drawing/2014/main" id="{F1368AB3-821C-4A71-B119-C0A8AA44A93F}"/>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1" name="SubTitle_TM">
            <a:extLst>
              <a:ext uri="{FF2B5EF4-FFF2-40B4-BE49-F238E27FC236}">
                <a16:creationId xmlns:a16="http://schemas.microsoft.com/office/drawing/2014/main" id="{8561E9FC-533B-4891-A7E3-A3DDB1BD26FB}"/>
              </a:ext>
            </a:extLst>
          </p:cNvPr>
          <p:cNvSpPr>
            <a:spLocks noGrp="1" noChangeArrowheads="1"/>
          </p:cNvSpPr>
          <p:nvPr>
            <p:ph type="subTitle" idx="1" hasCustomPrompt="1"/>
          </p:nvPr>
        </p:nvSpPr>
        <p:spPr>
          <a:xfrm>
            <a:off x="480218"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54A0CF15-A701-44C3-81FC-A544265685B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460864956"/>
      </p:ext>
    </p:extLst>
  </p:cSld>
  <p:clrMapOvr>
    <a:masterClrMapping/>
  </p:clrMapOvr>
  <p:hf sldNum="0" hdr="0" ftr="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tatement Page 5">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4"/>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34B7B746-B315-4EB5-B3A2-CA259B065B9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005306277"/>
      </p:ext>
    </p:extLst>
  </p:cSld>
  <p:clrMapOvr>
    <a:masterClrMapping/>
  </p:clrMapOvr>
  <p:hf sldNum="0" hdr="0" ftr="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tatement Page 6">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0"/>
            <a:ext cx="12192000" cy="6858000"/>
          </a:xfrm>
          <a:prstGeom prst="rect">
            <a:avLst/>
          </a:prstGeom>
          <a:solidFill>
            <a:schemeClr val="accent6"/>
          </a:solidFill>
          <a:ln>
            <a:noFill/>
          </a:ln>
          <a:extLst/>
        </p:spPr>
        <p:txBody>
          <a:bodyPr wrap="none" lIns="72000" rIns="72000"/>
          <a:lstStyle>
            <a:lvl1pPr eaLnBrk="0" hangingPunct="0">
              <a:spcBef>
                <a:spcPct val="50000"/>
              </a:spcBef>
              <a:defRPr sz="2000">
                <a:solidFill>
                  <a:schemeClr val="tx1"/>
                </a:solidFill>
                <a:latin typeface="Ericsson Hilda Light" pitchFamily="34" charset="0"/>
              </a:defRPr>
            </a:lvl1pPr>
            <a:lvl2pPr marL="742950" indent="-285750" eaLnBrk="0" hangingPunct="0">
              <a:spcBef>
                <a:spcPct val="50000"/>
              </a:spcBef>
              <a:defRPr sz="2000">
                <a:solidFill>
                  <a:schemeClr val="tx1"/>
                </a:solidFill>
                <a:latin typeface="Ericsson Hilda Light" pitchFamily="34" charset="0"/>
              </a:defRPr>
            </a:lvl2pPr>
            <a:lvl3pPr marL="1143000" indent="-228600" eaLnBrk="0" hangingPunct="0">
              <a:spcBef>
                <a:spcPct val="50000"/>
              </a:spcBef>
              <a:defRPr sz="2000">
                <a:solidFill>
                  <a:schemeClr val="tx1"/>
                </a:solidFill>
                <a:latin typeface="Ericsson Hilda Light" pitchFamily="34" charset="0"/>
              </a:defRPr>
            </a:lvl3pPr>
            <a:lvl4pPr marL="1600200" indent="-228600" eaLnBrk="0" hangingPunct="0">
              <a:spcBef>
                <a:spcPct val="50000"/>
              </a:spcBef>
              <a:defRPr sz="2000">
                <a:solidFill>
                  <a:schemeClr val="tx1"/>
                </a:solidFill>
                <a:latin typeface="Ericsson Hilda Light" pitchFamily="34" charset="0"/>
              </a:defRPr>
            </a:lvl4pPr>
            <a:lvl5pPr marL="2057400" indent="-228600" eaLnBrk="0" hangingPunct="0">
              <a:spcBef>
                <a:spcPct val="50000"/>
              </a:spcBef>
              <a:defRPr sz="2000">
                <a:solidFill>
                  <a:schemeClr val="tx1"/>
                </a:solidFill>
                <a:latin typeface="Ericsson Hilda Light" pitchFamily="34" charset="0"/>
              </a:defRPr>
            </a:lvl5pPr>
            <a:lvl6pPr marL="2514600" indent="-228600" eaLnBrk="0" fontAlgn="base" hangingPunct="0">
              <a:spcBef>
                <a:spcPct val="50000"/>
              </a:spcBef>
              <a:spcAft>
                <a:spcPct val="0"/>
              </a:spcAft>
              <a:defRPr sz="2000">
                <a:solidFill>
                  <a:schemeClr val="tx1"/>
                </a:solidFill>
                <a:latin typeface="Ericsson Hilda Light" pitchFamily="34" charset="0"/>
              </a:defRPr>
            </a:lvl6pPr>
            <a:lvl7pPr marL="2971800" indent="-228600" eaLnBrk="0" fontAlgn="base" hangingPunct="0">
              <a:spcBef>
                <a:spcPct val="50000"/>
              </a:spcBef>
              <a:spcAft>
                <a:spcPct val="0"/>
              </a:spcAft>
              <a:defRPr sz="2000">
                <a:solidFill>
                  <a:schemeClr val="tx1"/>
                </a:solidFill>
                <a:latin typeface="Ericsson Hilda Light" pitchFamily="34" charset="0"/>
              </a:defRPr>
            </a:lvl7pPr>
            <a:lvl8pPr marL="3429000" indent="-228600" eaLnBrk="0" fontAlgn="base" hangingPunct="0">
              <a:spcBef>
                <a:spcPct val="50000"/>
              </a:spcBef>
              <a:spcAft>
                <a:spcPct val="0"/>
              </a:spcAft>
              <a:defRPr sz="2000">
                <a:solidFill>
                  <a:schemeClr val="tx1"/>
                </a:solidFill>
                <a:latin typeface="Ericsson Hilda Light" pitchFamily="34" charset="0"/>
              </a:defRPr>
            </a:lvl8pPr>
            <a:lvl9pPr marL="3886200" indent="-228600" eaLnBrk="0" fontAlgn="base" hangingPunct="0">
              <a:spcBef>
                <a:spcPct val="50000"/>
              </a:spcBef>
              <a:spcAft>
                <a:spcPct val="0"/>
              </a:spcAft>
              <a:defRPr sz="2000">
                <a:solidFill>
                  <a:schemeClr val="tx1"/>
                </a:solidFill>
                <a:latin typeface="Ericsson Hilda Light" pitchFamily="34" charset="0"/>
              </a:defRPr>
            </a:lvl9pPr>
          </a:lstStyle>
          <a:p>
            <a:pPr eaLnBrk="1" hangingPunct="1">
              <a:defRPr/>
            </a:pPr>
            <a:endParaRPr lang="en-US" altLang="en-US" dirty="0">
              <a:latin typeface="Ericsson Hilda Light" panose="00000400000000000000" pitchFamily="2" charset="0"/>
            </a:endParaRPr>
          </a:p>
        </p:txBody>
      </p:sp>
      <p:sp>
        <p:nvSpPr>
          <p:cNvPr id="12" name="Title_TM">
            <a:extLst>
              <a:ext uri="{FF2B5EF4-FFF2-40B4-BE49-F238E27FC236}">
                <a16:creationId xmlns:a16="http://schemas.microsoft.com/office/drawing/2014/main" id="{93CB56C1-2916-4C60-8532-A023564D2C57}"/>
              </a:ext>
            </a:extLst>
          </p:cNvPr>
          <p:cNvSpPr>
            <a:spLocks noGrp="1" noChangeArrowheads="1"/>
          </p:cNvSpPr>
          <p:nvPr>
            <p:ph type="ctrTitle" hasCustomPrompt="1"/>
          </p:nvPr>
        </p:nvSpPr>
        <p:spPr>
          <a:xfrm>
            <a:off x="479424" y="476250"/>
            <a:ext cx="8353425" cy="3457575"/>
          </a:xfrm>
          <a:noFill/>
          <a:ln w="9525">
            <a:noFill/>
            <a:miter lim="800000"/>
            <a:headEnd/>
            <a:tailEnd/>
          </a:ln>
        </p:spPr>
        <p:txBody>
          <a:bodyPr/>
          <a:lstStyle>
            <a:lvl1pPr>
              <a:defRPr lang="en-US" sz="6000" b="0" dirty="0">
                <a:solidFill>
                  <a:schemeClr val="bg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White, </a:t>
            </a:r>
            <a:br>
              <a:rPr lang="en-US" dirty="0"/>
            </a:br>
            <a:r>
              <a:rPr lang="en-US" dirty="0"/>
              <a:t>max 5-lines</a:t>
            </a:r>
          </a:p>
        </p:txBody>
      </p:sp>
      <p:sp>
        <p:nvSpPr>
          <p:cNvPr id="13" name="SubTitle_TM">
            <a:extLst>
              <a:ext uri="{FF2B5EF4-FFF2-40B4-BE49-F238E27FC236}">
                <a16:creationId xmlns:a16="http://schemas.microsoft.com/office/drawing/2014/main" id="{61DC6511-5700-4E95-89CA-81484C248C03}"/>
              </a:ext>
            </a:extLst>
          </p:cNvPr>
          <p:cNvSpPr>
            <a:spLocks noGrp="1" noChangeArrowheads="1"/>
          </p:cNvSpPr>
          <p:nvPr>
            <p:ph type="subTitle" idx="1" hasCustomPrompt="1"/>
          </p:nvPr>
        </p:nvSpPr>
        <p:spPr>
          <a:xfrm>
            <a:off x="479425" y="4149725"/>
            <a:ext cx="5472113"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bg1"/>
                </a:solidFill>
                <a:latin typeface="+mn-lt"/>
              </a:defRPr>
            </a:lvl1pPr>
          </a:lstStyle>
          <a:p>
            <a:r>
              <a:rPr lang="en-US" dirty="0"/>
              <a:t>Statement/quote source, </a:t>
            </a:r>
          </a:p>
          <a:p>
            <a:r>
              <a:rPr lang="en-US" dirty="0"/>
              <a:t>Ericsson White, Ericsson Hilda 20pt</a:t>
            </a:r>
          </a:p>
        </p:txBody>
      </p:sp>
      <p:pic>
        <p:nvPicPr>
          <p:cNvPr id="6" name="Graphic 5">
            <a:extLst>
              <a:ext uri="{FF2B5EF4-FFF2-40B4-BE49-F238E27FC236}">
                <a16:creationId xmlns:a16="http://schemas.microsoft.com/office/drawing/2014/main" id="{6096BBFC-712A-429D-9C0A-7743993E7FC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3766820658"/>
      </p:ext>
    </p:extLst>
  </p:cSld>
  <p:clrMapOvr>
    <a:masterClrMapping/>
  </p:clrMapOvr>
  <p:hf sldNum="0" hdr="0" ftr="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atement Page 7">
    <p:spTree>
      <p:nvGrpSpPr>
        <p:cNvPr id="1" name=""/>
        <p:cNvGrpSpPr/>
        <p:nvPr/>
      </p:nvGrpSpPr>
      <p:grpSpPr>
        <a:xfrm>
          <a:off x="0" y="0"/>
          <a:ext cx="0" cy="0"/>
          <a:chOff x="0" y="0"/>
          <a:chExt cx="0" cy="0"/>
        </a:xfrm>
      </p:grpSpPr>
      <p:sp>
        <p:nvSpPr>
          <p:cNvPr id="9" name="Title_TM">
            <a:extLst>
              <a:ext uri="{FF2B5EF4-FFF2-40B4-BE49-F238E27FC236}">
                <a16:creationId xmlns:a16="http://schemas.microsoft.com/office/drawing/2014/main" id="{696C7C8F-5086-466A-8108-2FE0A8663D59}"/>
              </a:ext>
            </a:extLst>
          </p:cNvPr>
          <p:cNvSpPr>
            <a:spLocks noGrp="1" noChangeArrowheads="1"/>
          </p:cNvSpPr>
          <p:nvPr>
            <p:ph type="ctrTitle" hasCustomPrompt="1"/>
          </p:nvPr>
        </p:nvSpPr>
        <p:spPr>
          <a:xfrm>
            <a:off x="479425" y="476250"/>
            <a:ext cx="8353426" cy="3457575"/>
          </a:xfrm>
          <a:noFill/>
          <a:ln w="9525">
            <a:noFill/>
            <a:miter lim="800000"/>
            <a:headEnd/>
            <a:tailEnd/>
          </a:ln>
        </p:spPr>
        <p:txBody>
          <a:bodyPr/>
          <a:lstStyle>
            <a:lvl1pPr>
              <a:defRPr lang="en-US" sz="6000" b="0" dirty="0">
                <a:solidFill>
                  <a:schemeClr val="tx1"/>
                </a:solidFill>
              </a:defRPr>
            </a:lvl1pPr>
          </a:lstStyle>
          <a:p>
            <a:pPr lvl="0"/>
            <a:r>
              <a:rPr lang="en-US" dirty="0"/>
              <a:t>Chapter/section divider or Statement/fact/quote, </a:t>
            </a:r>
            <a:br>
              <a:rPr lang="en-US" dirty="0"/>
            </a:br>
            <a:r>
              <a:rPr lang="en-US" dirty="0"/>
              <a:t>Ericsson Hilda Light 60pt, </a:t>
            </a:r>
            <a:br>
              <a:rPr lang="en-US" dirty="0"/>
            </a:br>
            <a:r>
              <a:rPr lang="en-US" dirty="0"/>
              <a:t>Ericsson Black, </a:t>
            </a:r>
            <a:br>
              <a:rPr lang="en-US" dirty="0"/>
            </a:br>
            <a:r>
              <a:rPr lang="en-US" dirty="0"/>
              <a:t>max 5-lines</a:t>
            </a:r>
          </a:p>
        </p:txBody>
      </p:sp>
      <p:sp>
        <p:nvSpPr>
          <p:cNvPr id="10" name="SubTitle_TM">
            <a:extLst>
              <a:ext uri="{FF2B5EF4-FFF2-40B4-BE49-F238E27FC236}">
                <a16:creationId xmlns:a16="http://schemas.microsoft.com/office/drawing/2014/main" id="{ED5DEA0B-CF0D-4EE6-B6A8-90BAF3DE8AF1}"/>
              </a:ext>
            </a:extLst>
          </p:cNvPr>
          <p:cNvSpPr>
            <a:spLocks noGrp="1" noChangeArrowheads="1"/>
          </p:cNvSpPr>
          <p:nvPr>
            <p:ph type="subTitle" idx="1" hasCustomPrompt="1"/>
          </p:nvPr>
        </p:nvSpPr>
        <p:spPr>
          <a:xfrm>
            <a:off x="479425" y="4149725"/>
            <a:ext cx="5472114" cy="2087563"/>
          </a:xfrm>
          <a:prstGeom prst="rect">
            <a:avLst/>
          </a:prstGeom>
        </p:spPr>
        <p:txBody>
          <a:bodyPr rIns="0" anchor="ctr"/>
          <a:lstStyle>
            <a:lvl1pPr marL="0" indent="0">
              <a:lnSpc>
                <a:spcPct val="100000"/>
              </a:lnSpc>
              <a:spcBef>
                <a:spcPts val="0"/>
              </a:spcBef>
              <a:buFont typeface="Ericsson Hilda Light" charset="0"/>
              <a:buNone/>
              <a:defRPr sz="2000" baseline="0">
                <a:solidFill>
                  <a:schemeClr val="tx1"/>
                </a:solidFill>
                <a:latin typeface="+mn-lt"/>
              </a:defRPr>
            </a:lvl1pPr>
          </a:lstStyle>
          <a:p>
            <a:r>
              <a:rPr lang="en-US" dirty="0"/>
              <a:t>Statement/quote source, </a:t>
            </a:r>
          </a:p>
          <a:p>
            <a:r>
              <a:rPr lang="en-US" dirty="0"/>
              <a:t>Ericsson Black, Ericsson Hilda 20pt</a:t>
            </a:r>
          </a:p>
        </p:txBody>
      </p:sp>
    </p:spTree>
    <p:extLst>
      <p:ext uri="{BB962C8B-B14F-4D97-AF65-F5344CB8AC3E}">
        <p14:creationId xmlns:p14="http://schemas.microsoft.com/office/powerpoint/2010/main" val="1202996996"/>
      </p:ext>
    </p:extLst>
  </p:cSld>
  <p:clrMapOvr>
    <a:masterClrMapping/>
  </p:clrMapOvr>
  <p:hf sldNum="0" hdr="0" ftr="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pter/Section Page">
    <p:spTree>
      <p:nvGrpSpPr>
        <p:cNvPr id="1" name=""/>
        <p:cNvGrpSpPr/>
        <p:nvPr/>
      </p:nvGrpSpPr>
      <p:grpSpPr>
        <a:xfrm>
          <a:off x="0" y="0"/>
          <a:ext cx="0" cy="0"/>
          <a:chOff x="0" y="0"/>
          <a:chExt cx="0" cy="0"/>
        </a:xfrm>
      </p:grpSpPr>
      <p:sp>
        <p:nvSpPr>
          <p:cNvPr id="22531" name="Title_TM"/>
          <p:cNvSpPr>
            <a:spLocks noGrp="1" noChangeArrowheads="1"/>
          </p:cNvSpPr>
          <p:nvPr>
            <p:ph type="ctrTitle" hasCustomPrompt="1"/>
          </p:nvPr>
        </p:nvSpPr>
        <p:spPr>
          <a:xfrm>
            <a:off x="479425" y="476251"/>
            <a:ext cx="8353425" cy="3457574"/>
          </a:xfrm>
          <a:noFill/>
          <a:ln w="9525">
            <a:noFill/>
            <a:miter lim="800000"/>
            <a:headEnd/>
            <a:tailEnd/>
          </a:ln>
        </p:spPr>
        <p:txBody>
          <a:bodyPr/>
          <a:lstStyle>
            <a:lvl1pPr>
              <a:defRPr lang="en-US" sz="6000" b="0" baseline="0" dirty="0">
                <a:solidFill>
                  <a:schemeClr val="tx1"/>
                </a:solidFill>
              </a:defRPr>
            </a:lvl1pPr>
          </a:lstStyle>
          <a:p>
            <a:pPr lvl="0"/>
            <a:r>
              <a:rPr lang="en-US" dirty="0"/>
              <a:t>Chapter/section, </a:t>
            </a:r>
            <a:br>
              <a:rPr lang="en-US" dirty="0"/>
            </a:br>
            <a:r>
              <a:rPr lang="en-US" dirty="0"/>
              <a:t>Ericsson Hilda Light 60pt, Ericsson Black, </a:t>
            </a:r>
            <a:br>
              <a:rPr lang="en-US" dirty="0"/>
            </a:br>
            <a:r>
              <a:rPr lang="en-US" dirty="0"/>
              <a:t>max 4-lines</a:t>
            </a:r>
          </a:p>
        </p:txBody>
      </p:sp>
    </p:spTree>
    <p:extLst>
      <p:ext uri="{BB962C8B-B14F-4D97-AF65-F5344CB8AC3E}">
        <p14:creationId xmlns:p14="http://schemas.microsoft.com/office/powerpoint/2010/main" val="3928483350"/>
      </p:ext>
    </p:extLst>
  </p:cSld>
  <p:clrMapOvr>
    <a:masterClrMapping/>
  </p:clrMapOvr>
  <p:hf sldNum="0" hdr="0" ftr="0"/>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13110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lvl1pPr>
              <a:defRPr/>
            </a:lvl1pPr>
          </a:lstStyle>
          <a:p>
            <a:pPr lvl="0"/>
            <a:r>
              <a:rPr lang="en-US" dirty="0"/>
              <a:t>Slide title, Ericsson Hilda Light 40pt, Ericsson Black, max 2-lines</a:t>
            </a:r>
          </a:p>
        </p:txBody>
      </p:sp>
    </p:spTree>
    <p:extLst>
      <p:ext uri="{BB962C8B-B14F-4D97-AF65-F5344CB8AC3E}">
        <p14:creationId xmlns:p14="http://schemas.microsoft.com/office/powerpoint/2010/main" val="3283555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93672-2A04-4EF3-916F-2C920729FB07}"/>
              </a:ext>
            </a:extLst>
          </p:cNvPr>
          <p:cNvSpPr/>
          <p:nvPr userDrawn="1"/>
        </p:nvSpPr>
        <p:spPr bwMode="auto">
          <a:xfrm>
            <a:off x="0" y="0"/>
            <a:ext cx="12192000" cy="6858000"/>
          </a:xfrm>
          <a:prstGeom prst="rect">
            <a:avLst/>
          </a:prstGeom>
          <a:solidFill>
            <a:schemeClr val="accent1"/>
          </a:solidFill>
          <a:ln w="12700" cap="flat" cmpd="sng" algn="ctr">
            <a:noFill/>
            <a:prstDash val="solid"/>
            <a:round/>
            <a:headEnd type="none" w="med" len="med"/>
            <a:tailEnd type="none" w="med" len="med"/>
          </a:ln>
          <a:effectLst/>
        </p:spPr>
        <p:txBody>
          <a:bodyPr wrap="none" lIns="72000" rIns="72000"/>
          <a:lstStyle/>
          <a:p>
            <a:pPr>
              <a:spcBef>
                <a:spcPct val="50000"/>
              </a:spcBef>
              <a:defRPr/>
            </a:pPr>
            <a:endParaRPr lang="en-US" dirty="0">
              <a:latin typeface="Ericsson Hilda Light" panose="00000400000000000000" pitchFamily="2" charset="0"/>
              <a:cs typeface="+mn-cs"/>
            </a:endParaRPr>
          </a:p>
        </p:txBody>
      </p:sp>
      <p:sp>
        <p:nvSpPr>
          <p:cNvPr id="4" name="Title_SM"/>
          <p:cNvSpPr>
            <a:spLocks noGrp="1" noChangeArrowheads="1"/>
          </p:cNvSpPr>
          <p:nvPr>
            <p:ph type="title" hasCustomPrompt="1"/>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solidFill>
                  <a:schemeClr val="bg1"/>
                </a:solidFill>
              </a:defRPr>
            </a:lvl1pPr>
          </a:lstStyle>
          <a:p>
            <a:pPr lvl="0"/>
            <a:r>
              <a:rPr lang="en-US" dirty="0"/>
              <a:t>Slide title, Ericsson Hilda Light 40pt, Ericsson Black, max 2-lines</a:t>
            </a:r>
          </a:p>
        </p:txBody>
      </p:sp>
      <p:pic>
        <p:nvPicPr>
          <p:cNvPr id="6" name="Graphic 5">
            <a:extLst>
              <a:ext uri="{FF2B5EF4-FFF2-40B4-BE49-F238E27FC236}">
                <a16:creationId xmlns:a16="http://schemas.microsoft.com/office/drawing/2014/main" id="{0613FB31-E723-434D-8FBC-0054A541634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87410" y="476250"/>
            <a:ext cx="261523" cy="261523"/>
          </a:xfrm>
          <a:prstGeom prst="rect">
            <a:avLst/>
          </a:prstGeom>
        </p:spPr>
      </p:pic>
    </p:spTree>
    <p:extLst>
      <p:ext uri="{BB962C8B-B14F-4D97-AF65-F5344CB8AC3E}">
        <p14:creationId xmlns:p14="http://schemas.microsoft.com/office/powerpoint/2010/main" val="23143815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microsoft.com/office/2007/relationships/hdphoto" Target="../media/hdphoto1.wdp"/><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image" Target="../media/image4.png"/><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theme" Target="../theme/theme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slideLayout" Target="../slideLayouts/slideLayout78.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image" Target="../media/image5.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9" Type="http://schemas.openxmlformats.org/officeDocument/2006/relationships/slideLayout" Target="../slideLayouts/slideLayout121.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34" Type="http://schemas.openxmlformats.org/officeDocument/2006/relationships/slideLayout" Target="../slideLayouts/slideLayout116.xml"/><Relationship Id="rId42" Type="http://schemas.openxmlformats.org/officeDocument/2006/relationships/slideLayout" Target="../slideLayouts/slideLayout124.xml"/><Relationship Id="rId47" Type="http://schemas.openxmlformats.org/officeDocument/2006/relationships/image" Target="../media/image4.png"/><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slideLayout" Target="../slideLayouts/slideLayout115.xml"/><Relationship Id="rId38" Type="http://schemas.openxmlformats.org/officeDocument/2006/relationships/slideLayout" Target="../slideLayouts/slideLayout120.xml"/><Relationship Id="rId46" Type="http://schemas.openxmlformats.org/officeDocument/2006/relationships/theme" Target="../theme/theme3.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slideLayout" Target="../slideLayouts/slideLayout111.xml"/><Relationship Id="rId41" Type="http://schemas.openxmlformats.org/officeDocument/2006/relationships/slideLayout" Target="../slideLayouts/slideLayout123.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slideLayout" Target="../slideLayouts/slideLayout114.xml"/><Relationship Id="rId37" Type="http://schemas.openxmlformats.org/officeDocument/2006/relationships/slideLayout" Target="../slideLayouts/slideLayout119.xml"/><Relationship Id="rId40" Type="http://schemas.openxmlformats.org/officeDocument/2006/relationships/slideLayout" Target="../slideLayouts/slideLayout122.xml"/><Relationship Id="rId45" Type="http://schemas.openxmlformats.org/officeDocument/2006/relationships/slideLayout" Target="../slideLayouts/slideLayout127.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36" Type="http://schemas.openxmlformats.org/officeDocument/2006/relationships/slideLayout" Target="../slideLayouts/slideLayout118.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slideLayout" Target="../slideLayouts/slideLayout113.xml"/><Relationship Id="rId44" Type="http://schemas.openxmlformats.org/officeDocument/2006/relationships/slideLayout" Target="../slideLayouts/slideLayout126.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 Id="rId35" Type="http://schemas.openxmlformats.org/officeDocument/2006/relationships/slideLayout" Target="../slideLayouts/slideLayout117.xml"/><Relationship Id="rId43" Type="http://schemas.openxmlformats.org/officeDocument/2006/relationships/slideLayout" Target="../slideLayouts/slideLayout125.xml"/><Relationship Id="rId48" Type="http://schemas.openxmlformats.org/officeDocument/2006/relationships/image" Target="../media/image5.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9.emf"/><Relationship Id="rId3" Type="http://schemas.openxmlformats.org/officeDocument/2006/relationships/slideLayout" Target="../slideLayouts/slideLayout130.xml"/><Relationship Id="rId21" Type="http://schemas.openxmlformats.org/officeDocument/2006/relationships/theme" Target="../theme/theme4.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image" Target="../media/image8.emf"/><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oleObject" Target="../embeddings/oleObject1.bin"/><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tags" Target="../tags/tag1.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vmlDrawing" Target="../drawings/vmlDrawing1.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9" Type="http://schemas.openxmlformats.org/officeDocument/2006/relationships/slideLayout" Target="../slideLayouts/slideLayout186.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42" Type="http://schemas.openxmlformats.org/officeDocument/2006/relationships/slideLayout" Target="../slideLayouts/slideLayout189.xml"/><Relationship Id="rId47" Type="http://schemas.openxmlformats.org/officeDocument/2006/relationships/image" Target="../media/image4.png"/><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 Id="rId46" Type="http://schemas.openxmlformats.org/officeDocument/2006/relationships/theme" Target="../theme/theme5.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slideLayout" Target="../slideLayouts/slideLayout176.xml"/><Relationship Id="rId41" Type="http://schemas.openxmlformats.org/officeDocument/2006/relationships/slideLayout" Target="../slideLayouts/slideLayout188.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slideLayout" Target="../slideLayouts/slideLayout187.xml"/><Relationship Id="rId45" Type="http://schemas.openxmlformats.org/officeDocument/2006/relationships/slideLayout" Target="../slideLayouts/slideLayout192.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4" Type="http://schemas.openxmlformats.org/officeDocument/2006/relationships/slideLayout" Target="../slideLayouts/slideLayout191.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43" Type="http://schemas.openxmlformats.org/officeDocument/2006/relationships/slideLayout" Target="../slideLayouts/slideLayout190.xml"/><Relationship Id="rId48" Type="http://schemas.openxmlformats.org/officeDocument/2006/relationships/image" Target="../media/image5.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9" Type="http://schemas.openxmlformats.org/officeDocument/2006/relationships/image" Target="../media/image1.png"/><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slideLayout" Target="../slideLayouts/slideLayout226.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slideLayout" Target="../slideLayouts/slideLayout225.xml"/><Relationship Id="rId38" Type="http://schemas.openxmlformats.org/officeDocument/2006/relationships/theme" Target="../theme/theme6.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slideLayout" Target="../slideLayouts/slideLayout224.xml"/><Relationship Id="rId37" Type="http://schemas.openxmlformats.org/officeDocument/2006/relationships/slideLayout" Target="../slideLayouts/slideLayout229.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36" Type="http://schemas.openxmlformats.org/officeDocument/2006/relationships/slideLayout" Target="../slideLayouts/slideLayout228.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slideLayout" Target="../slideLayouts/slideLayout223.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slideLayout" Target="../slideLayouts/slideLayout222.xml"/><Relationship Id="rId35" Type="http://schemas.openxmlformats.org/officeDocument/2006/relationships/slideLayout" Target="../slideLayouts/slideLayout2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0" bIns="0" numCol="1" anchor="t" anchorCtr="0" compatLnSpc="1">
            <a:prstTxWarp prst="textNoShape">
              <a:avLst/>
            </a:prstTxWarp>
          </a:body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p>
            <a:pPr lvl="0"/>
            <a:r>
              <a:rPr lang="en-US" dirty="0"/>
              <a:t>Slide title, Ericsson Hilda Light 40pt, Ericsson Black, max 2-lines</a:t>
            </a:r>
          </a:p>
        </p:txBody>
      </p:sp>
      <p:pic>
        <p:nvPicPr>
          <p:cNvPr id="8" name="Picture 7">
            <a:extLst>
              <a:ext uri="{FF2B5EF4-FFF2-40B4-BE49-F238E27FC236}">
                <a16:creationId xmlns:a16="http://schemas.microsoft.com/office/drawing/2014/main" id="{2051B066-0765-4F7D-BC7B-5421BFA666C6}"/>
              </a:ext>
            </a:extLst>
          </p:cNvPr>
          <p:cNvPicPr>
            <a:picLocks noChangeAspect="1"/>
          </p:cNvPicPr>
          <p:nvPr userDrawn="1"/>
        </p:nvPicPr>
        <p:blipFill>
          <a:blip r:embed="rId39" cstate="screen">
            <a:duotone>
              <a:prstClr val="black"/>
              <a:srgbClr val="D9C3A5">
                <a:tint val="50000"/>
                <a:satMod val="180000"/>
              </a:srgbClr>
            </a:duotone>
            <a:extLst>
              <a:ext uri="{BEBA8EAE-BF5A-486C-A8C5-ECC9F3942E4B}">
                <a14:imgProps xmlns:a14="http://schemas.microsoft.com/office/drawing/2010/main">
                  <a14:imgLayer r:embed="rId40">
                    <a14:imgEffect>
                      <a14:colorTemperature colorTemp="8800"/>
                    </a14:imgEffect>
                  </a14:imgLayer>
                </a14:imgProps>
              </a:ex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2" name="txtfooterCopy">
            <a:extLst>
              <a:ext uri="{FF2B5EF4-FFF2-40B4-BE49-F238E27FC236}">
                <a16:creationId xmlns:a16="http://schemas.microsoft.com/office/drawing/2014/main" id="{B5D66844-3D70-468C-AC9F-76DF3D537153}"/>
              </a:ext>
            </a:extLst>
          </p:cNvPr>
          <p:cNvSpPr txBox="1"/>
          <p:nvPr userDrawn="1"/>
        </p:nvSpPr>
        <p:spPr>
          <a:xfrm>
            <a:off x="527050" y="6524625"/>
            <a:ext cx="9865783" cy="215900"/>
          </a:xfrm>
          <a:prstGeom prst="rect">
            <a:avLst/>
          </a:prstGeom>
          <a:noFill/>
        </p:spPr>
        <p:txBody>
          <a:bodyPr vert="horz" wrap="none" lIns="0" tIns="0" rIns="0" bIns="0" rtlCol="0">
            <a:noAutofit/>
          </a:bodyPr>
          <a:lstStyle/>
          <a:p>
            <a:pPr algn="l"/>
            <a:r>
              <a:rPr lang="en-US" sz="800" b="0" i="0" u="none" smtClean="0">
                <a:solidFill>
                  <a:srgbClr val="1A1816"/>
                </a:solidFill>
                <a:latin typeface="+mn-lt"/>
              </a:rPr>
              <a:t>ERANMOO Ranu Moodley  |  019/0113-1 Uen  |  PB3  |  2019-06-19  |  Ericsson Internal</a:t>
            </a:r>
            <a:endParaRPr lang="en-US" sz="800" b="0" i="0" u="none" dirty="0">
              <a:solidFill>
                <a:srgbClr val="1A1816"/>
              </a:solidFill>
              <a:latin typeface="+mn-lt"/>
            </a:endParaRPr>
          </a:p>
        </p:txBody>
      </p:sp>
      <p:sp>
        <p:nvSpPr>
          <p:cNvPr id="6" name="Rectangle 5">
            <a:extLst>
              <a:ext uri="{FF2B5EF4-FFF2-40B4-BE49-F238E27FC236}">
                <a16:creationId xmlns:a16="http://schemas.microsoft.com/office/drawing/2014/main" id="{0F73CE5A-2456-4CE0-BB7E-8AEDD632BACF}"/>
              </a:ext>
            </a:extLst>
          </p:cNvPr>
          <p:cNvSpPr/>
          <p:nvPr userDrawn="1"/>
        </p:nvSpPr>
        <p:spPr bwMode="auto">
          <a:xfrm>
            <a:off x="479424" y="6496050"/>
            <a:ext cx="1501776" cy="20955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523064765"/>
      </p:ext>
    </p:extLst>
  </p:cSld>
  <p:clrMap bg1="lt1" tx1="dk1" bg2="lt2" tx2="dk2" accent1="accent1" accent2="accent2" accent3="accent3" accent4="accent4" accent5="accent5" accent6="accent6" hlink="hlink" folHlink="folHlink"/>
  <p:sldLayoutIdLst>
    <p:sldLayoutId id="2147483661" r:id="rId1"/>
    <p:sldLayoutId id="2147483695" r:id="rId2"/>
    <p:sldLayoutId id="2147483693"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91" r:id="rId15"/>
    <p:sldLayoutId id="2147483673" r:id="rId16"/>
    <p:sldLayoutId id="2147483674" r:id="rId17"/>
    <p:sldLayoutId id="2147483694" r:id="rId18"/>
    <p:sldLayoutId id="2147483682" r:id="rId19"/>
    <p:sldLayoutId id="2147483683" r:id="rId20"/>
    <p:sldLayoutId id="2147483684" r:id="rId21"/>
    <p:sldLayoutId id="2147483685" r:id="rId22"/>
    <p:sldLayoutId id="2147483675" r:id="rId23"/>
    <p:sldLayoutId id="2147483676" r:id="rId24"/>
    <p:sldLayoutId id="2147483686" r:id="rId25"/>
    <p:sldLayoutId id="2147483687" r:id="rId26"/>
    <p:sldLayoutId id="2147483688" r:id="rId27"/>
    <p:sldLayoutId id="2147483689" r:id="rId28"/>
    <p:sldLayoutId id="2147483696" r:id="rId29"/>
    <p:sldLayoutId id="2147483677" r:id="rId30"/>
    <p:sldLayoutId id="2147483678" r:id="rId31"/>
    <p:sldLayoutId id="2147483679" r:id="rId32"/>
    <p:sldLayoutId id="2147483680" r:id="rId33"/>
    <p:sldLayoutId id="2147483690" r:id="rId34"/>
    <p:sldLayoutId id="2147483681" r:id="rId35"/>
    <p:sldLayoutId id="2147483692" r:id="rId36"/>
    <p:sldLayoutId id="2147483789" r:id="rId37"/>
  </p:sldLayoutIdLst>
  <p:hf sldNum="0" hdr="0" ftr="0" dt="0"/>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6858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0287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3716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73152" bIns="36576" numCol="1" anchor="t" anchorCtr="0" compatLnSpc="1">
            <a:prstTxWarp prst="textNoShape">
              <a:avLst/>
            </a:prstTxWarp>
          </a:body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s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p>
            <a:pPr lvl="0"/>
            <a:r>
              <a:rPr lang="en-US" dirty="0"/>
              <a:t>Slide title, Ericsson Hilda Light 40pt, Ericsson Black, max 2-lines</a:t>
            </a:r>
          </a:p>
        </p:txBody>
      </p:sp>
      <p:sp>
        <p:nvSpPr>
          <p:cNvPr id="2" name="txtfooterCopy">
            <a:extLst>
              <a:ext uri="{FF2B5EF4-FFF2-40B4-BE49-F238E27FC236}">
                <a16:creationId xmlns:a16="http://schemas.microsoft.com/office/drawing/2014/main" id="{B5D66844-3D70-468C-AC9F-76DF3D537153}"/>
              </a:ext>
            </a:extLst>
          </p:cNvPr>
          <p:cNvSpPr txBox="1"/>
          <p:nvPr userDrawn="1"/>
        </p:nvSpPr>
        <p:spPr>
          <a:xfrm>
            <a:off x="527050" y="6524625"/>
            <a:ext cx="9865783" cy="215900"/>
          </a:xfrm>
          <a:prstGeom prst="rect">
            <a:avLst/>
          </a:prstGeom>
          <a:noFill/>
        </p:spPr>
        <p:txBody>
          <a:bodyPr vert="horz" wrap="none" lIns="0" tIns="0" rIns="0" bIns="0" rtlCol="0">
            <a:noAutofit/>
          </a:bodyPr>
          <a:lstStyle/>
          <a:p>
            <a:pPr algn="l"/>
            <a:r>
              <a:rPr lang="en-US" sz="800" b="0" i="0" u="none" smtClean="0">
                <a:solidFill>
                  <a:srgbClr val="1A1816"/>
                </a:solidFill>
                <a:latin typeface="+mn-lt"/>
              </a:rPr>
              <a:t>ERANMOO Ranu Moodley  |  019/0113-1 Uen  |  PB3  |  2019-06-19  |  Ericsson Internal</a:t>
            </a:r>
            <a:endParaRPr lang="en-US" sz="800" b="0" i="0" u="none" dirty="0">
              <a:solidFill>
                <a:srgbClr val="1A1816"/>
              </a:solidFill>
              <a:latin typeface="+mn-lt"/>
            </a:endParaRPr>
          </a:p>
        </p:txBody>
      </p:sp>
      <p:pic>
        <p:nvPicPr>
          <p:cNvPr id="6" name="Graphic 5">
            <a:extLst>
              <a:ext uri="{FF2B5EF4-FFF2-40B4-BE49-F238E27FC236}">
                <a16:creationId xmlns:a16="http://schemas.microsoft.com/office/drawing/2014/main" id="{DE25556D-527C-4037-A1EA-D4D374B5DCA7}"/>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193660395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3" r:id="rId36"/>
    <p:sldLayoutId id="2147483734" r:id="rId37"/>
    <p:sldLayoutId id="2147483735" r:id="rId38"/>
    <p:sldLayoutId id="2147483736" r:id="rId39"/>
    <p:sldLayoutId id="2147483737" r:id="rId40"/>
    <p:sldLayoutId id="2147483738" r:id="rId41"/>
    <p:sldLayoutId id="2147483739" r:id="rId42"/>
    <p:sldLayoutId id="2147483740" r:id="rId43"/>
    <p:sldLayoutId id="2147483741" r:id="rId44"/>
    <p:sldLayoutId id="2147483742" r:id="rId45"/>
  </p:sldLayoutIdLst>
  <p:hf sldNum="0" hdr="0" ftr="0" dt="0"/>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73152" bIns="36576" numCol="1" anchor="t" anchorCtr="0" compatLnSpc="1">
            <a:prstTxWarp prst="textNoShape">
              <a:avLst/>
            </a:prstTxWarp>
          </a:body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s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p>
            <a:pPr lvl="0"/>
            <a:r>
              <a:rPr lang="en-US" dirty="0"/>
              <a:t>Slide title, Ericsson Hilda Light 40pt, Ericsson Black, max 2-lines</a:t>
            </a:r>
          </a:p>
        </p:txBody>
      </p:sp>
      <p:sp>
        <p:nvSpPr>
          <p:cNvPr id="2" name="txtfooterCopy">
            <a:extLst>
              <a:ext uri="{FF2B5EF4-FFF2-40B4-BE49-F238E27FC236}">
                <a16:creationId xmlns:a16="http://schemas.microsoft.com/office/drawing/2014/main" id="{B5D66844-3D70-468C-AC9F-76DF3D537153}"/>
              </a:ext>
            </a:extLst>
          </p:cNvPr>
          <p:cNvSpPr txBox="1"/>
          <p:nvPr userDrawn="1"/>
        </p:nvSpPr>
        <p:spPr>
          <a:xfrm>
            <a:off x="527050" y="6524625"/>
            <a:ext cx="9865783" cy="215900"/>
          </a:xfrm>
          <a:prstGeom prst="rect">
            <a:avLst/>
          </a:prstGeom>
          <a:noFill/>
        </p:spPr>
        <p:txBody>
          <a:bodyPr vert="horz" wrap="none" lIns="0" tIns="0" rIns="0" bIns="0" rtlCol="0">
            <a:noAutofit/>
          </a:bodyPr>
          <a:lstStyle/>
          <a:p>
            <a:pPr algn="l"/>
            <a:r>
              <a:rPr lang="en-US" sz="800" b="0" i="0" u="none" smtClean="0">
                <a:solidFill>
                  <a:srgbClr val="1A1816"/>
                </a:solidFill>
                <a:latin typeface="+mn-lt"/>
              </a:rPr>
              <a:t>ERANMOO Ranu Moodley  |  019/0113-1 Uen  |  PB3  |  2019-06-19  |  Ericsson Internal</a:t>
            </a:r>
            <a:endParaRPr lang="en-US" sz="800" b="0" i="0" u="none" dirty="0">
              <a:solidFill>
                <a:srgbClr val="1A1816"/>
              </a:solidFill>
              <a:latin typeface="+mn-lt"/>
            </a:endParaRPr>
          </a:p>
        </p:txBody>
      </p:sp>
      <p:pic>
        <p:nvPicPr>
          <p:cNvPr id="6" name="Graphic 5">
            <a:extLst>
              <a:ext uri="{FF2B5EF4-FFF2-40B4-BE49-F238E27FC236}">
                <a16:creationId xmlns:a16="http://schemas.microsoft.com/office/drawing/2014/main" id="{DE25556D-527C-4037-A1EA-D4D374B5DCA7}"/>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3644977444"/>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78" r:id="rId35"/>
    <p:sldLayoutId id="2147483779" r:id="rId36"/>
    <p:sldLayoutId id="2147483780" r:id="rId37"/>
    <p:sldLayoutId id="2147483781" r:id="rId38"/>
    <p:sldLayoutId id="2147483782" r:id="rId39"/>
    <p:sldLayoutId id="2147483783" r:id="rId40"/>
    <p:sldLayoutId id="2147483784" r:id="rId41"/>
    <p:sldLayoutId id="2147483785" r:id="rId42"/>
    <p:sldLayoutId id="2147483786" r:id="rId43"/>
    <p:sldLayoutId id="2147483787" r:id="rId44"/>
    <p:sldLayoutId id="2147483788" r:id="rId45"/>
  </p:sldLayoutIdLst>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24" imgW="216" imgH="216" progId="TCLayout.ActiveDocument.1">
                  <p:embed/>
                </p:oleObj>
              </mc:Choice>
              <mc:Fallback>
                <p:oleObj name="think-cell Slide" r:id="rId24" imgW="216" imgH="216" progId="TCLayout.ActiveDocument.1">
                  <p:embed/>
                  <p:pic>
                    <p:nvPicPr>
                      <p:cNvPr id="2" name="Object 1"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1508" name="LeftInfo"/>
          <p:cNvSpPr txBox="1">
            <a:spLocks noChangeArrowheads="1"/>
          </p:cNvSpPr>
          <p:nvPr/>
        </p:nvSpPr>
        <p:spPr bwMode="auto">
          <a:xfrm>
            <a:off x="-2515809" y="438151"/>
            <a:ext cx="2352392" cy="5970865"/>
          </a:xfrm>
          <a:prstGeom prst="rect">
            <a:avLst/>
          </a:prstGeom>
          <a:noFill/>
          <a:ln w="9525">
            <a:noFill/>
            <a:miter lim="800000"/>
            <a:headEnd/>
            <a:tailEnd/>
          </a:ln>
          <a:effectLst/>
        </p:spPr>
        <p:txBody>
          <a:bodyPr wrap="square">
            <a:spAutoFit/>
          </a:bodyPr>
          <a:lstStyle/>
          <a:p>
            <a:pPr algn="r">
              <a:spcBef>
                <a:spcPct val="0"/>
              </a:spcBef>
            </a:pPr>
            <a:r>
              <a:rPr lang="en-US" sz="1200" noProof="0" dirty="0">
                <a:solidFill>
                  <a:srgbClr val="FFFFFF"/>
                </a:solidFill>
              </a:rPr>
              <a:t>Slide title </a:t>
            </a:r>
          </a:p>
          <a:p>
            <a:pPr algn="r">
              <a:spcBef>
                <a:spcPct val="0"/>
              </a:spcBef>
            </a:pPr>
            <a:r>
              <a:rPr lang="en-US" sz="1200" noProof="0" dirty="0">
                <a:solidFill>
                  <a:srgbClr val="FFFFFF"/>
                </a:solidFill>
              </a:rPr>
              <a:t>44 pt</a:t>
            </a: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Text and bullet level 1</a:t>
            </a:r>
          </a:p>
          <a:p>
            <a:pPr algn="r">
              <a:spcBef>
                <a:spcPct val="0"/>
              </a:spcBef>
            </a:pPr>
            <a:r>
              <a:rPr lang="en-US" sz="1200" noProof="0" dirty="0">
                <a:solidFill>
                  <a:srgbClr val="FFFFFF"/>
                </a:solidFill>
              </a:rPr>
              <a:t> minimum 24 pt</a:t>
            </a: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Bullets level 2-5</a:t>
            </a:r>
          </a:p>
          <a:p>
            <a:pPr algn="r">
              <a:spcBef>
                <a:spcPct val="0"/>
              </a:spcBef>
            </a:pPr>
            <a:r>
              <a:rPr lang="en-US" sz="1200" noProof="0" dirty="0">
                <a:solidFill>
                  <a:srgbClr val="FFFFFF"/>
                </a:solidFill>
              </a:rPr>
              <a:t>minimum 20 pt</a:t>
            </a:r>
          </a:p>
          <a:p>
            <a:pPr algn="r">
              <a:spcBef>
                <a:spcPct val="0"/>
              </a:spcBef>
            </a:pPr>
            <a:endParaRPr lang="en-US" sz="1200" noProof="0" dirty="0">
              <a:solidFill>
                <a:srgbClr val="FFFFFF"/>
              </a:solidFill>
            </a:endParaRPr>
          </a:p>
          <a:p>
            <a:pPr algn="r"/>
            <a:endParaRPr lang="en-US" sz="800" noProof="0" dirty="0">
              <a:solidFill>
                <a:schemeClr val="bg1"/>
              </a:solidFill>
            </a:endParaRPr>
          </a:p>
          <a:p>
            <a:pPr algn="r"/>
            <a:endParaRPr lang="en-US" sz="800" noProof="0" dirty="0">
              <a:solidFill>
                <a:schemeClr val="bg1"/>
              </a:solidFill>
            </a:endParaRPr>
          </a:p>
          <a:p>
            <a:pPr algn="r"/>
            <a:endParaRPr lang="en-US" sz="800" noProof="0" dirty="0">
              <a:solidFill>
                <a:schemeClr val="bg1"/>
              </a:solidFill>
            </a:endParaRPr>
          </a:p>
          <a:p>
            <a:r>
              <a:rPr lang="en-US" sz="500" noProof="0" dirty="0">
                <a:solidFill>
                  <a:srgbClr val="9FB7D3"/>
                </a:solidFill>
                <a:latin typeface="+mn-lt"/>
              </a:rPr>
              <a:t>Characters for Embedded font:</a:t>
            </a:r>
            <a:br>
              <a:rPr lang="en-US" sz="500" noProof="0" dirty="0">
                <a:solidFill>
                  <a:srgbClr val="9FB7D3"/>
                </a:solidFill>
                <a:latin typeface="+mn-lt"/>
              </a:rPr>
            </a:br>
            <a:r>
              <a:rPr lang="en-US" sz="500" noProof="0" dirty="0">
                <a:solidFill>
                  <a:srgbClr val="9FB7D3"/>
                </a:solidFill>
                <a:latin typeface="Ericsson Capital TT"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a:t>
            </a:r>
            <a:endParaRPr lang="en-US" sz="500" i="1" noProof="0" dirty="0">
              <a:solidFill>
                <a:srgbClr val="9FB7D3"/>
              </a:solidFill>
              <a:latin typeface="Ericsson Capital TT" pitchFamily="2" charset="0"/>
            </a:endParaRPr>
          </a:p>
          <a:p>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ΆΈΉΊΌΎΏΐΑΒΓΕΖΗΘΙΚΛΜΝΞΟΠΡΣΤΥΦΧΨΪΫΆΈΉΊΰαβγδεζηθικλνξορςΣΤΥΦΧΨΩΪΫΌΎΏ</a:t>
            </a:r>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ЁЂЃЄЅІЇЈЉЊЋЌЎЏАБВГДЕЖЗИЙКЛМНОПРСТУФХЦЧШЩЪЫЬЭЮЯАБВГДЕЖЗИЙКЛМНОПРСТУФХЦЧШЩЪЫЬЭЮЯЁЂЃЄЅІЇЈЉЊЋЌЎЏѢѢѲѲѴѴҐҐәǽẀẁẂẃẄẅỲỳ№</a:t>
            </a:r>
          </a:p>
          <a:p>
            <a:pPr>
              <a:lnSpc>
                <a:spcPct val="80000"/>
              </a:lnSpc>
              <a:spcBef>
                <a:spcPct val="20000"/>
              </a:spcBef>
            </a:pPr>
            <a:endParaRPr lang="en-US" sz="500" noProof="0" dirty="0">
              <a:solidFill>
                <a:srgbClr val="9FB7D3"/>
              </a:solidFill>
              <a:latin typeface="Ericsson Capital TT" pitchFamily="2" charset="0"/>
            </a:endParaRPr>
          </a:p>
          <a:p>
            <a:pPr algn="r">
              <a:spcBef>
                <a:spcPct val="0"/>
              </a:spcBef>
            </a:pPr>
            <a:endParaRPr lang="en-US" sz="5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1400" noProof="0" dirty="0">
              <a:solidFill>
                <a:schemeClr val="bg1"/>
              </a:solidFill>
            </a:endParaRPr>
          </a:p>
          <a:p>
            <a:pPr algn="r">
              <a:spcBef>
                <a:spcPct val="0"/>
              </a:spcBef>
            </a:pPr>
            <a:r>
              <a:rPr lang="en-US" sz="1200" noProof="0" dirty="0">
                <a:solidFill>
                  <a:schemeClr val="bg1"/>
                </a:solidFill>
              </a:rPr>
              <a:t>Do not add objects or text in the footer area</a:t>
            </a:r>
          </a:p>
        </p:txBody>
      </p:sp>
      <p:pic>
        <p:nvPicPr>
          <p:cNvPr id="9" name="Econ2011" descr="ECON_RGB"/>
          <p:cNvPicPr>
            <a:picLocks noChangeArrowheads="1"/>
          </p:cNvPicPr>
          <p:nvPr/>
        </p:nvPicPr>
        <p:blipFill>
          <a:blip r:embed="rId26" cstate="print"/>
          <a:srcRect/>
          <a:stretch>
            <a:fillRect/>
          </a:stretch>
        </p:blipFill>
        <p:spPr bwMode="auto">
          <a:xfrm>
            <a:off x="11209564" y="360000"/>
            <a:ext cx="444500" cy="588962"/>
          </a:xfrm>
          <a:prstGeom prst="rect">
            <a:avLst/>
          </a:prstGeom>
          <a:noFill/>
        </p:spPr>
      </p:pic>
      <p:sp>
        <p:nvSpPr>
          <p:cNvPr id="21523" name="txtfooterCopy"/>
          <p:cNvSpPr txBox="1">
            <a:spLocks noChangeArrowheads="1"/>
          </p:cNvSpPr>
          <p:nvPr/>
        </p:nvSpPr>
        <p:spPr bwMode="auto">
          <a:xfrm>
            <a:off x="527050" y="6524625"/>
            <a:ext cx="9865783" cy="215900"/>
          </a:xfrm>
          <a:prstGeom prst="rect">
            <a:avLst/>
          </a:prstGeom>
          <a:noFill/>
          <a:ln w="12700" algn="ctr">
            <a:noFill/>
            <a:miter lim="800000"/>
            <a:headEnd/>
            <a:tailEnd/>
          </a:ln>
          <a:effectLst/>
        </p:spPr>
        <p:txBody>
          <a:bodyPr lIns="72000" rIns="72000"/>
          <a:lstStyle/>
          <a:p>
            <a:pPr algn="l"/>
            <a:r>
              <a:rPr lang="en-US" sz="800" b="0" i="0" u="none" smtClean="0">
                <a:solidFill>
                  <a:srgbClr val="1A1816"/>
                </a:solidFill>
              </a:rPr>
              <a:t>ERANMOO Ranu Moodley  |  019/0113-1 Uen  |  PB3  |  2019-06-19  |  Ericsson Internal</a:t>
            </a:r>
            <a:endParaRPr lang="en-US" sz="800" b="0" i="0" u="none" dirty="0">
              <a:solidFill>
                <a:srgbClr val="1A1816"/>
              </a:solidFill>
            </a:endParaRPr>
          </a:p>
        </p:txBody>
      </p:sp>
      <p:sp>
        <p:nvSpPr>
          <p:cNvPr id="21507" name="Content_SM"/>
          <p:cNvSpPr>
            <a:spLocks noGrp="1" noChangeArrowheads="1"/>
          </p:cNvSpPr>
          <p:nvPr>
            <p:ph type="body" idx="1"/>
          </p:nvPr>
        </p:nvSpPr>
        <p:spPr bwMode="auto">
          <a:xfrm>
            <a:off x="529167"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506" name="Title_SM"/>
          <p:cNvSpPr>
            <a:spLocks noGrp="1" noChangeArrowheads="1"/>
          </p:cNvSpPr>
          <p:nvPr>
            <p:ph type="title"/>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p>
            <a:pPr lvl="0"/>
            <a:r>
              <a:rPr lang="en-US" dirty="0"/>
              <a:t>Click to Add Header</a:t>
            </a:r>
          </a:p>
        </p:txBody>
      </p:sp>
    </p:spTree>
    <p:extLst>
      <p:ext uri="{BB962C8B-B14F-4D97-AF65-F5344CB8AC3E}">
        <p14:creationId xmlns:p14="http://schemas.microsoft.com/office/powerpoint/2010/main" val="380595968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Lst>
  <p:hf sldNum="0" hdr="0" ftr="0" dt="0"/>
  <p:txStyles>
    <p:title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p:titleStyle>
    <p:body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p:cNvSpPr>
            <a:spLocks noGrp="1" noChangeArrowheads="1"/>
          </p:cNvSpPr>
          <p:nvPr>
            <p:ph type="body" idx="1"/>
          </p:nvPr>
        </p:nvSpPr>
        <p:spPr bwMode="auto">
          <a:xfrm>
            <a:off x="479425" y="1844675"/>
            <a:ext cx="11233150" cy="4392612"/>
          </a:xfrm>
          <a:prstGeom prst="rect">
            <a:avLst/>
          </a:prstGeom>
          <a:noFill/>
          <a:ln w="9525">
            <a:noFill/>
            <a:miter lim="800000"/>
            <a:headEnd/>
            <a:tailEnd/>
          </a:ln>
        </p:spPr>
        <p:txBody>
          <a:bodyPr vert="horz" wrap="square" lIns="72000" tIns="36000" rIns="73152" bIns="36576" numCol="1" anchor="t" anchorCtr="0" compatLnSpc="1">
            <a:prstTxWarp prst="textNoShape">
              <a:avLst/>
            </a:prstTxWarp>
          </a:bodyPr>
          <a:lstStyle/>
          <a:p>
            <a:pPr lvl="0"/>
            <a:r>
              <a:rPr lang="en-US" dirty="0"/>
              <a:t>For heading, use Ericsson Hilda in bold. For copy and bullets, use Ericsson Hilda.</a:t>
            </a:r>
          </a:p>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s level</a:t>
            </a:r>
          </a:p>
        </p:txBody>
      </p:sp>
      <p:sp>
        <p:nvSpPr>
          <p:cNvPr id="21506" name="Title_SM"/>
          <p:cNvSpPr>
            <a:spLocks noGrp="1" noChangeArrowheads="1"/>
          </p:cNvSpPr>
          <p:nvPr>
            <p:ph type="title"/>
          </p:nvPr>
        </p:nvSpPr>
        <p:spPr bwMode="auto">
          <a:xfrm>
            <a:off x="479424" y="476250"/>
            <a:ext cx="8353425"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p>
            <a:pPr lvl="0"/>
            <a:r>
              <a:rPr lang="en-US" dirty="0"/>
              <a:t>Slide title, Ericsson Hilda Light 40pt, Ericsson Black, max 2-lines</a:t>
            </a:r>
          </a:p>
        </p:txBody>
      </p:sp>
      <p:sp>
        <p:nvSpPr>
          <p:cNvPr id="2" name="txtfooterCopy">
            <a:extLst>
              <a:ext uri="{FF2B5EF4-FFF2-40B4-BE49-F238E27FC236}">
                <a16:creationId xmlns:a16="http://schemas.microsoft.com/office/drawing/2014/main" id="{B5D66844-3D70-468C-AC9F-76DF3D537153}"/>
              </a:ext>
            </a:extLst>
          </p:cNvPr>
          <p:cNvSpPr txBox="1"/>
          <p:nvPr userDrawn="1"/>
        </p:nvSpPr>
        <p:spPr>
          <a:xfrm>
            <a:off x="527050" y="6524625"/>
            <a:ext cx="9865783" cy="215900"/>
          </a:xfrm>
          <a:prstGeom prst="rect">
            <a:avLst/>
          </a:prstGeom>
          <a:noFill/>
        </p:spPr>
        <p:txBody>
          <a:bodyPr vert="horz" wrap="none" lIns="0" tIns="0" rIns="0" bIns="0" rtlCol="0">
            <a:noAutofit/>
          </a:bodyPr>
          <a:lstStyle/>
          <a:p>
            <a:pPr algn="l"/>
            <a:r>
              <a:rPr lang="en-US" sz="800" b="0" i="0" u="none" smtClean="0">
                <a:solidFill>
                  <a:srgbClr val="1A1816"/>
                </a:solidFill>
                <a:latin typeface="+mn-lt"/>
              </a:rPr>
              <a:t>ERANMOO Ranu Moodley  |  019/0113-1 Uen  |  PB3  |  2019-06-19  |  Ericsson Internal</a:t>
            </a:r>
            <a:endParaRPr lang="en-US" sz="800" b="0" i="0" u="none" dirty="0">
              <a:solidFill>
                <a:srgbClr val="1A1816"/>
              </a:solidFill>
              <a:latin typeface="+mn-lt"/>
            </a:endParaRPr>
          </a:p>
        </p:txBody>
      </p:sp>
      <p:pic>
        <p:nvPicPr>
          <p:cNvPr id="6" name="Graphic 5">
            <a:extLst>
              <a:ext uri="{FF2B5EF4-FFF2-40B4-BE49-F238E27FC236}">
                <a16:creationId xmlns:a16="http://schemas.microsoft.com/office/drawing/2014/main" id="{DE25556D-527C-4037-A1EA-D4D374B5DCA7}"/>
              </a:ext>
            </a:extLst>
          </p:cNvPr>
          <p:cNvPicPr>
            <a:picLocks noChangeAspect="1"/>
          </p:cNvPicPr>
          <p:nvPr userDrawn="1"/>
        </p:nvPicPr>
        <p:blipFill>
          <a:blip r:embed="rId47" cstate="hqprint">
            <a:extLst>
              <a:ext uri="{28A0092B-C50C-407E-A947-70E740481C1C}">
                <a14:useLocalDpi xmlns:a14="http://schemas.microsoft.com/office/drawing/2010/main" val="0"/>
              </a:ext>
              <a:ext uri="{96DAC541-7B7A-43D3-8B79-37D633B846F1}">
                <asvg:svgBlip xmlns:asvg="http://schemas.microsoft.com/office/drawing/2016/SVG/main" xmlns="" r:embed="rId48"/>
              </a:ext>
            </a:extLst>
          </a:blip>
          <a:stretch>
            <a:fillRect/>
          </a:stretch>
        </p:blipFill>
        <p:spPr>
          <a:xfrm>
            <a:off x="11490452" y="476250"/>
            <a:ext cx="256032" cy="256032"/>
          </a:xfrm>
          <a:prstGeom prst="rect">
            <a:avLst/>
          </a:prstGeom>
        </p:spPr>
      </p:pic>
    </p:spTree>
    <p:extLst>
      <p:ext uri="{BB962C8B-B14F-4D97-AF65-F5344CB8AC3E}">
        <p14:creationId xmlns:p14="http://schemas.microsoft.com/office/powerpoint/2010/main" val="293368601"/>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 id="2147483892" r:id="rId35"/>
    <p:sldLayoutId id="2147483893" r:id="rId36"/>
    <p:sldLayoutId id="2147483894" r:id="rId37"/>
    <p:sldLayoutId id="2147483895" r:id="rId38"/>
    <p:sldLayoutId id="2147483896" r:id="rId39"/>
    <p:sldLayoutId id="2147483897" r:id="rId40"/>
    <p:sldLayoutId id="2147483898" r:id="rId41"/>
    <p:sldLayoutId id="2147483899" r:id="rId42"/>
    <p:sldLayoutId id="2147483900" r:id="rId43"/>
    <p:sldLayoutId id="2147483901" r:id="rId44"/>
    <p:sldLayoutId id="2147483902" r:id="rId45"/>
  </p:sldLayoutIdLst>
  <p:txStyles>
    <p:titleStyle>
      <a:lvl1pPr algn="l" rtl="0" eaLnBrk="1" fontAlgn="base" hangingPunct="1">
        <a:lnSpc>
          <a:spcPct val="85000"/>
        </a:lnSpc>
        <a:spcBef>
          <a:spcPts val="300"/>
        </a:spcBef>
        <a:spcAft>
          <a:spcPct val="0"/>
        </a:spcAft>
        <a:defRPr sz="4000" kern="1400" spc="-160">
          <a:solidFill>
            <a:schemeClr val="tx1"/>
          </a:solidFill>
          <a:latin typeface="+mj-lt"/>
          <a:ea typeface="+mj-ea"/>
          <a:cs typeface="+mj-cs"/>
        </a:defRPr>
      </a:lvl1pPr>
      <a:lvl2pPr algn="l" rtl="0" eaLnBrk="1" fontAlgn="base" hangingPunct="1">
        <a:lnSpc>
          <a:spcPct val="85000"/>
        </a:lnSpc>
        <a:spcBef>
          <a:spcPct val="0"/>
        </a:spcBef>
        <a:spcAft>
          <a:spcPct val="0"/>
        </a:spcAft>
        <a:defRPr sz="4000">
          <a:solidFill>
            <a:schemeClr val="tx1"/>
          </a:solidFill>
          <a:latin typeface="Ericsson Hilda" pitchFamily="2" charset="0"/>
        </a:defRPr>
      </a:lvl2pPr>
      <a:lvl3pPr algn="l" rtl="0" eaLnBrk="1" fontAlgn="base" hangingPunct="1">
        <a:lnSpc>
          <a:spcPct val="85000"/>
        </a:lnSpc>
        <a:spcBef>
          <a:spcPct val="0"/>
        </a:spcBef>
        <a:spcAft>
          <a:spcPct val="0"/>
        </a:spcAft>
        <a:defRPr sz="4000">
          <a:solidFill>
            <a:schemeClr val="tx1"/>
          </a:solidFill>
          <a:latin typeface="Ericsson Hilda" pitchFamily="2" charset="0"/>
        </a:defRPr>
      </a:lvl3pPr>
      <a:lvl4pPr algn="l" rtl="0" eaLnBrk="1" fontAlgn="base" hangingPunct="1">
        <a:lnSpc>
          <a:spcPct val="85000"/>
        </a:lnSpc>
        <a:spcBef>
          <a:spcPct val="0"/>
        </a:spcBef>
        <a:spcAft>
          <a:spcPct val="0"/>
        </a:spcAft>
        <a:defRPr sz="4000">
          <a:solidFill>
            <a:schemeClr val="tx1"/>
          </a:solidFill>
          <a:latin typeface="Ericsson Hilda" pitchFamily="2" charset="0"/>
        </a:defRPr>
      </a:lvl4pPr>
      <a:lvl5pPr algn="l" rtl="0" eaLnBrk="1" fontAlgn="base" hangingPunct="1">
        <a:lnSpc>
          <a:spcPct val="85000"/>
        </a:lnSpc>
        <a:spcBef>
          <a:spcPct val="0"/>
        </a:spcBef>
        <a:spcAft>
          <a:spcPct val="0"/>
        </a:spcAft>
        <a:defRPr sz="4000">
          <a:solidFill>
            <a:schemeClr val="tx1"/>
          </a:solidFill>
          <a:latin typeface="Ericsson Hilda" pitchFamily="2" charset="0"/>
        </a:defRPr>
      </a:lvl5pPr>
      <a:lvl6pPr marL="457200" algn="l" rtl="0" eaLnBrk="1" fontAlgn="base" hangingPunct="1">
        <a:spcBef>
          <a:spcPct val="0"/>
        </a:spcBef>
        <a:spcAft>
          <a:spcPct val="0"/>
        </a:spcAft>
        <a:defRPr sz="3200">
          <a:solidFill>
            <a:schemeClr val="tx1"/>
          </a:solidFill>
          <a:latin typeface="Ericsson Hilda" pitchFamily="2" charset="0"/>
        </a:defRPr>
      </a:lvl6pPr>
      <a:lvl7pPr marL="914400" algn="l" rtl="0" eaLnBrk="1" fontAlgn="base" hangingPunct="1">
        <a:spcBef>
          <a:spcPct val="0"/>
        </a:spcBef>
        <a:spcAft>
          <a:spcPct val="0"/>
        </a:spcAft>
        <a:defRPr sz="3200">
          <a:solidFill>
            <a:schemeClr val="tx1"/>
          </a:solidFill>
          <a:latin typeface="Ericsson Hilda" pitchFamily="2" charset="0"/>
        </a:defRPr>
      </a:lvl7pPr>
      <a:lvl8pPr marL="1371600" algn="l" rtl="0" eaLnBrk="1" fontAlgn="base" hangingPunct="1">
        <a:spcBef>
          <a:spcPct val="0"/>
        </a:spcBef>
        <a:spcAft>
          <a:spcPct val="0"/>
        </a:spcAft>
        <a:defRPr sz="3200">
          <a:solidFill>
            <a:schemeClr val="tx1"/>
          </a:solidFill>
          <a:latin typeface="Ericsson Hilda" pitchFamily="2" charset="0"/>
        </a:defRPr>
      </a:lvl8pPr>
      <a:lvl9pPr marL="1828800" algn="l" rtl="0" eaLnBrk="1" fontAlgn="base" hangingPunct="1">
        <a:spcBef>
          <a:spcPct val="0"/>
        </a:spcBef>
        <a:spcAft>
          <a:spcPct val="0"/>
        </a:spcAft>
        <a:defRPr sz="3200">
          <a:solidFill>
            <a:schemeClr val="tx1"/>
          </a:solidFill>
          <a:latin typeface="Ericsson Hilda" pitchFamily="2" charset="0"/>
        </a:defRPr>
      </a:lvl9pPr>
    </p:titleStyle>
    <p:body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0">
          <p15:clr>
            <a:srgbClr val="A4A3A4"/>
          </p15:clr>
        </p15:guide>
        <p15:guide id="2" pos="302">
          <p15:clr>
            <a:srgbClr val="A4A3A4"/>
          </p15:clr>
        </p15:guide>
        <p15:guide id="3" pos="1935">
          <p15:clr>
            <a:srgbClr val="A4A3A4"/>
          </p15:clr>
        </p15:guide>
        <p15:guide id="4" orient="horz" pos="981">
          <p15:clr>
            <a:srgbClr val="A4A3A4"/>
          </p15:clr>
        </p15:guide>
        <p15:guide id="6" pos="2116">
          <p15:clr>
            <a:srgbClr val="A4A3A4"/>
          </p15:clr>
        </p15:guide>
        <p15:guide id="7" pos="3931">
          <p15:clr>
            <a:srgbClr val="A4A3A4"/>
          </p15:clr>
        </p15:guide>
        <p15:guide id="9" pos="3749">
          <p15:clr>
            <a:srgbClr val="A4A3A4"/>
          </p15:clr>
        </p15:guide>
        <p15:guide id="10" pos="5564">
          <p15:clr>
            <a:srgbClr val="A4A3A4"/>
          </p15:clr>
        </p15:guide>
        <p15:guide id="12" pos="5745">
          <p15:clr>
            <a:srgbClr val="A4A3A4"/>
          </p15:clr>
        </p15:guide>
        <p15:guide id="13" pos="7378">
          <p15:clr>
            <a:srgbClr val="A4A3A4"/>
          </p15:clr>
        </p15:guide>
        <p15:guide id="16" orient="horz" pos="2478">
          <p15:clr>
            <a:srgbClr val="A4A3A4"/>
          </p15:clr>
        </p15:guide>
        <p15:guide id="17" orient="horz" pos="2614">
          <p15:clr>
            <a:srgbClr val="A4A3A4"/>
          </p15:clr>
        </p15:guide>
        <p15:guide id="18" orient="horz" pos="3929">
          <p15:clr>
            <a:srgbClr val="A4A3A4"/>
          </p15:clr>
        </p15:guide>
        <p15:guide id="19" orient="horz" pos="4110">
          <p15:clr>
            <a:srgbClr val="A4A3A4"/>
          </p15:clr>
        </p15:guide>
        <p15:guide id="20" orient="horz" pos="1162">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7" name="Content_SM">
            <a:extLst>
              <a:ext uri="{FF2B5EF4-FFF2-40B4-BE49-F238E27FC236}">
                <a16:creationId xmlns:a16="http://schemas.microsoft.com/office/drawing/2014/main" id="{97A7EF3C-00D0-407F-98B2-2BAD16A0558B}"/>
              </a:ext>
            </a:extLst>
          </p:cNvPr>
          <p:cNvSpPr>
            <a:spLocks noGrp="1" noChangeArrowheads="1"/>
          </p:cNvSpPr>
          <p:nvPr>
            <p:ph type="body" idx="1"/>
          </p:nvPr>
        </p:nvSpPr>
        <p:spPr bwMode="auto">
          <a:xfrm>
            <a:off x="479215" y="1844676"/>
            <a:ext cx="11233573" cy="4392613"/>
          </a:xfrm>
          <a:prstGeom prst="rect">
            <a:avLst/>
          </a:prstGeom>
          <a:noFill/>
          <a:ln w="9525">
            <a:noFill/>
            <a:miter lim="800000"/>
            <a:headEnd/>
            <a:tailEnd/>
          </a:ln>
        </p:spPr>
        <p:txBody>
          <a:bodyPr vert="horz" wrap="square" lIns="72000" tIns="36000" rIns="0" bIns="0" numCol="1" anchor="t" anchorCtr="0" compatLnSpc="1">
            <a:prstTxWarp prst="textNoShape">
              <a:avLst/>
            </a:prstTxWarp>
          </a:body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21506" name="Title_SM">
            <a:extLst>
              <a:ext uri="{FF2B5EF4-FFF2-40B4-BE49-F238E27FC236}">
                <a16:creationId xmlns:a16="http://schemas.microsoft.com/office/drawing/2014/main" id="{5BEFE353-3825-49E5-B37F-D328969AA9C1}"/>
              </a:ext>
            </a:extLst>
          </p:cNvPr>
          <p:cNvSpPr>
            <a:spLocks noGrp="1" noChangeArrowheads="1"/>
          </p:cNvSpPr>
          <p:nvPr>
            <p:ph type="title"/>
          </p:nvPr>
        </p:nvSpPr>
        <p:spPr bwMode="auto">
          <a:xfrm>
            <a:off x="479214" y="476250"/>
            <a:ext cx="8353213" cy="1081088"/>
          </a:xfrm>
          <a:prstGeom prst="rect">
            <a:avLst/>
          </a:prstGeom>
          <a:noFill/>
          <a:ln w="9525">
            <a:noFill/>
            <a:miter lim="800000"/>
            <a:headEnd/>
            <a:tailEnd/>
          </a:ln>
        </p:spPr>
        <p:txBody>
          <a:bodyPr vert="horz" wrap="square" lIns="72000" tIns="36000" rIns="0" bIns="0" numCol="1" anchor="t" anchorCtr="0" compatLnSpc="1">
            <a:prstTxWarp prst="textNoShape">
              <a:avLst/>
            </a:prstTxWarp>
            <a:noAutofit/>
          </a:bodyPr>
          <a:lstStyle/>
          <a:p>
            <a:pPr lvl="0"/>
            <a:r>
              <a:rPr lang="en-US" dirty="0"/>
              <a:t>Slide title, Ericsson Hilda Light 40pt, Ericsson Black, max 2-lines</a:t>
            </a:r>
          </a:p>
        </p:txBody>
      </p:sp>
      <p:pic>
        <p:nvPicPr>
          <p:cNvPr id="8" name="Picture 7">
            <a:extLst>
              <a:ext uri="{FF2B5EF4-FFF2-40B4-BE49-F238E27FC236}">
                <a16:creationId xmlns:a16="http://schemas.microsoft.com/office/drawing/2014/main" id="{2051B066-0765-4F7D-BC7B-5421BFA666C6}"/>
              </a:ext>
            </a:extLst>
          </p:cNvPr>
          <p:cNvPicPr>
            <a:picLocks noChangeAspect="1"/>
          </p:cNvPicPr>
          <p:nvPr userDrawn="1"/>
        </p:nvPicPr>
        <p:blipFill>
          <a:blip r:embed="rId39"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1522514" y="476250"/>
            <a:ext cx="190061" cy="256032"/>
          </a:xfrm>
          <a:prstGeom prst="rect">
            <a:avLst/>
          </a:prstGeom>
          <a:ln>
            <a:noFill/>
          </a:ln>
        </p:spPr>
      </p:pic>
      <p:sp>
        <p:nvSpPr>
          <p:cNvPr id="2" name="txtfooterCopy">
            <a:extLst>
              <a:ext uri="{FF2B5EF4-FFF2-40B4-BE49-F238E27FC236}">
                <a16:creationId xmlns:a16="http://schemas.microsoft.com/office/drawing/2014/main" id="{B5D66844-3D70-468C-AC9F-76DF3D537153}"/>
              </a:ext>
            </a:extLst>
          </p:cNvPr>
          <p:cNvSpPr txBox="1"/>
          <p:nvPr userDrawn="1"/>
        </p:nvSpPr>
        <p:spPr>
          <a:xfrm>
            <a:off x="527050" y="6524625"/>
            <a:ext cx="9865783" cy="215900"/>
          </a:xfrm>
          <a:prstGeom prst="rect">
            <a:avLst/>
          </a:prstGeom>
          <a:noFill/>
        </p:spPr>
        <p:txBody>
          <a:bodyPr wrap="none" lIns="0" tIns="0" rIns="0" bIns="0"/>
          <a:lstStyle/>
          <a:p>
            <a:pPr algn="l">
              <a:defRPr/>
            </a:pPr>
            <a:r>
              <a:rPr lang="en-US" sz="750" b="0" i="0" u="none" smtClean="0">
                <a:solidFill>
                  <a:srgbClr val="1A1816"/>
                </a:solidFill>
                <a:latin typeface="+mn-lt"/>
              </a:rPr>
              <a:t>ERANMOO Ranu Moodley  |  019/0113-1 Uen  |  PB3  |  2019-06-19  |  Ericsson Internal</a:t>
            </a:r>
            <a:endParaRPr lang="en-US" sz="750" b="0" i="0" u="none" dirty="0">
              <a:solidFill>
                <a:srgbClr val="1A1816"/>
              </a:solidFill>
              <a:latin typeface="+mn-lt"/>
            </a:endParaRPr>
          </a:p>
        </p:txBody>
      </p:sp>
      <p:sp>
        <p:nvSpPr>
          <p:cNvPr id="6" name="Rectangle 5">
            <a:extLst>
              <a:ext uri="{FF2B5EF4-FFF2-40B4-BE49-F238E27FC236}">
                <a16:creationId xmlns:a16="http://schemas.microsoft.com/office/drawing/2014/main" id="{0F73CE5A-2456-4CE0-BB7E-8AEDD632BACF}"/>
              </a:ext>
            </a:extLst>
          </p:cNvPr>
          <p:cNvSpPr/>
          <p:nvPr userDrawn="1"/>
        </p:nvSpPr>
        <p:spPr bwMode="auto">
          <a:xfrm>
            <a:off x="479214" y="6496050"/>
            <a:ext cx="1501986" cy="209550"/>
          </a:xfrm>
          <a:prstGeom prst="rect">
            <a:avLst/>
          </a:prstGeom>
          <a:solidFill>
            <a:schemeClr val="bg1"/>
          </a:solidFill>
          <a:ln w="12700" cap="flat" cmpd="sng" algn="ctr">
            <a:noFill/>
            <a:prstDash val="solid"/>
            <a:round/>
            <a:headEnd type="none" w="med" len="med"/>
            <a:tailEnd type="none" w="med" len="med"/>
          </a:ln>
          <a:effectLst/>
        </p:spPr>
        <p:txBody>
          <a:bodyPr lIns="85725" tIns="42863" rIns="85725" bIns="42863"/>
          <a:lstStyle/>
          <a:p>
            <a:pPr defTabSz="857250" eaLnBrk="1" hangingPunct="1">
              <a:spcBef>
                <a:spcPct val="50000"/>
              </a:spcBef>
              <a:defRPr/>
            </a:pPr>
            <a:endParaRPr lang="en-US" sz="1875" dirty="0" err="1">
              <a:solidFill>
                <a:schemeClr val="bg1"/>
              </a:solidFill>
              <a:latin typeface="+mn-lt"/>
            </a:endParaRPr>
          </a:p>
        </p:txBody>
      </p:sp>
    </p:spTree>
    <p:extLst>
      <p:ext uri="{BB962C8B-B14F-4D97-AF65-F5344CB8AC3E}">
        <p14:creationId xmlns:p14="http://schemas.microsoft.com/office/powerpoint/2010/main" val="2407191258"/>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 id="2147484063" r:id="rId29"/>
    <p:sldLayoutId id="2147484064" r:id="rId30"/>
    <p:sldLayoutId id="2147484065" r:id="rId31"/>
    <p:sldLayoutId id="2147484066" r:id="rId32"/>
    <p:sldLayoutId id="2147484067" r:id="rId33"/>
    <p:sldLayoutId id="2147484068" r:id="rId34"/>
    <p:sldLayoutId id="2147484069" r:id="rId35"/>
    <p:sldLayoutId id="2147484070" r:id="rId36"/>
    <p:sldLayoutId id="2147484071" r:id="rId37"/>
  </p:sldLayoutIdLst>
  <p:hf sldNum="0" hdr="0" ftr="0" dt="0"/>
  <p:txStyles>
    <p:titleStyle>
      <a:lvl1pPr algn="l" rtl="0" eaLnBrk="0" fontAlgn="base" hangingPunct="0">
        <a:lnSpc>
          <a:spcPct val="85000"/>
        </a:lnSpc>
        <a:spcBef>
          <a:spcPts val="275"/>
        </a:spcBef>
        <a:spcAft>
          <a:spcPct val="0"/>
        </a:spcAft>
        <a:defRPr sz="3700" kern="1400" spc="-150">
          <a:solidFill>
            <a:schemeClr val="tx1"/>
          </a:solidFill>
          <a:latin typeface="+mj-lt"/>
          <a:ea typeface="+mj-ea"/>
          <a:cs typeface="+mj-cs"/>
        </a:defRPr>
      </a:lvl1pPr>
      <a:lvl2pPr algn="l" rtl="0" eaLnBrk="0" fontAlgn="base" hangingPunct="0">
        <a:lnSpc>
          <a:spcPct val="85000"/>
        </a:lnSpc>
        <a:spcBef>
          <a:spcPts val="275"/>
        </a:spcBef>
        <a:spcAft>
          <a:spcPct val="0"/>
        </a:spcAft>
        <a:defRPr sz="3700">
          <a:solidFill>
            <a:schemeClr val="tx1"/>
          </a:solidFill>
          <a:latin typeface="Ericsson Hilda Light" panose="00000400000000000000" pitchFamily="2" charset="0"/>
        </a:defRPr>
      </a:lvl2pPr>
      <a:lvl3pPr algn="l" rtl="0" eaLnBrk="0" fontAlgn="base" hangingPunct="0">
        <a:lnSpc>
          <a:spcPct val="85000"/>
        </a:lnSpc>
        <a:spcBef>
          <a:spcPts val="275"/>
        </a:spcBef>
        <a:spcAft>
          <a:spcPct val="0"/>
        </a:spcAft>
        <a:defRPr sz="3700">
          <a:solidFill>
            <a:schemeClr val="tx1"/>
          </a:solidFill>
          <a:latin typeface="Ericsson Hilda Light" panose="00000400000000000000" pitchFamily="2" charset="0"/>
        </a:defRPr>
      </a:lvl3pPr>
      <a:lvl4pPr algn="l" rtl="0" eaLnBrk="0" fontAlgn="base" hangingPunct="0">
        <a:lnSpc>
          <a:spcPct val="85000"/>
        </a:lnSpc>
        <a:spcBef>
          <a:spcPts val="275"/>
        </a:spcBef>
        <a:spcAft>
          <a:spcPct val="0"/>
        </a:spcAft>
        <a:defRPr sz="3700">
          <a:solidFill>
            <a:schemeClr val="tx1"/>
          </a:solidFill>
          <a:latin typeface="Ericsson Hilda Light" panose="00000400000000000000" pitchFamily="2" charset="0"/>
        </a:defRPr>
      </a:lvl4pPr>
      <a:lvl5pPr algn="l" rtl="0" eaLnBrk="0" fontAlgn="base" hangingPunct="0">
        <a:lnSpc>
          <a:spcPct val="85000"/>
        </a:lnSpc>
        <a:spcBef>
          <a:spcPts val="275"/>
        </a:spcBef>
        <a:spcAft>
          <a:spcPct val="0"/>
        </a:spcAft>
        <a:defRPr sz="3700">
          <a:solidFill>
            <a:schemeClr val="tx1"/>
          </a:solidFill>
          <a:latin typeface="Ericsson Hilda Light" panose="00000400000000000000" pitchFamily="2" charset="0"/>
        </a:defRPr>
      </a:lvl5pPr>
      <a:lvl6pPr marL="428625" algn="l" rtl="0" eaLnBrk="1" fontAlgn="base" hangingPunct="1">
        <a:spcBef>
          <a:spcPct val="0"/>
        </a:spcBef>
        <a:spcAft>
          <a:spcPct val="0"/>
        </a:spcAft>
        <a:defRPr sz="3000">
          <a:solidFill>
            <a:schemeClr val="tx1"/>
          </a:solidFill>
          <a:latin typeface="Ericsson Hilda" pitchFamily="2" charset="0"/>
        </a:defRPr>
      </a:lvl6pPr>
      <a:lvl7pPr marL="857250" algn="l" rtl="0" eaLnBrk="1" fontAlgn="base" hangingPunct="1">
        <a:spcBef>
          <a:spcPct val="0"/>
        </a:spcBef>
        <a:spcAft>
          <a:spcPct val="0"/>
        </a:spcAft>
        <a:defRPr sz="3000">
          <a:solidFill>
            <a:schemeClr val="tx1"/>
          </a:solidFill>
          <a:latin typeface="Ericsson Hilda" pitchFamily="2" charset="0"/>
        </a:defRPr>
      </a:lvl7pPr>
      <a:lvl8pPr marL="1285875" algn="l" rtl="0" eaLnBrk="1" fontAlgn="base" hangingPunct="1">
        <a:spcBef>
          <a:spcPct val="0"/>
        </a:spcBef>
        <a:spcAft>
          <a:spcPct val="0"/>
        </a:spcAft>
        <a:defRPr sz="3000">
          <a:solidFill>
            <a:schemeClr val="tx1"/>
          </a:solidFill>
          <a:latin typeface="Ericsson Hilda" pitchFamily="2" charset="0"/>
        </a:defRPr>
      </a:lvl8pPr>
      <a:lvl9pPr marL="1714500" algn="l" rtl="0" eaLnBrk="1" fontAlgn="base" hangingPunct="1">
        <a:spcBef>
          <a:spcPct val="0"/>
        </a:spcBef>
        <a:spcAft>
          <a:spcPct val="0"/>
        </a:spcAft>
        <a:defRPr sz="3000">
          <a:solidFill>
            <a:schemeClr val="tx1"/>
          </a:solidFill>
          <a:latin typeface="Ericsson Hilda" pitchFamily="2" charset="0"/>
        </a:defRPr>
      </a:lvl9pPr>
    </p:titleStyle>
    <p:bodyStyle>
      <a:lvl1pPr marL="320675" indent="-320675" algn="l" rtl="0" eaLnBrk="0" fontAlgn="base" hangingPunct="0">
        <a:spcBef>
          <a:spcPts val="275"/>
        </a:spcBef>
        <a:spcAft>
          <a:spcPct val="0"/>
        </a:spcAft>
        <a:buClr>
          <a:schemeClr val="tx1"/>
        </a:buClr>
        <a:buFont typeface="Ericsson Hilda Light" panose="00000400000000000000" pitchFamily="2" charset="0"/>
        <a:buChar char="—"/>
        <a:defRPr kern="1000" spc="-28">
          <a:solidFill>
            <a:schemeClr val="tx1"/>
          </a:solidFill>
          <a:latin typeface="+mn-lt"/>
          <a:ea typeface="+mn-ea"/>
          <a:cs typeface="+mn-cs"/>
        </a:defRPr>
      </a:lvl1pPr>
      <a:lvl2pPr marL="320675" indent="-320675" algn="l" rtl="0" eaLnBrk="0" fontAlgn="base" hangingPunct="0">
        <a:spcBef>
          <a:spcPts val="275"/>
        </a:spcBef>
        <a:spcAft>
          <a:spcPct val="0"/>
        </a:spcAft>
        <a:buClr>
          <a:schemeClr val="tx1"/>
        </a:buClr>
        <a:buFont typeface="Ericsson Hilda Light" panose="00000400000000000000" pitchFamily="2" charset="0"/>
        <a:buChar char="—"/>
        <a:defRPr kern="1000" spc="-28">
          <a:solidFill>
            <a:schemeClr val="tx1"/>
          </a:solidFill>
          <a:latin typeface="+mn-lt"/>
        </a:defRPr>
      </a:lvl2pPr>
      <a:lvl3pPr marL="642938" indent="-320675" algn="l" rtl="0" eaLnBrk="0" fontAlgn="base" hangingPunct="0">
        <a:spcBef>
          <a:spcPts val="275"/>
        </a:spcBef>
        <a:spcAft>
          <a:spcPct val="0"/>
        </a:spcAft>
        <a:buClr>
          <a:schemeClr val="tx1"/>
        </a:buClr>
        <a:buFont typeface="Ericsson Hilda Light" panose="00000400000000000000" pitchFamily="2" charset="0"/>
        <a:buChar char="—"/>
        <a:defRPr kern="1000" spc="-28">
          <a:solidFill>
            <a:schemeClr val="tx1"/>
          </a:solidFill>
          <a:latin typeface="+mn-lt"/>
        </a:defRPr>
      </a:lvl3pPr>
      <a:lvl4pPr marL="963613" indent="-320675" algn="l" rtl="0" eaLnBrk="0" fontAlgn="base" hangingPunct="0">
        <a:spcBef>
          <a:spcPts val="275"/>
        </a:spcBef>
        <a:spcAft>
          <a:spcPct val="0"/>
        </a:spcAft>
        <a:buClr>
          <a:schemeClr val="tx1"/>
        </a:buClr>
        <a:buFont typeface="Ericsson Hilda Light" panose="00000400000000000000" pitchFamily="2" charset="0"/>
        <a:buChar char="—"/>
        <a:defRPr kern="1000" spc="-28">
          <a:solidFill>
            <a:schemeClr val="tx1"/>
          </a:solidFill>
          <a:latin typeface="+mn-lt"/>
        </a:defRPr>
      </a:lvl4pPr>
      <a:lvl5pPr marL="1285875" indent="-320675" algn="l" rtl="0" eaLnBrk="0" fontAlgn="base" hangingPunct="0">
        <a:spcBef>
          <a:spcPts val="275"/>
        </a:spcBef>
        <a:spcAft>
          <a:spcPct val="0"/>
        </a:spcAft>
        <a:buClr>
          <a:schemeClr val="tx1"/>
        </a:buClr>
        <a:buFont typeface="Ericsson Hilda Light" panose="00000400000000000000" pitchFamily="2" charset="0"/>
        <a:buChar char="—"/>
        <a:defRPr kern="1000" spc="-28">
          <a:solidFill>
            <a:schemeClr val="tx1"/>
          </a:solidFill>
          <a:latin typeface="+mn-lt"/>
        </a:defRPr>
      </a:lvl5pPr>
      <a:lvl6pPr marL="1942208" indent="-169664" algn="l" rtl="0" eaLnBrk="1" fontAlgn="base" hangingPunct="1">
        <a:spcBef>
          <a:spcPct val="20000"/>
        </a:spcBef>
        <a:spcAft>
          <a:spcPct val="0"/>
        </a:spcAft>
        <a:buClr>
          <a:schemeClr val="tx1"/>
        </a:buClr>
        <a:buFont typeface="Ericsson Hilda" pitchFamily="2" charset="0"/>
        <a:buChar char="›"/>
        <a:defRPr sz="1875">
          <a:solidFill>
            <a:schemeClr val="tx1"/>
          </a:solidFill>
          <a:latin typeface="+mn-lt"/>
        </a:defRPr>
      </a:lvl6pPr>
      <a:lvl7pPr marL="2370833" indent="-169664" algn="l" rtl="0" eaLnBrk="1" fontAlgn="base" hangingPunct="1">
        <a:spcBef>
          <a:spcPct val="20000"/>
        </a:spcBef>
        <a:spcAft>
          <a:spcPct val="0"/>
        </a:spcAft>
        <a:buClr>
          <a:schemeClr val="tx1"/>
        </a:buClr>
        <a:buFont typeface="Ericsson Hilda" pitchFamily="2" charset="0"/>
        <a:buChar char="›"/>
        <a:defRPr sz="1875">
          <a:solidFill>
            <a:schemeClr val="tx1"/>
          </a:solidFill>
          <a:latin typeface="+mn-lt"/>
        </a:defRPr>
      </a:lvl7pPr>
      <a:lvl8pPr marL="2799458" indent="-169664" algn="l" rtl="0" eaLnBrk="1" fontAlgn="base" hangingPunct="1">
        <a:spcBef>
          <a:spcPct val="20000"/>
        </a:spcBef>
        <a:spcAft>
          <a:spcPct val="0"/>
        </a:spcAft>
        <a:buClr>
          <a:schemeClr val="tx1"/>
        </a:buClr>
        <a:buFont typeface="Ericsson Hilda" pitchFamily="2" charset="0"/>
        <a:buChar char="›"/>
        <a:defRPr sz="1875">
          <a:solidFill>
            <a:schemeClr val="tx1"/>
          </a:solidFill>
          <a:latin typeface="+mn-lt"/>
        </a:defRPr>
      </a:lvl8pPr>
      <a:lvl9pPr marL="3228083" indent="-169664" algn="l" rtl="0" eaLnBrk="1" fontAlgn="base" hangingPunct="1">
        <a:spcBef>
          <a:spcPct val="20000"/>
        </a:spcBef>
        <a:spcAft>
          <a:spcPct val="0"/>
        </a:spcAft>
        <a:buClr>
          <a:schemeClr val="tx1"/>
        </a:buClr>
        <a:buFont typeface="Ericsson Hilda" pitchFamily="2" charset="0"/>
        <a:buChar char="›"/>
        <a:defRPr sz="1875">
          <a:solidFill>
            <a:schemeClr val="tx1"/>
          </a:solidFill>
          <a:latin typeface="+mn-lt"/>
        </a:defRPr>
      </a:lvl9pPr>
    </p:bodyStyle>
    <p:otherStyle>
      <a:defPPr>
        <a:defRPr lang="sv-SE"/>
      </a:defPPr>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3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37.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49.svg"/><Relationship Id="rId3" Type="http://schemas.openxmlformats.org/officeDocument/2006/relationships/hyperlink" Target="https://erilink.ericsson.se/eridoc/erl/objectId/09004cff8a19dde3?docno=2/00201-FCP1314930Uen&amp;action=current&amp;format=msw12" TargetMode="External"/><Relationship Id="rId7" Type="http://schemas.microsoft.com/office/2007/relationships/hdphoto" Target="../media/hdphoto3.wdp"/><Relationship Id="rId12"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30.png"/><Relationship Id="rId11" Type="http://schemas.openxmlformats.org/officeDocument/2006/relationships/image" Target="../media/image47.svg"/><Relationship Id="rId5" Type="http://schemas.openxmlformats.org/officeDocument/2006/relationships/hyperlink" Target="https://erilink.ericsson.se/eridoc/erl/objectId/09004cff8a19dde0?docno=4/00201-FCP1314930Uen&amp;action=current&amp;format=excel12book" TargetMode="External"/><Relationship Id="rId10" Type="http://schemas.openxmlformats.org/officeDocument/2006/relationships/image" Target="../media/image32.png"/><Relationship Id="rId4" Type="http://schemas.openxmlformats.org/officeDocument/2006/relationships/hyperlink" Target="https://erilink.ericsson.se/eridoc/erl/objectId/09004cff8a19dde4?docno=3/00201-FCP1314930Uen&amp;action=current&amp;format=excel12book" TargetMode="External"/><Relationship Id="rId9" Type="http://schemas.openxmlformats.org/officeDocument/2006/relationships/image" Target="../media/image45.svg"/></Relationships>
</file>

<file path=ppt/slides/_rels/slide16.xml.rels><?xml version="1.0" encoding="UTF-8" standalone="yes"?>
<Relationships xmlns="http://schemas.openxmlformats.org/package/2006/relationships"><Relationship Id="rId3" Type="http://schemas.openxmlformats.org/officeDocument/2006/relationships/hyperlink" Target="https://erilink.ericsson.se/eridoc/erl/objectId/09004cff87cea90b?docno=NRJ-14:001195Uen&amp;action=current&amp;format=ppt12" TargetMode="External"/><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hyperlink" Target="https://eridoc.internal.ericsson.com/eridoc/#d2" TargetMode="External"/><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3.png"/><Relationship Id="rId7" Type="http://schemas.openxmlformats.org/officeDocument/2006/relationships/image" Target="../media/image15.png"/><Relationship Id="rId12" Type="http://schemas.openxmlformats.org/officeDocument/2006/relationships/image" Target="../media/image24.svg"/><Relationship Id="rId2" Type="http://schemas.openxmlformats.org/officeDocument/2006/relationships/notesSlide" Target="../notesSlides/notesSlide3.xml"/><Relationship Id="rId1" Type="http://schemas.openxmlformats.org/officeDocument/2006/relationships/slideLayout" Target="../slideLayouts/slideLayout98.xml"/><Relationship Id="rId6" Type="http://schemas.openxmlformats.org/officeDocument/2006/relationships/image" Target="../media/image18.svg"/><Relationship Id="rId11" Type="http://schemas.openxmlformats.org/officeDocument/2006/relationships/image" Target="../media/image17.png"/><Relationship Id="rId5" Type="http://schemas.openxmlformats.org/officeDocument/2006/relationships/image" Target="../media/image14.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hyperlink" Target="https://ericsson.sharepoint.com/sites/salesforce/SitePages/SDOD.aspx" TargetMode="External"/><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hyperlink" Target="https://ericsson.lightning.force.com/lightning/page/home" TargetMode="External"/><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image" Target="../media/image28.svg"/><Relationship Id="rId11" Type="http://schemas.openxmlformats.org/officeDocument/2006/relationships/hyperlink" Target="https://ericsson.sharepoint.com/:p:/r/sites/salesforce/Shared%20Documents/SDOD%20Quck%20Guide%20-%20Salesforce.pptx?d=w5da7eefc5a114cb98c7b366233175e0f&amp;csf=1&amp;e=2Wqh8H" TargetMode="External"/><Relationship Id="rId5" Type="http://schemas.openxmlformats.org/officeDocument/2006/relationships/image" Target="../media/image19.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6.xml"/><Relationship Id="rId16" Type="http://schemas.openxmlformats.org/officeDocument/2006/relationships/diagramColors" Target="../diagrams/colors3.xml"/><Relationship Id="rId1" Type="http://schemas.openxmlformats.org/officeDocument/2006/relationships/slideLayout" Target="../slideLayouts/slideLayout229.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erilink.ericsson.se/eridoc/erl/objectId/09004cff87cea90b?docno=NRJ-14:001195Uen&amp;action=current&amp;format=ppt12" TargetMode="External"/><Relationship Id="rId7" Type="http://schemas.openxmlformats.org/officeDocument/2006/relationships/hyperlink" Target="http://gask2web.ericsson.se/service/get?DocNo=2/03813-FEA90174&amp;Lang=EN&amp;Rev=L&amp;Format=PDFV1R4&amp;a=b" TargetMode="Externa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hyperlink" Target="https://xlpm-online.com/ericsson/c/e.pj.act.int.change-planning-checklist.php" TargetMode="External"/><Relationship Id="rId11" Type="http://schemas.openxmlformats.org/officeDocument/2006/relationships/image" Target="../media/image36.svg"/><Relationship Id="rId5" Type="http://schemas.openxmlformats.org/officeDocument/2006/relationships/hyperlink" Target="https://xlpm-online.com/ericsson/c/e.pj.pe.flows.cr.php" TargetMode="External"/><Relationship Id="rId10" Type="http://schemas.openxmlformats.org/officeDocument/2006/relationships/image" Target="../media/image23.png"/><Relationship Id="rId4" Type="http://schemas.openxmlformats.org/officeDocument/2006/relationships/hyperlink" Target="https://ericoll.internal.ericsson.com/sites/GC_Site_2/Pages/9-060-Change_Request.aspx" TargetMode="External"/><Relationship Id="rId9" Type="http://schemas.openxmlformats.org/officeDocument/2006/relationships/image" Target="../media/image34.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7A896F-8EE7-442E-83FA-7DB9E9AE40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65534"/>
            <a:ext cx="12192000" cy="8125098"/>
          </a:xfrm>
          <a:prstGeom prst="rect">
            <a:avLst/>
          </a:prstGeom>
        </p:spPr>
      </p:pic>
      <p:sp>
        <p:nvSpPr>
          <p:cNvPr id="2" name="Title 1">
            <a:extLst>
              <a:ext uri="{FF2B5EF4-FFF2-40B4-BE49-F238E27FC236}">
                <a16:creationId xmlns:a16="http://schemas.microsoft.com/office/drawing/2014/main" id="{3B965DB9-990D-42FA-8A96-AE9E2B1A33B1}"/>
              </a:ext>
            </a:extLst>
          </p:cNvPr>
          <p:cNvSpPr>
            <a:spLocks noGrp="1"/>
          </p:cNvSpPr>
          <p:nvPr>
            <p:ph type="ctrTitle"/>
          </p:nvPr>
        </p:nvSpPr>
        <p:spPr>
          <a:xfrm>
            <a:off x="119186" y="1339042"/>
            <a:ext cx="10625455" cy="3457576"/>
          </a:xfrm>
        </p:spPr>
        <p:txBody>
          <a:bodyPr/>
          <a:lstStyle/>
          <a:p>
            <a:r>
              <a:rPr lang="en-US" dirty="0">
                <a:solidFill>
                  <a:schemeClr val="bg1">
                    <a:lumMod val="95000"/>
                  </a:schemeClr>
                </a:solidFill>
              </a:rPr>
              <a:t>Change Management </a:t>
            </a:r>
            <a:br>
              <a:rPr lang="en-US" dirty="0">
                <a:solidFill>
                  <a:schemeClr val="bg1">
                    <a:lumMod val="95000"/>
                  </a:schemeClr>
                </a:solidFill>
              </a:rPr>
            </a:br>
            <a:r>
              <a:rPr lang="en-US" dirty="0">
                <a:solidFill>
                  <a:schemeClr val="bg1">
                    <a:lumMod val="95000"/>
                  </a:schemeClr>
                </a:solidFill>
              </a:rPr>
              <a:t>GUIDE	</a:t>
            </a:r>
            <a:br>
              <a:rPr lang="en-US" dirty="0">
                <a:solidFill>
                  <a:schemeClr val="bg1">
                    <a:lumMod val="95000"/>
                  </a:schemeClr>
                </a:solidFill>
              </a:rPr>
            </a:br>
            <a:endParaRPr lang="en-US" dirty="0">
              <a:solidFill>
                <a:schemeClr val="bg1">
                  <a:lumMod val="95000"/>
                </a:schemeClr>
              </a:solidFill>
            </a:endParaRPr>
          </a:p>
        </p:txBody>
      </p:sp>
      <p:sp>
        <p:nvSpPr>
          <p:cNvPr id="3" name="Subtitle 2">
            <a:extLst>
              <a:ext uri="{FF2B5EF4-FFF2-40B4-BE49-F238E27FC236}">
                <a16:creationId xmlns:a16="http://schemas.microsoft.com/office/drawing/2014/main" id="{BB1DC945-4710-4796-AC34-0832F26E36A9}"/>
              </a:ext>
            </a:extLst>
          </p:cNvPr>
          <p:cNvSpPr>
            <a:spLocks noGrp="1"/>
          </p:cNvSpPr>
          <p:nvPr>
            <p:ph type="subTitle" idx="1"/>
          </p:nvPr>
        </p:nvSpPr>
        <p:spPr>
          <a:xfrm>
            <a:off x="147002" y="3188945"/>
            <a:ext cx="6530975" cy="2087563"/>
          </a:xfrm>
        </p:spPr>
        <p:txBody>
          <a:bodyPr/>
          <a:lstStyle/>
          <a:p>
            <a:r>
              <a:rPr lang="en-US" sz="2400" dirty="0">
                <a:solidFill>
                  <a:schemeClr val="bg1">
                    <a:lumMod val="95000"/>
                  </a:schemeClr>
                </a:solidFill>
              </a:rPr>
              <a:t>Add-on Sale - SDOD</a:t>
            </a:r>
          </a:p>
          <a:p>
            <a:r>
              <a:rPr lang="en-US" sz="2400" dirty="0">
                <a:solidFill>
                  <a:schemeClr val="bg1">
                    <a:lumMod val="95000"/>
                  </a:schemeClr>
                </a:solidFill>
              </a:rPr>
              <a:t>Change Requests – CR GC</a:t>
            </a:r>
          </a:p>
          <a:p>
            <a:r>
              <a:rPr lang="en-US" sz="2400" dirty="0">
                <a:solidFill>
                  <a:schemeClr val="bg1">
                    <a:lumMod val="95000"/>
                  </a:schemeClr>
                </a:solidFill>
              </a:rPr>
              <a:t>&amp;</a:t>
            </a:r>
          </a:p>
          <a:p>
            <a:r>
              <a:rPr lang="en-US" sz="2400" dirty="0">
                <a:solidFill>
                  <a:schemeClr val="bg1">
                    <a:lumMod val="95000"/>
                  </a:schemeClr>
                </a:solidFill>
              </a:rPr>
              <a:t>Change Control board - CCB</a:t>
            </a:r>
          </a:p>
        </p:txBody>
      </p:sp>
      <p:sp>
        <p:nvSpPr>
          <p:cNvPr id="4" name="Content Placeholder 3">
            <a:extLst>
              <a:ext uri="{FF2B5EF4-FFF2-40B4-BE49-F238E27FC236}">
                <a16:creationId xmlns:a16="http://schemas.microsoft.com/office/drawing/2014/main" id="{C3A7152E-1193-42D5-AAAE-792423D85737}"/>
              </a:ext>
            </a:extLst>
          </p:cNvPr>
          <p:cNvSpPr>
            <a:spLocks noGrp="1"/>
          </p:cNvSpPr>
          <p:nvPr>
            <p:ph sz="quarter" idx="10"/>
          </p:nvPr>
        </p:nvSpPr>
        <p:spPr>
          <a:xfrm>
            <a:off x="6240463" y="6238852"/>
            <a:ext cx="1910479" cy="287336"/>
          </a:xfrm>
        </p:spPr>
        <p:txBody>
          <a:bodyPr/>
          <a:lstStyle/>
          <a:p>
            <a:pPr algn="l"/>
            <a:r>
              <a:rPr lang="en-US" sz="1600" dirty="0">
                <a:solidFill>
                  <a:schemeClr val="bg1">
                    <a:lumMod val="95000"/>
                  </a:schemeClr>
                </a:solidFill>
              </a:rPr>
              <a:t>Ranu Moodley	</a:t>
            </a:r>
          </a:p>
        </p:txBody>
      </p:sp>
      <p:sp>
        <p:nvSpPr>
          <p:cNvPr id="5" name="Content Placeholder 4">
            <a:extLst>
              <a:ext uri="{FF2B5EF4-FFF2-40B4-BE49-F238E27FC236}">
                <a16:creationId xmlns:a16="http://schemas.microsoft.com/office/drawing/2014/main" id="{7986FD49-9B2F-4208-8540-5F97918FA12C}"/>
              </a:ext>
            </a:extLst>
          </p:cNvPr>
          <p:cNvSpPr>
            <a:spLocks noGrp="1"/>
          </p:cNvSpPr>
          <p:nvPr>
            <p:ph sz="quarter" idx="11"/>
          </p:nvPr>
        </p:nvSpPr>
        <p:spPr>
          <a:xfrm>
            <a:off x="8229600" y="6238851"/>
            <a:ext cx="2515041" cy="287337"/>
          </a:xfrm>
        </p:spPr>
        <p:txBody>
          <a:bodyPr/>
          <a:lstStyle/>
          <a:p>
            <a:pPr algn="l"/>
            <a:r>
              <a:rPr lang="en-US" sz="1600" dirty="0">
                <a:solidFill>
                  <a:schemeClr val="bg1">
                    <a:lumMod val="95000"/>
                  </a:schemeClr>
                </a:solidFill>
              </a:rPr>
              <a:t>Business Operations / Q&amp;OE</a:t>
            </a:r>
          </a:p>
        </p:txBody>
      </p:sp>
      <p:sp>
        <p:nvSpPr>
          <p:cNvPr id="6" name="Content Placeholder 5">
            <a:extLst>
              <a:ext uri="{FF2B5EF4-FFF2-40B4-BE49-F238E27FC236}">
                <a16:creationId xmlns:a16="http://schemas.microsoft.com/office/drawing/2014/main" id="{216FD6E6-EB04-48C7-AAF4-64C6EAFFEBA2}"/>
              </a:ext>
            </a:extLst>
          </p:cNvPr>
          <p:cNvSpPr>
            <a:spLocks noGrp="1"/>
          </p:cNvSpPr>
          <p:nvPr>
            <p:ph sz="quarter" idx="12"/>
          </p:nvPr>
        </p:nvSpPr>
        <p:spPr/>
        <p:txBody>
          <a:bodyPr/>
          <a:lstStyle/>
          <a:p>
            <a:pPr algn="l"/>
            <a:r>
              <a:rPr lang="en-US" dirty="0">
                <a:solidFill>
                  <a:schemeClr val="bg2">
                    <a:lumMod val="90000"/>
                  </a:schemeClr>
                </a:solidFill>
              </a:rPr>
              <a:t>2019/01</a:t>
            </a:r>
          </a:p>
        </p:txBody>
      </p:sp>
    </p:spTree>
    <p:extLst>
      <p:ext uri="{BB962C8B-B14F-4D97-AF65-F5344CB8AC3E}">
        <p14:creationId xmlns:p14="http://schemas.microsoft.com/office/powerpoint/2010/main" val="2189475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AB9647B-995B-4E42-A8C0-C1754BB9AD8B}"/>
              </a:ext>
            </a:extLst>
          </p:cNvPr>
          <p:cNvSpPr/>
          <p:nvPr/>
        </p:nvSpPr>
        <p:spPr bwMode="auto">
          <a:xfrm>
            <a:off x="505916" y="3351813"/>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Ericsson Hilda"/>
                <a:ea typeface="+mn-ea"/>
                <a:cs typeface="+mn-cs"/>
              </a:rPr>
              <a:t>CR Flow</a:t>
            </a:r>
            <a:endParaRPr kumimoji="0" lang="en-US" sz="1600" b="0" i="0" u="none" strike="noStrike" kern="1200" cap="none" spc="0" normalizeH="0" baseline="0" noProof="0" dirty="0">
              <a:ln>
                <a:noFill/>
              </a:ln>
              <a:solidFill>
                <a:srgbClr val="FFFFFF"/>
              </a:solidFill>
              <a:effectLst/>
              <a:uLnTx/>
              <a:uFillTx/>
              <a:latin typeface="Ericsson Hilda"/>
              <a:ea typeface="+mn-ea"/>
              <a:cs typeface="+mn-cs"/>
            </a:endParaRPr>
          </a:p>
        </p:txBody>
      </p:sp>
      <p:sp>
        <p:nvSpPr>
          <p:cNvPr id="16" name="Rectangle 15">
            <a:extLst>
              <a:ext uri="{FF2B5EF4-FFF2-40B4-BE49-F238E27FC236}">
                <a16:creationId xmlns:a16="http://schemas.microsoft.com/office/drawing/2014/main" id="{198E8A7D-FE76-4B49-A44B-A625DCA325CC}"/>
              </a:ext>
            </a:extLst>
          </p:cNvPr>
          <p:cNvSpPr/>
          <p:nvPr/>
        </p:nvSpPr>
        <p:spPr bwMode="auto">
          <a:xfrm>
            <a:off x="505916" y="4547732"/>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50000"/>
              </a:spcBef>
              <a:spcAft>
                <a:spcPct val="0"/>
              </a:spcAft>
              <a:defRPr/>
            </a:pPr>
            <a:r>
              <a:rPr lang="en-US" sz="1600">
                <a:solidFill>
                  <a:srgbClr val="FFFFFF"/>
                </a:solidFill>
              </a:rPr>
              <a:t>CR  other Category Description</a:t>
            </a:r>
            <a:endParaRPr lang="en-US" dirty="0">
              <a:solidFill>
                <a:srgbClr val="FFFFFF"/>
              </a:solidFill>
            </a:endParaRPr>
          </a:p>
        </p:txBody>
      </p:sp>
      <p:sp>
        <p:nvSpPr>
          <p:cNvPr id="18" name="Rectangle 17">
            <a:extLst>
              <a:ext uri="{FF2B5EF4-FFF2-40B4-BE49-F238E27FC236}">
                <a16:creationId xmlns:a16="http://schemas.microsoft.com/office/drawing/2014/main" id="{728A5B50-4CC3-4774-918E-5C5900256711}"/>
              </a:ext>
            </a:extLst>
          </p:cNvPr>
          <p:cNvSpPr/>
          <p:nvPr/>
        </p:nvSpPr>
        <p:spPr bwMode="auto">
          <a:xfrm>
            <a:off x="269877" y="567274"/>
            <a:ext cx="2386238" cy="5614028"/>
          </a:xfrm>
          <a:prstGeom prst="rect">
            <a:avLst/>
          </a:prstGeom>
          <a:noFill/>
          <a:ln w="57150" cap="flat" cmpd="sng" algn="ctr">
            <a:solidFill>
              <a:srgbClr val="92D050"/>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Ericsson Hilda"/>
              <a:ea typeface="+mn-ea"/>
              <a:cs typeface="+mn-cs"/>
            </a:endParaRPr>
          </a:p>
        </p:txBody>
      </p:sp>
      <p:sp>
        <p:nvSpPr>
          <p:cNvPr id="19" name="Rectangle 18">
            <a:extLst>
              <a:ext uri="{FF2B5EF4-FFF2-40B4-BE49-F238E27FC236}">
                <a16:creationId xmlns:a16="http://schemas.microsoft.com/office/drawing/2014/main" id="{D61E2896-8229-4237-975B-BB8B3777CBEB}"/>
              </a:ext>
            </a:extLst>
          </p:cNvPr>
          <p:cNvSpPr/>
          <p:nvPr/>
        </p:nvSpPr>
        <p:spPr bwMode="auto">
          <a:xfrm>
            <a:off x="505916" y="2186374"/>
            <a:ext cx="1963108" cy="962526"/>
          </a:xfrm>
          <a:prstGeom prst="rect">
            <a:avLst/>
          </a:prstGeom>
          <a:solidFill>
            <a:srgbClr val="84D300"/>
          </a:solidFill>
          <a:ln w="12700" cap="flat" cmpd="sng" algn="ctr">
            <a:solidFill>
              <a:srgbClr val="92D050"/>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Ericsson Hilda"/>
                <a:ea typeface="+mn-ea"/>
                <a:cs typeface="+mn-cs"/>
              </a:rPr>
              <a:t>CR  AoS &amp; Status</a:t>
            </a:r>
            <a:endParaRPr kumimoji="0" lang="en-US" sz="1600" b="0" i="0" u="none" strike="noStrike" kern="1200" cap="none" spc="0" normalizeH="0" baseline="0" noProof="0" dirty="0">
              <a:ln>
                <a:noFill/>
              </a:ln>
              <a:solidFill>
                <a:srgbClr val="FF3232"/>
              </a:solidFill>
              <a:effectLst/>
              <a:uLnTx/>
              <a:uFillTx/>
              <a:latin typeface="Ericsson Hilda"/>
              <a:ea typeface="+mn-ea"/>
              <a:cs typeface="+mn-cs"/>
            </a:endParaRPr>
          </a:p>
        </p:txBody>
      </p:sp>
      <p:sp>
        <p:nvSpPr>
          <p:cNvPr id="3" name="Rectangle 2">
            <a:extLst>
              <a:ext uri="{FF2B5EF4-FFF2-40B4-BE49-F238E27FC236}">
                <a16:creationId xmlns:a16="http://schemas.microsoft.com/office/drawing/2014/main" id="{2AFE6A04-2BED-4644-ACC2-027A476EF2F6}"/>
              </a:ext>
            </a:extLst>
          </p:cNvPr>
          <p:cNvSpPr/>
          <p:nvPr/>
        </p:nvSpPr>
        <p:spPr bwMode="auto">
          <a:xfrm>
            <a:off x="2913924" y="0"/>
            <a:ext cx="9278076" cy="6858000"/>
          </a:xfrm>
          <a:prstGeom prst="rect">
            <a:avLst/>
          </a:prstGeom>
          <a:solidFill>
            <a:schemeClr val="bg1"/>
          </a:solidFill>
          <a:ln w="12700" cap="flat" cmpd="sng" algn="ctr">
            <a:solidFill>
              <a:srgbClr val="92D05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fontAlgn="base">
              <a:spcBef>
                <a:spcPct val="50000"/>
              </a:spcBef>
              <a:spcAft>
                <a:spcPct val="0"/>
              </a:spcAf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a:ln>
                <a:noFill/>
              </a:ln>
              <a:solidFill>
                <a:schemeClr val="bg1"/>
              </a:solidFill>
              <a:effectLst/>
              <a:latin typeface="+mn-lt"/>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a:ln>
                <a:noFill/>
              </a:ln>
              <a:solidFill>
                <a:schemeClr val="bg1"/>
              </a:solidFill>
              <a:effectLst/>
              <a:latin typeface="+mn-lt"/>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p:txBody>
      </p:sp>
      <p:sp>
        <p:nvSpPr>
          <p:cNvPr id="36" name="TextBox 35">
            <a:extLst>
              <a:ext uri="{FF2B5EF4-FFF2-40B4-BE49-F238E27FC236}">
                <a16:creationId xmlns:a16="http://schemas.microsoft.com/office/drawing/2014/main" id="{61F9FF38-58D9-4353-ABC8-D9D7C3A91A4F}"/>
              </a:ext>
            </a:extLst>
          </p:cNvPr>
          <p:cNvSpPr txBox="1"/>
          <p:nvPr/>
        </p:nvSpPr>
        <p:spPr bwMode="auto">
          <a:xfrm>
            <a:off x="1044525" y="899266"/>
            <a:ext cx="1448710" cy="52879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600" dirty="0"/>
              <a:t>Change request </a:t>
            </a:r>
          </a:p>
          <a:p>
            <a:pPr>
              <a:buClr>
                <a:schemeClr val="tx1"/>
              </a:buClr>
            </a:pPr>
            <a:endParaRPr lang="en-US" sz="1600" dirty="0"/>
          </a:p>
        </p:txBody>
      </p:sp>
      <p:sp>
        <p:nvSpPr>
          <p:cNvPr id="35" name="Rectangle 34">
            <a:extLst>
              <a:ext uri="{FF2B5EF4-FFF2-40B4-BE49-F238E27FC236}">
                <a16:creationId xmlns:a16="http://schemas.microsoft.com/office/drawing/2014/main" id="{CC03EC0E-2877-4F7D-84E9-CC96FE0276A6}"/>
              </a:ext>
            </a:extLst>
          </p:cNvPr>
          <p:cNvSpPr/>
          <p:nvPr/>
        </p:nvSpPr>
        <p:spPr bwMode="auto">
          <a:xfrm>
            <a:off x="3110155" y="303838"/>
            <a:ext cx="8811968" cy="155680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chemeClr val="bg1">
                  <a:lumMod val="50000"/>
                </a:schemeClr>
              </a:solidFill>
            </a:endParaRPr>
          </a:p>
        </p:txBody>
      </p:sp>
      <p:sp>
        <p:nvSpPr>
          <p:cNvPr id="62" name="Freeform 3">
            <a:extLst>
              <a:ext uri="{FF2B5EF4-FFF2-40B4-BE49-F238E27FC236}">
                <a16:creationId xmlns:a16="http://schemas.microsoft.com/office/drawing/2014/main" id="{5869EDB8-061A-4B58-9FCA-2CA01382B8B2}"/>
              </a:ext>
            </a:extLst>
          </p:cNvPr>
          <p:cNvSpPr>
            <a:spLocks noChangeAspect="1" noEditPoints="1"/>
          </p:cNvSpPr>
          <p:nvPr/>
        </p:nvSpPr>
        <p:spPr bwMode="auto">
          <a:xfrm>
            <a:off x="473782" y="882072"/>
            <a:ext cx="490260" cy="640080"/>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rgbClr val="84D300"/>
          </a:solidFill>
          <a:ln w="9525">
            <a:solidFill>
              <a:srgbClr val="92D050"/>
            </a:solidFill>
            <a:round/>
            <a:headEnd/>
            <a:tailEnd/>
          </a:ln>
          <a:extLst/>
        </p:spPr>
        <p:txBody>
          <a:bodyPr/>
          <a:lstStyle/>
          <a:p>
            <a:endParaRPr lang="en-US"/>
          </a:p>
        </p:txBody>
      </p:sp>
      <p:graphicFrame>
        <p:nvGraphicFramePr>
          <p:cNvPr id="22" name="Table 21">
            <a:extLst>
              <a:ext uri="{FF2B5EF4-FFF2-40B4-BE49-F238E27FC236}">
                <a16:creationId xmlns:a16="http://schemas.microsoft.com/office/drawing/2014/main" id="{A57B2D20-89A5-4D65-AA29-3A59383E8997}"/>
              </a:ext>
            </a:extLst>
          </p:cNvPr>
          <p:cNvGraphicFramePr>
            <a:graphicFrameLocks noGrp="1"/>
          </p:cNvGraphicFramePr>
          <p:nvPr>
            <p:extLst>
              <p:ext uri="{D42A27DB-BD31-4B8C-83A1-F6EECF244321}">
                <p14:modId xmlns:p14="http://schemas.microsoft.com/office/powerpoint/2010/main" val="135489371"/>
              </p:ext>
            </p:extLst>
          </p:nvPr>
        </p:nvGraphicFramePr>
        <p:xfrm>
          <a:off x="3186961" y="2183364"/>
          <a:ext cx="8343900" cy="4398376"/>
        </p:xfrm>
        <a:graphic>
          <a:graphicData uri="http://schemas.openxmlformats.org/drawingml/2006/table">
            <a:tbl>
              <a:tblPr firstRow="1" bandRow="1">
                <a:tableStyleId>{073A0DAA-6AF3-43AB-8588-CEC1D06C72B9}</a:tableStyleId>
              </a:tblPr>
              <a:tblGrid>
                <a:gridCol w="1135743">
                  <a:extLst>
                    <a:ext uri="{9D8B030D-6E8A-4147-A177-3AD203B41FA5}">
                      <a16:colId xmlns:a16="http://schemas.microsoft.com/office/drawing/2014/main" val="20000"/>
                    </a:ext>
                  </a:extLst>
                </a:gridCol>
                <a:gridCol w="1451428">
                  <a:extLst>
                    <a:ext uri="{9D8B030D-6E8A-4147-A177-3AD203B41FA5}">
                      <a16:colId xmlns:a16="http://schemas.microsoft.com/office/drawing/2014/main" val="20001"/>
                    </a:ext>
                  </a:extLst>
                </a:gridCol>
                <a:gridCol w="3534229">
                  <a:extLst>
                    <a:ext uri="{9D8B030D-6E8A-4147-A177-3AD203B41FA5}">
                      <a16:colId xmlns:a16="http://schemas.microsoft.com/office/drawing/2014/main" val="20002"/>
                    </a:ext>
                  </a:extLst>
                </a:gridCol>
                <a:gridCol w="2222500">
                  <a:extLst>
                    <a:ext uri="{9D8B030D-6E8A-4147-A177-3AD203B41FA5}">
                      <a16:colId xmlns:a16="http://schemas.microsoft.com/office/drawing/2014/main" val="20003"/>
                    </a:ext>
                  </a:extLst>
                </a:gridCol>
              </a:tblGrid>
              <a:tr h="270748">
                <a:tc>
                  <a:txBody>
                    <a:bodyPr/>
                    <a:lstStyle/>
                    <a:p>
                      <a:r>
                        <a:rPr lang="en-US" sz="1600" dirty="0"/>
                        <a:t>Stage</a:t>
                      </a:r>
                    </a:p>
                  </a:txBody>
                  <a:tcPr/>
                </a:tc>
                <a:tc>
                  <a:txBody>
                    <a:bodyPr/>
                    <a:lstStyle/>
                    <a:p>
                      <a:r>
                        <a:rPr lang="en-US" sz="1600" dirty="0"/>
                        <a:t>Status</a:t>
                      </a:r>
                    </a:p>
                  </a:txBody>
                  <a:tcPr/>
                </a:tc>
                <a:tc>
                  <a:txBody>
                    <a:bodyPr/>
                    <a:lstStyle/>
                    <a:p>
                      <a:r>
                        <a:rPr lang="en-US" sz="1600" dirty="0"/>
                        <a:t>Status Description</a:t>
                      </a:r>
                    </a:p>
                  </a:txBody>
                  <a:tcPr/>
                </a:tc>
                <a:tc>
                  <a:txBody>
                    <a:bodyPr/>
                    <a:lstStyle/>
                    <a:p>
                      <a:r>
                        <a:rPr lang="en-US" sz="1600" dirty="0"/>
                        <a:t>WF in Chronos</a:t>
                      </a:r>
                    </a:p>
                  </a:txBody>
                  <a:tcPr/>
                </a:tc>
                <a:extLst>
                  <a:ext uri="{0D108BD9-81ED-4DB2-BD59-A6C34878D82A}">
                    <a16:rowId xmlns:a16="http://schemas.microsoft.com/office/drawing/2014/main" val="10000"/>
                  </a:ext>
                </a:extLst>
              </a:tr>
              <a:tr h="333799">
                <a:tc>
                  <a:txBody>
                    <a:bodyPr/>
                    <a:lstStyle/>
                    <a:p>
                      <a:r>
                        <a:rPr lang="en-US" sz="1100" dirty="0"/>
                        <a:t>New</a:t>
                      </a:r>
                    </a:p>
                  </a:txBody>
                  <a:tcPr/>
                </a:tc>
                <a:tc>
                  <a:txBody>
                    <a:bodyPr/>
                    <a:lstStyle/>
                    <a:p>
                      <a:r>
                        <a:rPr lang="en-US" sz="1100" dirty="0"/>
                        <a:t>Raised</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The CR is registered and given an Ericsson ID</a:t>
                      </a:r>
                      <a:endParaRPr lang="en-GB"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utomatic status</a:t>
                      </a:r>
                      <a:r>
                        <a:rPr lang="en-US" sz="1000" baseline="0" dirty="0"/>
                        <a:t> assigned after the CR is saved</a:t>
                      </a:r>
                      <a:endParaRPr lang="en-US" sz="1000" dirty="0">
                        <a:solidFill>
                          <a:schemeClr val="tx1"/>
                        </a:solidFill>
                      </a:endParaRPr>
                    </a:p>
                  </a:txBody>
                  <a:tcPr/>
                </a:tc>
                <a:extLst>
                  <a:ext uri="{0D108BD9-81ED-4DB2-BD59-A6C34878D82A}">
                    <a16:rowId xmlns:a16="http://schemas.microsoft.com/office/drawing/2014/main" val="10001"/>
                  </a:ext>
                </a:extLst>
              </a:tr>
              <a:tr h="333799">
                <a:tc rowSpan="5">
                  <a:txBody>
                    <a:bodyPr/>
                    <a:lstStyle/>
                    <a:p>
                      <a:r>
                        <a:rPr lang="en-US" sz="1100" dirty="0"/>
                        <a:t/>
                      </a:r>
                      <a:br>
                        <a:rPr lang="en-US" sz="1100" dirty="0"/>
                      </a:br>
                      <a:r>
                        <a:rPr lang="en-US" sz="1100" dirty="0"/>
                        <a:t/>
                      </a:r>
                      <a:br>
                        <a:rPr lang="en-US" sz="1100" dirty="0"/>
                      </a:br>
                      <a:r>
                        <a:rPr lang="en-US" sz="1100" dirty="0"/>
                        <a:t/>
                      </a:r>
                      <a:br>
                        <a:rPr lang="en-US" sz="1100" dirty="0"/>
                      </a:br>
                      <a:r>
                        <a:rPr lang="en-US" sz="1100" dirty="0"/>
                        <a:t>In Progress</a:t>
                      </a:r>
                    </a:p>
                  </a:txBody>
                  <a:tcPr/>
                </a:tc>
                <a:tc>
                  <a:txBody>
                    <a:bodyPr/>
                    <a:lstStyle/>
                    <a:p>
                      <a:r>
                        <a:rPr lang="en-US" sz="1100" dirty="0"/>
                        <a:t>Analyzed</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The CR is found to be “a real CR” (change cost, time or scope) and will be handled by the CCB</a:t>
                      </a:r>
                      <a:endParaRPr lang="en-US"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Manual status (optional)</a:t>
                      </a:r>
                      <a:endParaRPr lang="en-US" sz="1000" dirty="0">
                        <a:solidFill>
                          <a:schemeClr val="tx1"/>
                        </a:solidFill>
                      </a:endParaRPr>
                    </a:p>
                  </a:txBody>
                  <a:tcPr/>
                </a:tc>
                <a:extLst>
                  <a:ext uri="{0D108BD9-81ED-4DB2-BD59-A6C34878D82A}">
                    <a16:rowId xmlns:a16="http://schemas.microsoft.com/office/drawing/2014/main" val="10002"/>
                  </a:ext>
                </a:extLst>
              </a:tr>
              <a:tr h="333799">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r>
                        <a:rPr lang="en-US" sz="1100" dirty="0"/>
                        <a:t>Proposed</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Solution presented to customer</a:t>
                      </a:r>
                      <a:endParaRPr lang="en-GB"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Manual status (optional)</a:t>
                      </a:r>
                      <a:endParaRPr lang="en-US" sz="1000" dirty="0">
                        <a:solidFill>
                          <a:schemeClr val="tx1"/>
                        </a:solidFill>
                      </a:endParaRPr>
                    </a:p>
                  </a:txBody>
                  <a:tcPr/>
                </a:tc>
                <a:extLst>
                  <a:ext uri="{0D108BD9-81ED-4DB2-BD59-A6C34878D82A}">
                    <a16:rowId xmlns:a16="http://schemas.microsoft.com/office/drawing/2014/main" val="10003"/>
                  </a:ext>
                </a:extLst>
              </a:tr>
              <a:tr h="27074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strike="sngStrike" baseline="0" dirty="0">
                        <a:solidFill>
                          <a:srgbClr val="C00000"/>
                        </a:solidFill>
                      </a:endParaRPr>
                    </a:p>
                  </a:txBody>
                  <a:tcPr/>
                </a:tc>
                <a:tc>
                  <a:txBody>
                    <a:bodyPr/>
                    <a:lstStyle/>
                    <a:p>
                      <a:r>
                        <a:rPr lang="en-US" sz="1100" strike="noStrike" dirty="0"/>
                        <a:t>Postponed</a:t>
                      </a:r>
                      <a:endParaRPr lang="en-US" sz="1100" b="1" strike="noStrike" dirty="0">
                        <a:solidFill>
                          <a:schemeClr val="tx1"/>
                        </a:solidFill>
                        <a:latin typeface="+mn-lt"/>
                      </a:endParaRPr>
                    </a:p>
                  </a:txBody>
                  <a:tcPr/>
                </a:tc>
                <a:tc>
                  <a:txBody>
                    <a:bodyPr/>
                    <a:lstStyle/>
                    <a:p>
                      <a:r>
                        <a:rPr lang="en-US" sz="1000" strike="noStrike" dirty="0"/>
                        <a:t>The decision for the CR is postponed by Ericsson or Customer. (work on CR temporary halted) follow-up date is to be noted in CR log</a:t>
                      </a:r>
                      <a:endParaRPr lang="en-US" sz="1000" strike="noStrike" dirty="0">
                        <a:solidFill>
                          <a:schemeClr val="tx1">
                            <a:lumMod val="50000"/>
                          </a:schemeClr>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strike="noStrike" dirty="0"/>
                        <a:t>Manual status (optional)</a:t>
                      </a:r>
                      <a:endParaRPr lang="en-US" sz="1000" strike="noStrike" dirty="0">
                        <a:solidFill>
                          <a:schemeClr val="tx1">
                            <a:lumMod val="50000"/>
                          </a:schemeClr>
                        </a:solidFill>
                      </a:endParaRPr>
                    </a:p>
                  </a:txBody>
                  <a:tcPr/>
                </a:tc>
                <a:extLst>
                  <a:ext uri="{0D108BD9-81ED-4DB2-BD59-A6C34878D82A}">
                    <a16:rowId xmlns:a16="http://schemas.microsoft.com/office/drawing/2014/main" val="10004"/>
                  </a:ext>
                </a:extLst>
              </a:tr>
              <a:tr h="333799">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r>
                        <a:rPr lang="en-US" sz="1100" dirty="0"/>
                        <a:t>Approved</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The customer and Ericsson has decided to implemented the CR</a:t>
                      </a:r>
                      <a:endParaRPr lang="en-US"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utomatic</a:t>
                      </a:r>
                      <a:r>
                        <a:rPr lang="en-US" sz="1000" baseline="0" dirty="0"/>
                        <a:t> status assigned after approval by CCB Lead</a:t>
                      </a:r>
                      <a:endParaRPr lang="en-US" sz="1000" dirty="0">
                        <a:solidFill>
                          <a:schemeClr val="tx1"/>
                        </a:solidFill>
                      </a:endParaRPr>
                    </a:p>
                  </a:txBody>
                  <a:tcPr/>
                </a:tc>
                <a:extLst>
                  <a:ext uri="{0D108BD9-81ED-4DB2-BD59-A6C34878D82A}">
                    <a16:rowId xmlns:a16="http://schemas.microsoft.com/office/drawing/2014/main" val="10005"/>
                  </a:ext>
                </a:extLst>
              </a:tr>
              <a:tr h="32726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r>
                        <a:rPr lang="en-US" sz="1100" dirty="0"/>
                        <a:t>Implemented</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The CR is successfully implemented</a:t>
                      </a:r>
                      <a:endParaRPr lang="en-US"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Manual status (optional)</a:t>
                      </a:r>
                      <a:endParaRPr lang="en-US" sz="1000" dirty="0">
                        <a:solidFill>
                          <a:schemeClr val="tx1"/>
                        </a:solidFill>
                      </a:endParaRPr>
                    </a:p>
                  </a:txBody>
                  <a:tcPr/>
                </a:tc>
                <a:extLst>
                  <a:ext uri="{0D108BD9-81ED-4DB2-BD59-A6C34878D82A}">
                    <a16:rowId xmlns:a16="http://schemas.microsoft.com/office/drawing/2014/main" val="10006"/>
                  </a:ext>
                </a:extLst>
              </a:tr>
              <a:tr h="333799">
                <a:tc>
                  <a:txBody>
                    <a:bodyPr/>
                    <a:lstStyle/>
                    <a:p>
                      <a:r>
                        <a:rPr lang="en-US" altLang="ja-JP" sz="1100" dirty="0"/>
                        <a:t>Escalated</a:t>
                      </a:r>
                      <a:endParaRPr lang="en-US" sz="1100" dirty="0"/>
                    </a:p>
                  </a:txBody>
                  <a:tcPr/>
                </a:tc>
                <a:tc>
                  <a:txBody>
                    <a:bodyPr/>
                    <a:lstStyle/>
                    <a:p>
                      <a:r>
                        <a:rPr lang="en-US" sz="1100" dirty="0"/>
                        <a:t>Escalated</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The CR has to be decided at a higher level</a:t>
                      </a:r>
                      <a:endParaRPr lang="en-GB"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utomatic status assigned</a:t>
                      </a:r>
                      <a:r>
                        <a:rPr lang="en-US" sz="1000" baseline="0" dirty="0"/>
                        <a:t> after escalation by CCB Lead</a:t>
                      </a:r>
                      <a:endParaRPr lang="en-US" sz="1000" dirty="0">
                        <a:solidFill>
                          <a:schemeClr val="tx1"/>
                        </a:solidFill>
                      </a:endParaRPr>
                    </a:p>
                  </a:txBody>
                  <a:tcPr/>
                </a:tc>
                <a:extLst>
                  <a:ext uri="{0D108BD9-81ED-4DB2-BD59-A6C34878D82A}">
                    <a16:rowId xmlns:a16="http://schemas.microsoft.com/office/drawing/2014/main" val="10007"/>
                  </a:ext>
                </a:extLst>
              </a:tr>
              <a:tr h="333799">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100" dirty="0"/>
                        <a:t/>
                      </a:r>
                      <a:br>
                        <a:rPr lang="en-US" altLang="ja-JP" sz="1100" dirty="0"/>
                      </a:br>
                      <a:r>
                        <a:rPr lang="en-US" altLang="ja-JP" sz="1100" dirty="0"/>
                        <a:t/>
                      </a:r>
                      <a:br>
                        <a:rPr lang="en-US" altLang="ja-JP" sz="1100" dirty="0"/>
                      </a:br>
                      <a:r>
                        <a:rPr lang="en-US" altLang="ja-JP" sz="1100" dirty="0"/>
                        <a:t/>
                      </a:r>
                      <a:br>
                        <a:rPr lang="en-US" altLang="ja-JP" sz="1100" dirty="0"/>
                      </a:br>
                      <a:r>
                        <a:rPr lang="en-US" altLang="ja-JP" sz="1100" dirty="0"/>
                        <a:t>Closed</a:t>
                      </a:r>
                      <a:endParaRPr lang="en-US" sz="11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Signed off</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The CR is implemented</a:t>
                      </a:r>
                      <a:r>
                        <a:rPr lang="en-US" sz="1000" baseline="0" dirty="0"/>
                        <a:t> and accepted by customer</a:t>
                      </a:r>
                      <a:endParaRPr lang="en-US"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Manual status (optional)</a:t>
                      </a:r>
                      <a:endParaRPr lang="en-US" sz="1000" dirty="0">
                        <a:solidFill>
                          <a:schemeClr val="tx1"/>
                        </a:solidFill>
                      </a:endParaRPr>
                    </a:p>
                  </a:txBody>
                  <a:tcPr/>
                </a:tc>
                <a:extLst>
                  <a:ext uri="{0D108BD9-81ED-4DB2-BD59-A6C34878D82A}">
                    <a16:rowId xmlns:a16="http://schemas.microsoft.com/office/drawing/2014/main" val="10008"/>
                  </a:ext>
                </a:extLst>
              </a:tr>
              <a:tr h="467318">
                <a:tc vMerge="1">
                  <a:txBody>
                    <a:bodyPr/>
                    <a:lstStyle/>
                    <a:p>
                      <a:endParaRPr lang="en-US" sz="1600" dirty="0"/>
                    </a:p>
                  </a:txBody>
                  <a:tcPr/>
                </a:tc>
                <a:tc>
                  <a:txBody>
                    <a:bodyPr/>
                    <a:lstStyle/>
                    <a:p>
                      <a:r>
                        <a:rPr lang="en-US" sz="1100" dirty="0"/>
                        <a:t>Cancelled</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The customer has stopped the CR</a:t>
                      </a:r>
                      <a:endParaRPr lang="en-GB"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utomatic status assigned</a:t>
                      </a:r>
                      <a:r>
                        <a:rPr lang="en-US" sz="1000" baseline="0" dirty="0"/>
                        <a:t> after cancellation by CCB Lead</a:t>
                      </a:r>
                      <a:endParaRPr lang="en-US" sz="1000" dirty="0">
                        <a:solidFill>
                          <a:schemeClr val="tx1"/>
                        </a:solidFill>
                      </a:endParaRPr>
                    </a:p>
                  </a:txBody>
                  <a:tcPr/>
                </a:tc>
                <a:extLst>
                  <a:ext uri="{0D108BD9-81ED-4DB2-BD59-A6C34878D82A}">
                    <a16:rowId xmlns:a16="http://schemas.microsoft.com/office/drawing/2014/main" val="10009"/>
                  </a:ext>
                </a:extLst>
              </a:tr>
              <a:tr h="467318">
                <a:tc vMerge="1">
                  <a:txBody>
                    <a:bodyPr/>
                    <a:lstStyle/>
                    <a:p>
                      <a:endParaRPr lang="en-US" sz="1600" dirty="0"/>
                    </a:p>
                  </a:txBody>
                  <a:tcPr/>
                </a:tc>
                <a:tc>
                  <a:txBody>
                    <a:bodyPr/>
                    <a:lstStyle/>
                    <a:p>
                      <a:r>
                        <a:rPr lang="en-US" sz="1100" dirty="0"/>
                        <a:t>Rejected</a:t>
                      </a:r>
                      <a:endParaRPr lang="en-US" sz="1100" b="1"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The CCB or steering committee has stopped the CR. The CR is not within the scope of the project or is not a CR.</a:t>
                      </a:r>
                      <a:endParaRPr lang="en-GB" sz="10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utomatic status assigned</a:t>
                      </a:r>
                      <a:r>
                        <a:rPr lang="en-US" sz="1000" baseline="0" dirty="0"/>
                        <a:t> after rejection by CCB Lead</a:t>
                      </a:r>
                      <a:endParaRPr lang="en-US" sz="1000" dirty="0">
                        <a:solidFill>
                          <a:schemeClr val="tx1"/>
                        </a:solidFill>
                      </a:endParaRPr>
                    </a:p>
                  </a:txBody>
                  <a:tcPr/>
                </a:tc>
                <a:extLst>
                  <a:ext uri="{0D108BD9-81ED-4DB2-BD59-A6C34878D82A}">
                    <a16:rowId xmlns:a16="http://schemas.microsoft.com/office/drawing/2014/main" val="10010"/>
                  </a:ext>
                </a:extLst>
              </a:tr>
            </a:tbl>
          </a:graphicData>
        </a:graphic>
      </p:graphicFrame>
      <p:graphicFrame>
        <p:nvGraphicFramePr>
          <p:cNvPr id="4" name="Table 3">
            <a:extLst>
              <a:ext uri="{FF2B5EF4-FFF2-40B4-BE49-F238E27FC236}">
                <a16:creationId xmlns:a16="http://schemas.microsoft.com/office/drawing/2014/main" id="{26B184CE-9932-4F7D-BE56-F90554CA4799}"/>
              </a:ext>
            </a:extLst>
          </p:cNvPr>
          <p:cNvGraphicFramePr>
            <a:graphicFrameLocks noGrp="1"/>
          </p:cNvGraphicFramePr>
          <p:nvPr>
            <p:extLst>
              <p:ext uri="{D42A27DB-BD31-4B8C-83A1-F6EECF244321}">
                <p14:modId xmlns:p14="http://schemas.microsoft.com/office/powerpoint/2010/main" val="2939993019"/>
              </p:ext>
            </p:extLst>
          </p:nvPr>
        </p:nvGraphicFramePr>
        <p:xfrm>
          <a:off x="3186961" y="204612"/>
          <a:ext cx="8343900" cy="1918101"/>
        </p:xfrm>
        <a:graphic>
          <a:graphicData uri="http://schemas.openxmlformats.org/drawingml/2006/table">
            <a:tbl>
              <a:tblPr firstRow="1" bandRow="1">
                <a:tableStyleId>{073A0DAA-6AF3-43AB-8588-CEC1D06C72B9}</a:tableStyleId>
              </a:tblPr>
              <a:tblGrid>
                <a:gridCol w="546224">
                  <a:extLst>
                    <a:ext uri="{9D8B030D-6E8A-4147-A177-3AD203B41FA5}">
                      <a16:colId xmlns:a16="http://schemas.microsoft.com/office/drawing/2014/main" val="1806894326"/>
                    </a:ext>
                  </a:extLst>
                </a:gridCol>
                <a:gridCol w="1780605">
                  <a:extLst>
                    <a:ext uri="{9D8B030D-6E8A-4147-A177-3AD203B41FA5}">
                      <a16:colId xmlns:a16="http://schemas.microsoft.com/office/drawing/2014/main" val="2265237403"/>
                    </a:ext>
                  </a:extLst>
                </a:gridCol>
                <a:gridCol w="1870927">
                  <a:extLst>
                    <a:ext uri="{9D8B030D-6E8A-4147-A177-3AD203B41FA5}">
                      <a16:colId xmlns:a16="http://schemas.microsoft.com/office/drawing/2014/main" val="3071795232"/>
                    </a:ext>
                  </a:extLst>
                </a:gridCol>
                <a:gridCol w="4146144">
                  <a:extLst>
                    <a:ext uri="{9D8B030D-6E8A-4147-A177-3AD203B41FA5}">
                      <a16:colId xmlns:a16="http://schemas.microsoft.com/office/drawing/2014/main" val="185163187"/>
                    </a:ext>
                  </a:extLst>
                </a:gridCol>
              </a:tblGrid>
              <a:tr h="257114">
                <a:tc gridSpan="4">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ko-KR" sz="1200" u="none" strike="noStrike" cap="none" normalizeH="0" baseline="0" dirty="0">
                          <a:ln>
                            <a:noFill/>
                          </a:ln>
                          <a:effectLst/>
                        </a:rPr>
                        <a:t>Category: Add On Sales &amp; Scope Changes</a:t>
                      </a:r>
                      <a:endParaRPr kumimoji="0" lang="en-US" altLang="ko-KR" sz="1200" b="1" i="0" u="none" strike="noStrike" cap="none" normalizeH="0" baseline="0" dirty="0">
                        <a:ln>
                          <a:noFill/>
                        </a:ln>
                        <a:solidFill>
                          <a:schemeClr val="bg1"/>
                        </a:solidFill>
                        <a:effectLst/>
                        <a:latin typeface="+mn-lt"/>
                        <a:ea typeface="MS PGothic" pitchFamily="34" charset="-128"/>
                      </a:endParaRPr>
                    </a:p>
                  </a:txBody>
                  <a:tcPr marL="91447" marR="91447" marT="45728" marB="45728" anchor="ctr" horzOverflow="overflow"/>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ko-KR" sz="1600" b="1" i="0" u="none" strike="noStrike" cap="none" normalizeH="0" baseline="0" dirty="0">
                        <a:ln>
                          <a:noFill/>
                        </a:ln>
                        <a:solidFill>
                          <a:schemeClr val="bg1"/>
                        </a:solidFill>
                        <a:effectLst/>
                        <a:latin typeface="Arial" charset="0"/>
                        <a:ea typeface="MS PGothic" pitchFamily="34" charset="-128"/>
                      </a:endParaRPr>
                    </a:p>
                  </a:txBody>
                  <a:tcPr marL="91447" marR="91447" marT="45728" marB="45728" anchor="ctr" horzOverflow="overflow"/>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ko-KR" sz="1600" b="1" i="0" u="none" strike="noStrike" cap="none" normalizeH="0" baseline="0" dirty="0">
                        <a:ln>
                          <a:noFill/>
                        </a:ln>
                        <a:solidFill>
                          <a:schemeClr val="tx1"/>
                        </a:solidFill>
                        <a:effectLst/>
                        <a:latin typeface="Arial" charset="0"/>
                        <a:ea typeface="MS PGothic" pitchFamily="34" charset="-128"/>
                      </a:endParaRPr>
                    </a:p>
                  </a:txBody>
                  <a:tcPr marL="91447" marR="91447" marT="45728" marB="45728" anchor="ctr" horzOverflow="overflow"/>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ko-KR" sz="1200" b="1" i="0" u="none" strike="noStrike" cap="none" normalizeH="0" baseline="0" dirty="0">
                        <a:ln>
                          <a:noFill/>
                        </a:ln>
                        <a:solidFill>
                          <a:schemeClr val="tx1"/>
                        </a:solidFill>
                        <a:effectLst/>
                        <a:latin typeface="Arial" charset="0"/>
                        <a:ea typeface="MS PGothic" pitchFamily="34" charset="-128"/>
                      </a:endParaRPr>
                    </a:p>
                  </a:txBody>
                  <a:tcPr marL="36003" marR="36003" marT="45728" marB="45728" anchor="ctr" horzOverflow="overflow"/>
                </a:tc>
                <a:extLst>
                  <a:ext uri="{0D108BD9-81ED-4DB2-BD59-A6C34878D82A}">
                    <a16:rowId xmlns:a16="http://schemas.microsoft.com/office/drawing/2014/main" val="2240065445"/>
                  </a:ext>
                </a:extLst>
              </a:tr>
              <a:tr h="257114">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ko-KR" sz="1050" u="none" strike="noStrike" cap="none" normalizeH="0" baseline="0" dirty="0">
                          <a:ln>
                            <a:noFill/>
                          </a:ln>
                          <a:effectLst/>
                        </a:rPr>
                        <a:t>Sub-Category</a:t>
                      </a:r>
                      <a:endParaRPr kumimoji="0" lang="en-US" altLang="ko-KR" sz="1050" b="1" i="0" u="none" strike="noStrike" cap="none" normalizeH="0" baseline="0" dirty="0">
                        <a:ln>
                          <a:noFill/>
                        </a:ln>
                        <a:solidFill>
                          <a:schemeClr val="tx1"/>
                        </a:solidFill>
                        <a:effectLst/>
                        <a:latin typeface="+mn-lt"/>
                        <a:ea typeface="MS PGothic" pitchFamily="34" charset="-128"/>
                      </a:endParaRPr>
                    </a:p>
                  </a:txBody>
                  <a:tcPr marL="91447" marR="91447" marT="45728" marB="45728" anchor="ctr" horzOverflow="overflow"/>
                </a:tc>
                <a:tc hMerge="1">
                  <a:txBody>
                    <a:bodyPr/>
                    <a:lstStyle>
                      <a:lvl1pPr>
                        <a:spcBef>
                          <a:spcPct val="20000"/>
                        </a:spcBef>
                        <a:buClr>
                          <a:srgbClr val="00A9D4"/>
                        </a:buClr>
                        <a:buFont typeface="Arial" charset="0"/>
                        <a:defRPr sz="2000">
                          <a:solidFill>
                            <a:schemeClr val="tx1"/>
                          </a:solidFill>
                          <a:latin typeface="Arial" charset="0"/>
                          <a:ea typeface="MS PGothic" pitchFamily="34" charset="-128"/>
                        </a:defRPr>
                      </a:lvl1pPr>
                      <a:lvl2pPr marL="742950" indent="-285750">
                        <a:spcBef>
                          <a:spcPct val="20000"/>
                        </a:spcBef>
                        <a:buClr>
                          <a:schemeClr val="tx1"/>
                        </a:buClr>
                        <a:buFont typeface="Ericsson Capital TT" pitchFamily="2" charset="0"/>
                        <a:defRPr>
                          <a:solidFill>
                            <a:schemeClr val="tx1"/>
                          </a:solidFill>
                          <a:latin typeface="Arial" charset="0"/>
                          <a:ea typeface="MS PGothic" pitchFamily="34" charset="-128"/>
                        </a:defRPr>
                      </a:lvl2pPr>
                      <a:lvl3pPr marL="1143000" indent="-228600">
                        <a:spcBef>
                          <a:spcPct val="20000"/>
                        </a:spcBef>
                        <a:buClr>
                          <a:srgbClr val="92CCE5"/>
                        </a:buClr>
                        <a:buFont typeface="Ericsson Capital TT" pitchFamily="2" charset="0"/>
                        <a:defRPr>
                          <a:solidFill>
                            <a:schemeClr val="tx1"/>
                          </a:solidFill>
                          <a:latin typeface="Arial" charset="0"/>
                          <a:ea typeface="MS PGothic" pitchFamily="34" charset="-128"/>
                        </a:defRPr>
                      </a:lvl3pPr>
                      <a:lvl4pPr marL="1600200" indent="-228600">
                        <a:spcBef>
                          <a:spcPct val="20000"/>
                        </a:spcBef>
                        <a:buClr>
                          <a:schemeClr val="tx1"/>
                        </a:buClr>
                        <a:buFont typeface="Ericsson Capital TT" pitchFamily="2" charset="0"/>
                        <a:defRPr>
                          <a:solidFill>
                            <a:schemeClr val="tx1"/>
                          </a:solidFill>
                          <a:latin typeface="Arial" charset="0"/>
                          <a:ea typeface="MS PGothic" pitchFamily="34" charset="-128"/>
                        </a:defRPr>
                      </a:lvl4pPr>
                      <a:lvl5pPr marL="2057400" indent="-228600">
                        <a:spcBef>
                          <a:spcPct val="20000"/>
                        </a:spcBef>
                        <a:buClr>
                          <a:schemeClr val="tx1"/>
                        </a:buClr>
                        <a:buFont typeface="Ericsson Capital TT" pitchFamily="2" charset="0"/>
                        <a:defRPr>
                          <a:solidFill>
                            <a:schemeClr val="tx1"/>
                          </a:solidFill>
                          <a:latin typeface="Arial" charset="0"/>
                          <a:ea typeface="MS PGothic" pitchFamily="34" charset="-128"/>
                        </a:defRPr>
                      </a:lvl5pPr>
                      <a:lvl6pPr marL="25146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6pPr>
                      <a:lvl7pPr marL="29718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7pPr>
                      <a:lvl8pPr marL="34290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8pPr>
                      <a:lvl9pPr marL="38862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ko-KR" sz="1400" b="1" i="0" u="none" strike="noStrike" cap="none" normalizeH="0" baseline="0" dirty="0">
                        <a:ln>
                          <a:noFill/>
                        </a:ln>
                        <a:solidFill>
                          <a:schemeClr val="tx1"/>
                        </a:solidFill>
                        <a:effectLst/>
                        <a:latin typeface="Arial" charset="0"/>
                        <a:ea typeface="MS PGothic" pitchFamily="34" charset="-128"/>
                      </a:endParaRPr>
                    </a:p>
                  </a:txBody>
                  <a:tcPr marL="91447" marR="91447" marT="45728" marB="45728" anchor="ctr" horzOverflow="overflow"/>
                </a:tc>
                <a:tc>
                  <a:txBody>
                    <a:bodyPr/>
                    <a:lstStyle>
                      <a:lvl1pPr>
                        <a:spcBef>
                          <a:spcPct val="20000"/>
                        </a:spcBef>
                        <a:buClr>
                          <a:srgbClr val="00A9D4"/>
                        </a:buClr>
                        <a:buFont typeface="Arial" charset="0"/>
                        <a:defRPr sz="2000">
                          <a:solidFill>
                            <a:schemeClr val="tx1"/>
                          </a:solidFill>
                          <a:latin typeface="Arial" charset="0"/>
                          <a:ea typeface="MS PGothic" pitchFamily="34" charset="-128"/>
                        </a:defRPr>
                      </a:lvl1pPr>
                      <a:lvl2pPr marL="742950" indent="-285750">
                        <a:spcBef>
                          <a:spcPct val="20000"/>
                        </a:spcBef>
                        <a:buClr>
                          <a:schemeClr val="tx1"/>
                        </a:buClr>
                        <a:buFont typeface="Ericsson Capital TT" pitchFamily="2" charset="0"/>
                        <a:defRPr>
                          <a:solidFill>
                            <a:schemeClr val="tx1"/>
                          </a:solidFill>
                          <a:latin typeface="Arial" charset="0"/>
                          <a:ea typeface="MS PGothic" pitchFamily="34" charset="-128"/>
                        </a:defRPr>
                      </a:lvl2pPr>
                      <a:lvl3pPr marL="1143000" indent="-228600">
                        <a:spcBef>
                          <a:spcPct val="20000"/>
                        </a:spcBef>
                        <a:buClr>
                          <a:srgbClr val="92CCE5"/>
                        </a:buClr>
                        <a:buFont typeface="Ericsson Capital TT" pitchFamily="2" charset="0"/>
                        <a:defRPr>
                          <a:solidFill>
                            <a:schemeClr val="tx1"/>
                          </a:solidFill>
                          <a:latin typeface="Arial" charset="0"/>
                          <a:ea typeface="MS PGothic" pitchFamily="34" charset="-128"/>
                        </a:defRPr>
                      </a:lvl3pPr>
                      <a:lvl4pPr marL="1600200" indent="-228600">
                        <a:spcBef>
                          <a:spcPct val="20000"/>
                        </a:spcBef>
                        <a:buClr>
                          <a:schemeClr val="tx1"/>
                        </a:buClr>
                        <a:buFont typeface="Ericsson Capital TT" pitchFamily="2" charset="0"/>
                        <a:defRPr>
                          <a:solidFill>
                            <a:schemeClr val="tx1"/>
                          </a:solidFill>
                          <a:latin typeface="Arial" charset="0"/>
                          <a:ea typeface="MS PGothic" pitchFamily="34" charset="-128"/>
                        </a:defRPr>
                      </a:lvl4pPr>
                      <a:lvl5pPr marL="2057400" indent="-228600">
                        <a:spcBef>
                          <a:spcPct val="20000"/>
                        </a:spcBef>
                        <a:buClr>
                          <a:schemeClr val="tx1"/>
                        </a:buClr>
                        <a:buFont typeface="Ericsson Capital TT" pitchFamily="2" charset="0"/>
                        <a:defRPr>
                          <a:solidFill>
                            <a:schemeClr val="tx1"/>
                          </a:solidFill>
                          <a:latin typeface="Arial" charset="0"/>
                          <a:ea typeface="MS PGothic" pitchFamily="34" charset="-128"/>
                        </a:defRPr>
                      </a:lvl5pPr>
                      <a:lvl6pPr marL="25146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6pPr>
                      <a:lvl7pPr marL="29718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7pPr>
                      <a:lvl8pPr marL="34290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8pPr>
                      <a:lvl9pPr marL="38862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ko-KR" sz="1050" u="none" strike="noStrike" cap="none" normalizeH="0" baseline="0" dirty="0">
                          <a:ln>
                            <a:noFill/>
                          </a:ln>
                          <a:effectLst/>
                        </a:rPr>
                        <a:t>Short Description</a:t>
                      </a:r>
                      <a:endParaRPr kumimoji="0" lang="en-US" altLang="ko-KR" sz="1050" b="1" i="0" u="none" strike="noStrike" cap="none" normalizeH="0" baseline="0" dirty="0">
                        <a:ln>
                          <a:noFill/>
                        </a:ln>
                        <a:solidFill>
                          <a:schemeClr val="tx1"/>
                        </a:solidFill>
                        <a:effectLst/>
                        <a:latin typeface="+mn-lt"/>
                        <a:ea typeface="MS PGothic" pitchFamily="34" charset="-128"/>
                      </a:endParaRPr>
                    </a:p>
                  </a:txBody>
                  <a:tcPr marL="91447" marR="91447" marT="45728" marB="45728"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ko-KR" sz="1050" u="none" strike="noStrike" cap="none" normalizeH="0" baseline="0" dirty="0">
                          <a:ln>
                            <a:noFill/>
                          </a:ln>
                          <a:effectLst/>
                        </a:rPr>
                        <a:t>Example</a:t>
                      </a:r>
                      <a:endParaRPr kumimoji="0" lang="en-US" altLang="ko-KR" sz="1050" b="1" i="0" u="none" strike="noStrike" cap="none" normalizeH="0" baseline="0" dirty="0">
                        <a:ln>
                          <a:noFill/>
                        </a:ln>
                        <a:solidFill>
                          <a:schemeClr val="bg1"/>
                        </a:solidFill>
                        <a:effectLst/>
                        <a:latin typeface="+mn-lt"/>
                        <a:ea typeface="MS PGothic" pitchFamily="34" charset="-128"/>
                      </a:endParaRPr>
                    </a:p>
                  </a:txBody>
                  <a:tcPr marL="36003" marR="36003" marT="45728" marB="45728" anchor="ctr" horzOverflow="overflow"/>
                </a:tc>
                <a:extLst>
                  <a:ext uri="{0D108BD9-81ED-4DB2-BD59-A6C34878D82A}">
                    <a16:rowId xmlns:a16="http://schemas.microsoft.com/office/drawing/2014/main" val="2433482831"/>
                  </a:ext>
                </a:extLst>
              </a:tr>
              <a:tr h="65512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ko-KR" sz="1050" u="none" strike="noStrike" cap="none" normalizeH="0" baseline="0" dirty="0">
                          <a:ln>
                            <a:noFill/>
                          </a:ln>
                          <a:effectLst/>
                        </a:rPr>
                        <a:t>1.</a:t>
                      </a:r>
                      <a:endParaRPr kumimoji="0" lang="en-US" altLang="ko-KR" sz="1050" b="0" i="0" u="none" strike="noStrike" cap="none" normalizeH="0" baseline="0" dirty="0">
                        <a:ln>
                          <a:noFill/>
                        </a:ln>
                        <a:solidFill>
                          <a:srgbClr val="58585A"/>
                        </a:solidFill>
                        <a:effectLst/>
                        <a:latin typeface="+mn-lt"/>
                        <a:ea typeface="MS PGothic" pitchFamily="34" charset="-128"/>
                      </a:endParaRPr>
                    </a:p>
                  </a:txBody>
                  <a:tcPr marL="91447" marR="91447" marT="45724" marB="45724" horzOverflow="overflow"/>
                </a:tc>
                <a:tc>
                  <a:txBody>
                    <a:bodyPr/>
                    <a:lstStyle>
                      <a:lvl1pPr>
                        <a:spcBef>
                          <a:spcPct val="20000"/>
                        </a:spcBef>
                        <a:buClr>
                          <a:srgbClr val="00A9D4"/>
                        </a:buClr>
                        <a:buFont typeface="Arial" charset="0"/>
                        <a:defRPr sz="2000">
                          <a:solidFill>
                            <a:schemeClr val="tx1"/>
                          </a:solidFill>
                          <a:latin typeface="Arial" charset="0"/>
                          <a:ea typeface="MS PGothic" pitchFamily="34" charset="-128"/>
                        </a:defRPr>
                      </a:lvl1pPr>
                      <a:lvl2pPr marL="742950" indent="-285750">
                        <a:spcBef>
                          <a:spcPct val="20000"/>
                        </a:spcBef>
                        <a:buClr>
                          <a:schemeClr val="tx1"/>
                        </a:buClr>
                        <a:buFont typeface="Ericsson Capital TT" pitchFamily="2" charset="0"/>
                        <a:defRPr>
                          <a:solidFill>
                            <a:schemeClr val="tx1"/>
                          </a:solidFill>
                          <a:latin typeface="Arial" charset="0"/>
                          <a:ea typeface="MS PGothic" pitchFamily="34" charset="-128"/>
                        </a:defRPr>
                      </a:lvl2pPr>
                      <a:lvl3pPr marL="1143000" indent="-228600">
                        <a:spcBef>
                          <a:spcPct val="20000"/>
                        </a:spcBef>
                        <a:buClr>
                          <a:srgbClr val="92CCE5"/>
                        </a:buClr>
                        <a:buFont typeface="Ericsson Capital TT" pitchFamily="2" charset="0"/>
                        <a:defRPr>
                          <a:solidFill>
                            <a:schemeClr val="tx1"/>
                          </a:solidFill>
                          <a:latin typeface="Arial" charset="0"/>
                          <a:ea typeface="MS PGothic" pitchFamily="34" charset="-128"/>
                        </a:defRPr>
                      </a:lvl3pPr>
                      <a:lvl4pPr marL="1600200" indent="-228600">
                        <a:spcBef>
                          <a:spcPct val="20000"/>
                        </a:spcBef>
                        <a:buClr>
                          <a:schemeClr val="tx1"/>
                        </a:buClr>
                        <a:buFont typeface="Ericsson Capital TT" pitchFamily="2" charset="0"/>
                        <a:defRPr>
                          <a:solidFill>
                            <a:schemeClr val="tx1"/>
                          </a:solidFill>
                          <a:latin typeface="Arial" charset="0"/>
                          <a:ea typeface="MS PGothic" pitchFamily="34" charset="-128"/>
                        </a:defRPr>
                      </a:lvl4pPr>
                      <a:lvl5pPr marL="2057400" indent="-228600">
                        <a:spcBef>
                          <a:spcPct val="20000"/>
                        </a:spcBef>
                        <a:buClr>
                          <a:schemeClr val="tx1"/>
                        </a:buClr>
                        <a:buFont typeface="Ericsson Capital TT" pitchFamily="2" charset="0"/>
                        <a:defRPr>
                          <a:solidFill>
                            <a:schemeClr val="tx1"/>
                          </a:solidFill>
                          <a:latin typeface="Arial" charset="0"/>
                          <a:ea typeface="MS PGothic" pitchFamily="34" charset="-128"/>
                        </a:defRPr>
                      </a:lvl5pPr>
                      <a:lvl6pPr marL="25146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6pPr>
                      <a:lvl7pPr marL="29718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7pPr>
                      <a:lvl8pPr marL="34290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8pPr>
                      <a:lvl9pPr marL="38862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ko-KR" sz="1100" u="none" strike="noStrike" cap="none" normalizeH="0" baseline="0" dirty="0">
                          <a:ln>
                            <a:noFill/>
                          </a:ln>
                          <a:effectLst/>
                        </a:rPr>
                        <a:t>Add On Sales</a:t>
                      </a:r>
                      <a:endParaRPr kumimoji="0" lang="en-US" altLang="ko-KR" sz="1100" b="1" i="0" u="none" strike="noStrike" cap="none" normalizeH="0" baseline="0" dirty="0">
                        <a:ln>
                          <a:noFill/>
                        </a:ln>
                        <a:solidFill>
                          <a:schemeClr val="tx1"/>
                        </a:solidFill>
                        <a:effectLst/>
                        <a:latin typeface="+mn-lt"/>
                        <a:ea typeface="MS PGothic" pitchFamily="34" charset="-128"/>
                      </a:endParaRPr>
                    </a:p>
                  </a:txBody>
                  <a:tcPr marL="91447" marR="91447" marT="45724" marB="45724" horzOverflow="overflow"/>
                </a:tc>
                <a:tc>
                  <a:txBody>
                    <a:bodyPr/>
                    <a:lstStyle>
                      <a:lvl1pPr>
                        <a:spcBef>
                          <a:spcPct val="20000"/>
                        </a:spcBef>
                        <a:buClr>
                          <a:srgbClr val="00A9D4"/>
                        </a:buClr>
                        <a:buFont typeface="Arial" charset="0"/>
                        <a:defRPr sz="2000">
                          <a:solidFill>
                            <a:schemeClr val="tx1"/>
                          </a:solidFill>
                          <a:latin typeface="Arial" charset="0"/>
                          <a:ea typeface="MS PGothic" pitchFamily="34" charset="-128"/>
                        </a:defRPr>
                      </a:lvl1pPr>
                      <a:lvl2pPr marL="742950" indent="-285750">
                        <a:spcBef>
                          <a:spcPct val="20000"/>
                        </a:spcBef>
                        <a:buClr>
                          <a:schemeClr val="tx1"/>
                        </a:buClr>
                        <a:buFont typeface="Ericsson Capital TT" pitchFamily="2" charset="0"/>
                        <a:defRPr>
                          <a:solidFill>
                            <a:schemeClr val="tx1"/>
                          </a:solidFill>
                          <a:latin typeface="Arial" charset="0"/>
                          <a:ea typeface="MS PGothic" pitchFamily="34" charset="-128"/>
                        </a:defRPr>
                      </a:lvl2pPr>
                      <a:lvl3pPr marL="1143000" indent="-228600">
                        <a:spcBef>
                          <a:spcPct val="20000"/>
                        </a:spcBef>
                        <a:buClr>
                          <a:srgbClr val="92CCE5"/>
                        </a:buClr>
                        <a:buFont typeface="Ericsson Capital TT" pitchFamily="2" charset="0"/>
                        <a:defRPr>
                          <a:solidFill>
                            <a:schemeClr val="tx1"/>
                          </a:solidFill>
                          <a:latin typeface="Arial" charset="0"/>
                          <a:ea typeface="MS PGothic" pitchFamily="34" charset="-128"/>
                        </a:defRPr>
                      </a:lvl3pPr>
                      <a:lvl4pPr marL="1600200" indent="-228600">
                        <a:spcBef>
                          <a:spcPct val="20000"/>
                        </a:spcBef>
                        <a:buClr>
                          <a:schemeClr val="tx1"/>
                        </a:buClr>
                        <a:buFont typeface="Ericsson Capital TT" pitchFamily="2" charset="0"/>
                        <a:defRPr>
                          <a:solidFill>
                            <a:schemeClr val="tx1"/>
                          </a:solidFill>
                          <a:latin typeface="Arial" charset="0"/>
                          <a:ea typeface="MS PGothic" pitchFamily="34" charset="-128"/>
                        </a:defRPr>
                      </a:lvl4pPr>
                      <a:lvl5pPr marL="2057400" indent="-228600">
                        <a:spcBef>
                          <a:spcPct val="20000"/>
                        </a:spcBef>
                        <a:buClr>
                          <a:schemeClr val="tx1"/>
                        </a:buClr>
                        <a:buFont typeface="Ericsson Capital TT" pitchFamily="2" charset="0"/>
                        <a:defRPr>
                          <a:solidFill>
                            <a:schemeClr val="tx1"/>
                          </a:solidFill>
                          <a:latin typeface="Arial" charset="0"/>
                          <a:ea typeface="MS PGothic" pitchFamily="34" charset="-128"/>
                        </a:defRPr>
                      </a:lvl5pPr>
                      <a:lvl6pPr marL="25146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6pPr>
                      <a:lvl7pPr marL="29718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7pPr>
                      <a:lvl8pPr marL="34290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8pPr>
                      <a:lvl9pPr marL="38862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ko-KR" sz="1050" u="none" strike="noStrike" cap="none" normalizeH="0" baseline="0" dirty="0">
                          <a:ln>
                            <a:noFill/>
                          </a:ln>
                          <a:effectLst/>
                        </a:rPr>
                        <a:t>Initiated by Operations</a:t>
                      </a:r>
                      <a:br>
                        <a:rPr kumimoji="0" lang="en-US" altLang="ko-KR" sz="1050" u="none" strike="noStrike" cap="none" normalizeH="0" baseline="0" dirty="0">
                          <a:ln>
                            <a:noFill/>
                          </a:ln>
                          <a:effectLst/>
                        </a:rPr>
                      </a:br>
                      <a:r>
                        <a:rPr kumimoji="0" lang="en-US" altLang="ko-KR" sz="1050" u="none" strike="noStrike" cap="none" normalizeH="0" baseline="0" dirty="0">
                          <a:ln>
                            <a:noFill/>
                          </a:ln>
                          <a:effectLst/>
                        </a:rPr>
                        <a:t>AoS refer to SDOD</a:t>
                      </a:r>
                      <a:endParaRPr kumimoji="0" lang="en-US" altLang="ko-KR" sz="1050" b="0" i="0" u="none" strike="noStrike" cap="none" normalizeH="0" baseline="0" dirty="0">
                        <a:ln>
                          <a:noFill/>
                        </a:ln>
                        <a:solidFill>
                          <a:schemeClr val="accent2"/>
                        </a:solidFill>
                        <a:effectLst/>
                        <a:latin typeface="+mn-lt"/>
                        <a:ea typeface="MS PGothic" pitchFamily="34" charset="-128"/>
                      </a:endParaRPr>
                    </a:p>
                  </a:txBody>
                  <a:tcPr marL="91447" marR="91447" marT="45724" marB="45724" horzOverflow="overflow"/>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ko-KR" sz="1050" u="none" strike="noStrike" cap="none" normalizeH="0" baseline="0" dirty="0">
                          <a:ln>
                            <a:noFill/>
                          </a:ln>
                          <a:effectLst/>
                        </a:rPr>
                        <a:t>Install and connect new Power Plants for Blue sites to power up the new 850 carriers at 22 sites. Power was not on the scope of the Blue Sites.</a:t>
                      </a:r>
                      <a:endParaRPr kumimoji="0" lang="en-US" altLang="ko-KR" sz="1050" b="0" i="0" u="none" strike="noStrike" cap="none" normalizeH="0" baseline="0" dirty="0">
                        <a:ln>
                          <a:noFill/>
                        </a:ln>
                        <a:solidFill>
                          <a:srgbClr val="58585A"/>
                        </a:solidFill>
                        <a:effectLst/>
                        <a:latin typeface="+mn-lt"/>
                        <a:ea typeface="MS PGothic" pitchFamily="34" charset="-128"/>
                      </a:endParaRPr>
                    </a:p>
                  </a:txBody>
                  <a:tcPr marL="91447" marR="91447" marT="45728" marB="45728" horzOverflow="overflow"/>
                </a:tc>
                <a:extLst>
                  <a:ext uri="{0D108BD9-81ED-4DB2-BD59-A6C34878D82A}">
                    <a16:rowId xmlns:a16="http://schemas.microsoft.com/office/drawing/2014/main" val="3316255935"/>
                  </a:ext>
                </a:extLst>
              </a:tr>
              <a:tr h="65511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ko-KR" sz="1050" u="none" strike="noStrike" cap="none" normalizeH="0" baseline="0" dirty="0">
                          <a:ln>
                            <a:noFill/>
                          </a:ln>
                          <a:effectLst/>
                        </a:rPr>
                        <a:t>2.</a:t>
                      </a:r>
                      <a:endParaRPr kumimoji="0" lang="en-US" altLang="ko-KR" sz="1050" b="0" i="0" u="none" strike="noStrike" cap="none" normalizeH="0" baseline="0" dirty="0">
                        <a:ln>
                          <a:noFill/>
                        </a:ln>
                        <a:solidFill>
                          <a:srgbClr val="58585A"/>
                        </a:solidFill>
                        <a:effectLst/>
                        <a:latin typeface="+mn-lt"/>
                        <a:ea typeface="MS PGothic" pitchFamily="34" charset="-128"/>
                      </a:endParaRPr>
                    </a:p>
                  </a:txBody>
                  <a:tcPr marL="91447" marR="91447" marT="45724" marB="45724" horzOverflow="overflow"/>
                </a:tc>
                <a:tc>
                  <a:txBody>
                    <a:bodyPr/>
                    <a:lstStyle>
                      <a:lvl1pPr>
                        <a:spcBef>
                          <a:spcPct val="20000"/>
                        </a:spcBef>
                        <a:buClr>
                          <a:srgbClr val="00A9D4"/>
                        </a:buClr>
                        <a:buFont typeface="Arial" charset="0"/>
                        <a:defRPr sz="2000">
                          <a:solidFill>
                            <a:schemeClr val="tx1"/>
                          </a:solidFill>
                          <a:latin typeface="Arial" charset="0"/>
                          <a:ea typeface="MS PGothic" pitchFamily="34" charset="-128"/>
                        </a:defRPr>
                      </a:lvl1pPr>
                      <a:lvl2pPr marL="742950" indent="-285750">
                        <a:spcBef>
                          <a:spcPct val="20000"/>
                        </a:spcBef>
                        <a:buClr>
                          <a:schemeClr val="tx1"/>
                        </a:buClr>
                        <a:buFont typeface="Ericsson Capital TT" pitchFamily="2" charset="0"/>
                        <a:defRPr>
                          <a:solidFill>
                            <a:schemeClr val="tx1"/>
                          </a:solidFill>
                          <a:latin typeface="Arial" charset="0"/>
                          <a:ea typeface="MS PGothic" pitchFamily="34" charset="-128"/>
                        </a:defRPr>
                      </a:lvl2pPr>
                      <a:lvl3pPr marL="1143000" indent="-228600">
                        <a:spcBef>
                          <a:spcPct val="20000"/>
                        </a:spcBef>
                        <a:buClr>
                          <a:srgbClr val="92CCE5"/>
                        </a:buClr>
                        <a:buFont typeface="Ericsson Capital TT" pitchFamily="2" charset="0"/>
                        <a:defRPr>
                          <a:solidFill>
                            <a:schemeClr val="tx1"/>
                          </a:solidFill>
                          <a:latin typeface="Arial" charset="0"/>
                          <a:ea typeface="MS PGothic" pitchFamily="34" charset="-128"/>
                        </a:defRPr>
                      </a:lvl3pPr>
                      <a:lvl4pPr marL="1600200" indent="-228600">
                        <a:spcBef>
                          <a:spcPct val="20000"/>
                        </a:spcBef>
                        <a:buClr>
                          <a:schemeClr val="tx1"/>
                        </a:buClr>
                        <a:buFont typeface="Ericsson Capital TT" pitchFamily="2" charset="0"/>
                        <a:defRPr>
                          <a:solidFill>
                            <a:schemeClr val="tx1"/>
                          </a:solidFill>
                          <a:latin typeface="Arial" charset="0"/>
                          <a:ea typeface="MS PGothic" pitchFamily="34" charset="-128"/>
                        </a:defRPr>
                      </a:lvl4pPr>
                      <a:lvl5pPr marL="2057400" indent="-228600">
                        <a:spcBef>
                          <a:spcPct val="20000"/>
                        </a:spcBef>
                        <a:buClr>
                          <a:schemeClr val="tx1"/>
                        </a:buClr>
                        <a:buFont typeface="Ericsson Capital TT" pitchFamily="2" charset="0"/>
                        <a:defRPr>
                          <a:solidFill>
                            <a:schemeClr val="tx1"/>
                          </a:solidFill>
                          <a:latin typeface="Arial" charset="0"/>
                          <a:ea typeface="MS PGothic" pitchFamily="34" charset="-128"/>
                        </a:defRPr>
                      </a:lvl5pPr>
                      <a:lvl6pPr marL="25146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6pPr>
                      <a:lvl7pPr marL="29718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7pPr>
                      <a:lvl8pPr marL="34290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8pPr>
                      <a:lvl9pPr marL="38862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ko-KR" sz="1100" u="none" strike="noStrike" cap="none" normalizeH="0" baseline="0" dirty="0">
                          <a:ln>
                            <a:noFill/>
                          </a:ln>
                          <a:effectLst/>
                        </a:rPr>
                        <a:t>Additional Sales</a:t>
                      </a:r>
                      <a:endParaRPr kumimoji="0" lang="en-US" altLang="ko-KR" sz="1100" b="1" i="0" u="none" strike="noStrike" cap="none" normalizeH="0" baseline="0" dirty="0">
                        <a:ln>
                          <a:noFill/>
                        </a:ln>
                        <a:solidFill>
                          <a:schemeClr val="tx1"/>
                        </a:solidFill>
                        <a:effectLst/>
                        <a:latin typeface="+mn-lt"/>
                        <a:ea typeface="MS PGothic" pitchFamily="34" charset="-128"/>
                      </a:endParaRPr>
                    </a:p>
                  </a:txBody>
                  <a:tcPr marL="91447" marR="91447" marT="45724" marB="45724" horzOverflow="overflow"/>
                </a:tc>
                <a:tc>
                  <a:txBody>
                    <a:bodyPr/>
                    <a:lstStyle>
                      <a:lvl1pPr>
                        <a:spcBef>
                          <a:spcPct val="20000"/>
                        </a:spcBef>
                        <a:buClr>
                          <a:srgbClr val="00A9D4"/>
                        </a:buClr>
                        <a:buFont typeface="Arial" charset="0"/>
                        <a:defRPr sz="2000">
                          <a:solidFill>
                            <a:schemeClr val="tx1"/>
                          </a:solidFill>
                          <a:latin typeface="Arial" charset="0"/>
                          <a:ea typeface="MS PGothic" pitchFamily="34" charset="-128"/>
                        </a:defRPr>
                      </a:lvl1pPr>
                      <a:lvl2pPr marL="742950" indent="-285750">
                        <a:spcBef>
                          <a:spcPct val="20000"/>
                        </a:spcBef>
                        <a:buClr>
                          <a:schemeClr val="tx1"/>
                        </a:buClr>
                        <a:buFont typeface="Ericsson Capital TT" pitchFamily="2" charset="0"/>
                        <a:defRPr>
                          <a:solidFill>
                            <a:schemeClr val="tx1"/>
                          </a:solidFill>
                          <a:latin typeface="Arial" charset="0"/>
                          <a:ea typeface="MS PGothic" pitchFamily="34" charset="-128"/>
                        </a:defRPr>
                      </a:lvl2pPr>
                      <a:lvl3pPr marL="1143000" indent="-228600">
                        <a:spcBef>
                          <a:spcPct val="20000"/>
                        </a:spcBef>
                        <a:buClr>
                          <a:srgbClr val="92CCE5"/>
                        </a:buClr>
                        <a:buFont typeface="Ericsson Capital TT" pitchFamily="2" charset="0"/>
                        <a:defRPr>
                          <a:solidFill>
                            <a:schemeClr val="tx1"/>
                          </a:solidFill>
                          <a:latin typeface="Arial" charset="0"/>
                          <a:ea typeface="MS PGothic" pitchFamily="34" charset="-128"/>
                        </a:defRPr>
                      </a:lvl3pPr>
                      <a:lvl4pPr marL="1600200" indent="-228600">
                        <a:spcBef>
                          <a:spcPct val="20000"/>
                        </a:spcBef>
                        <a:buClr>
                          <a:schemeClr val="tx1"/>
                        </a:buClr>
                        <a:buFont typeface="Ericsson Capital TT" pitchFamily="2" charset="0"/>
                        <a:defRPr>
                          <a:solidFill>
                            <a:schemeClr val="tx1"/>
                          </a:solidFill>
                          <a:latin typeface="Arial" charset="0"/>
                          <a:ea typeface="MS PGothic" pitchFamily="34" charset="-128"/>
                        </a:defRPr>
                      </a:lvl4pPr>
                      <a:lvl5pPr marL="2057400" indent="-228600">
                        <a:spcBef>
                          <a:spcPct val="20000"/>
                        </a:spcBef>
                        <a:buClr>
                          <a:schemeClr val="tx1"/>
                        </a:buClr>
                        <a:buFont typeface="Ericsson Capital TT" pitchFamily="2" charset="0"/>
                        <a:defRPr>
                          <a:solidFill>
                            <a:schemeClr val="tx1"/>
                          </a:solidFill>
                          <a:latin typeface="Arial" charset="0"/>
                          <a:ea typeface="MS PGothic" pitchFamily="34" charset="-128"/>
                        </a:defRPr>
                      </a:lvl5pPr>
                      <a:lvl6pPr marL="25146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6pPr>
                      <a:lvl7pPr marL="29718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7pPr>
                      <a:lvl8pPr marL="34290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8pPr>
                      <a:lvl9pPr marL="3886200" indent="-228600" eaLnBrk="0" fontAlgn="base" hangingPunct="0">
                        <a:spcBef>
                          <a:spcPct val="20000"/>
                        </a:spcBef>
                        <a:spcAft>
                          <a:spcPct val="0"/>
                        </a:spcAft>
                        <a:buClr>
                          <a:schemeClr val="tx1"/>
                        </a:buClr>
                        <a:buFont typeface="Ericsson Capital TT" pitchFamily="2" charset="0"/>
                        <a:defRPr>
                          <a:solidFill>
                            <a:schemeClr val="tx1"/>
                          </a:solidFill>
                          <a:latin typeface="Arial"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ko-KR" sz="1050" u="none" strike="noStrike" cap="none" normalizeH="0" baseline="0" dirty="0">
                          <a:ln>
                            <a:noFill/>
                          </a:ln>
                          <a:effectLst/>
                        </a:rPr>
                        <a:t>Initiated by non-Operations, including Additional Purchase Orders in the project</a:t>
                      </a:r>
                      <a:endParaRPr kumimoji="0" lang="en-US" altLang="ko-KR" sz="1050" b="0" i="0" u="none" strike="noStrike" cap="none" normalizeH="0" baseline="0" dirty="0">
                        <a:ln>
                          <a:noFill/>
                        </a:ln>
                        <a:solidFill>
                          <a:srgbClr val="58585A"/>
                        </a:solidFill>
                        <a:effectLst/>
                        <a:latin typeface="+mn-lt"/>
                        <a:ea typeface="MS PGothic" pitchFamily="34" charset="-128"/>
                      </a:endParaRPr>
                    </a:p>
                  </a:txBody>
                  <a:tcPr marL="91447" marR="91447" marT="45724" marB="45724" horzOverflow="overflow"/>
                </a:tc>
                <a:tc>
                  <a:txBody>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ko-KR" sz="1050" u="none" strike="noStrike" cap="none" normalizeH="0" baseline="0" dirty="0">
                          <a:ln>
                            <a:noFill/>
                          </a:ln>
                          <a:effectLst/>
                        </a:rPr>
                        <a:t>Customer provided remaining PO's that was included on the original scope.</a:t>
                      </a:r>
                      <a:endParaRPr kumimoji="0" lang="en-US" altLang="ko-KR" sz="1050" b="0" i="0" u="none" strike="noStrike" cap="none" normalizeH="0" baseline="0" dirty="0">
                        <a:ln>
                          <a:noFill/>
                        </a:ln>
                        <a:solidFill>
                          <a:srgbClr val="58585A"/>
                        </a:solidFill>
                        <a:effectLst/>
                        <a:latin typeface="+mn-lt"/>
                        <a:ea typeface="MS PGothic" pitchFamily="34" charset="-128"/>
                      </a:endParaRPr>
                    </a:p>
                  </a:txBody>
                  <a:tcPr marL="91447" marR="91447" marT="45728" marB="45728" horzOverflow="overflow"/>
                </a:tc>
                <a:extLst>
                  <a:ext uri="{0D108BD9-81ED-4DB2-BD59-A6C34878D82A}">
                    <a16:rowId xmlns:a16="http://schemas.microsoft.com/office/drawing/2014/main" val="2161235479"/>
                  </a:ext>
                </a:extLst>
              </a:tr>
            </a:tbl>
          </a:graphicData>
        </a:graphic>
      </p:graphicFrame>
    </p:spTree>
    <p:extLst>
      <p:ext uri="{BB962C8B-B14F-4D97-AF65-F5344CB8AC3E}">
        <p14:creationId xmlns:p14="http://schemas.microsoft.com/office/powerpoint/2010/main" val="2660778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AB9647B-995B-4E42-A8C0-C1754BB9AD8B}"/>
              </a:ext>
            </a:extLst>
          </p:cNvPr>
          <p:cNvSpPr/>
          <p:nvPr/>
        </p:nvSpPr>
        <p:spPr bwMode="auto">
          <a:xfrm>
            <a:off x="501308" y="2196565"/>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50000"/>
              </a:spcBef>
              <a:spcAft>
                <a:spcPct val="0"/>
              </a:spcAft>
              <a:defRPr/>
            </a:pPr>
            <a:r>
              <a:rPr lang="en-US" sz="1400" dirty="0">
                <a:solidFill>
                  <a:srgbClr val="FFFFFF"/>
                </a:solidFill>
              </a:rPr>
              <a:t>CR AoS &amp; Status</a:t>
            </a:r>
            <a:endParaRPr lang="en-US" sz="1400" dirty="0">
              <a:solidFill>
                <a:srgbClr val="FF3232"/>
              </a:solidFill>
            </a:endParaRPr>
          </a:p>
        </p:txBody>
      </p:sp>
      <p:sp>
        <p:nvSpPr>
          <p:cNvPr id="16" name="Rectangle 15">
            <a:extLst>
              <a:ext uri="{FF2B5EF4-FFF2-40B4-BE49-F238E27FC236}">
                <a16:creationId xmlns:a16="http://schemas.microsoft.com/office/drawing/2014/main" id="{198E8A7D-FE76-4B49-A44B-A625DCA325CC}"/>
              </a:ext>
            </a:extLst>
          </p:cNvPr>
          <p:cNvSpPr/>
          <p:nvPr/>
        </p:nvSpPr>
        <p:spPr bwMode="auto">
          <a:xfrm>
            <a:off x="505916" y="4547732"/>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50000"/>
              </a:spcBef>
              <a:spcAft>
                <a:spcPct val="0"/>
              </a:spcAft>
              <a:defRPr/>
            </a:pPr>
            <a:r>
              <a:rPr lang="en-US" sz="1600">
                <a:solidFill>
                  <a:srgbClr val="FFFFFF"/>
                </a:solidFill>
              </a:rPr>
              <a:t>CR  other Category Description</a:t>
            </a:r>
            <a:endParaRPr lang="en-US" dirty="0">
              <a:solidFill>
                <a:srgbClr val="FFFFFF"/>
              </a:solidFill>
            </a:endParaRPr>
          </a:p>
        </p:txBody>
      </p:sp>
      <p:sp>
        <p:nvSpPr>
          <p:cNvPr id="18" name="Rectangle 17">
            <a:extLst>
              <a:ext uri="{FF2B5EF4-FFF2-40B4-BE49-F238E27FC236}">
                <a16:creationId xmlns:a16="http://schemas.microsoft.com/office/drawing/2014/main" id="{728A5B50-4CC3-4774-918E-5C5900256711}"/>
              </a:ext>
            </a:extLst>
          </p:cNvPr>
          <p:cNvSpPr/>
          <p:nvPr/>
        </p:nvSpPr>
        <p:spPr bwMode="auto">
          <a:xfrm>
            <a:off x="269877" y="567274"/>
            <a:ext cx="2386238" cy="5614028"/>
          </a:xfrm>
          <a:prstGeom prst="rect">
            <a:avLst/>
          </a:prstGeom>
          <a:noFill/>
          <a:ln w="57150" cap="flat" cmpd="sng" algn="ctr">
            <a:solidFill>
              <a:srgbClr val="92D050"/>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Ericsson Hilda"/>
              <a:ea typeface="+mn-ea"/>
              <a:cs typeface="+mn-cs"/>
            </a:endParaRPr>
          </a:p>
        </p:txBody>
      </p:sp>
      <p:sp>
        <p:nvSpPr>
          <p:cNvPr id="19" name="Rectangle 18">
            <a:extLst>
              <a:ext uri="{FF2B5EF4-FFF2-40B4-BE49-F238E27FC236}">
                <a16:creationId xmlns:a16="http://schemas.microsoft.com/office/drawing/2014/main" id="{D61E2896-8229-4237-975B-BB8B3777CBEB}"/>
              </a:ext>
            </a:extLst>
          </p:cNvPr>
          <p:cNvSpPr/>
          <p:nvPr/>
        </p:nvSpPr>
        <p:spPr bwMode="auto">
          <a:xfrm>
            <a:off x="501308" y="3348872"/>
            <a:ext cx="1963108" cy="962526"/>
          </a:xfrm>
          <a:prstGeom prst="rect">
            <a:avLst/>
          </a:prstGeom>
          <a:solidFill>
            <a:srgbClr val="84D300"/>
          </a:solidFill>
          <a:ln w="12700" cap="flat" cmpd="sng" algn="ctr">
            <a:solidFill>
              <a:srgbClr val="92D050"/>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Ericsson Hilda"/>
                <a:ea typeface="+mn-ea"/>
                <a:cs typeface="+mn-cs"/>
              </a:rPr>
              <a:t>CR Flow </a:t>
            </a:r>
            <a:endParaRPr kumimoji="0" lang="en-US" sz="1600" b="0" i="0" u="none" strike="noStrike" kern="1200" cap="none" spc="0" normalizeH="0" baseline="0" noProof="0" dirty="0">
              <a:ln>
                <a:noFill/>
              </a:ln>
              <a:solidFill>
                <a:srgbClr val="FF3232"/>
              </a:solidFill>
              <a:effectLst/>
              <a:uLnTx/>
              <a:uFillTx/>
              <a:latin typeface="Ericsson Hilda"/>
              <a:ea typeface="+mn-ea"/>
              <a:cs typeface="+mn-cs"/>
            </a:endParaRPr>
          </a:p>
        </p:txBody>
      </p:sp>
      <p:sp>
        <p:nvSpPr>
          <p:cNvPr id="36" name="TextBox 35">
            <a:extLst>
              <a:ext uri="{FF2B5EF4-FFF2-40B4-BE49-F238E27FC236}">
                <a16:creationId xmlns:a16="http://schemas.microsoft.com/office/drawing/2014/main" id="{61F9FF38-58D9-4353-ABC8-D9D7C3A91A4F}"/>
              </a:ext>
            </a:extLst>
          </p:cNvPr>
          <p:cNvSpPr txBox="1"/>
          <p:nvPr/>
        </p:nvSpPr>
        <p:spPr bwMode="auto">
          <a:xfrm>
            <a:off x="1044525" y="899266"/>
            <a:ext cx="1448710" cy="52879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600" dirty="0"/>
              <a:t>Change request </a:t>
            </a:r>
          </a:p>
          <a:p>
            <a:pPr>
              <a:buClr>
                <a:schemeClr val="tx1"/>
              </a:buClr>
            </a:pPr>
            <a:endParaRPr lang="en-US" sz="1600" dirty="0"/>
          </a:p>
        </p:txBody>
      </p:sp>
      <p:sp>
        <p:nvSpPr>
          <p:cNvPr id="62" name="Freeform 3">
            <a:extLst>
              <a:ext uri="{FF2B5EF4-FFF2-40B4-BE49-F238E27FC236}">
                <a16:creationId xmlns:a16="http://schemas.microsoft.com/office/drawing/2014/main" id="{5869EDB8-061A-4B58-9FCA-2CA01382B8B2}"/>
              </a:ext>
            </a:extLst>
          </p:cNvPr>
          <p:cNvSpPr>
            <a:spLocks noChangeAspect="1" noEditPoints="1"/>
          </p:cNvSpPr>
          <p:nvPr/>
        </p:nvSpPr>
        <p:spPr bwMode="auto">
          <a:xfrm>
            <a:off x="473782" y="882072"/>
            <a:ext cx="490260" cy="640080"/>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rgbClr val="84D300"/>
          </a:solidFill>
          <a:ln w="9525">
            <a:solidFill>
              <a:srgbClr val="92D050"/>
            </a:solidFill>
            <a:round/>
            <a:headEnd/>
            <a:tailEnd/>
          </a:ln>
          <a:extLst/>
        </p:spPr>
        <p:txBody>
          <a:bodyPr/>
          <a:lstStyle/>
          <a:p>
            <a:endParaRPr lang="en-US"/>
          </a:p>
        </p:txBody>
      </p:sp>
      <p:grpSp>
        <p:nvGrpSpPr>
          <p:cNvPr id="4" name="Group 3">
            <a:extLst>
              <a:ext uri="{FF2B5EF4-FFF2-40B4-BE49-F238E27FC236}">
                <a16:creationId xmlns:a16="http://schemas.microsoft.com/office/drawing/2014/main" id="{9F8C843A-16FD-4878-99EF-2E7FBD039110}"/>
              </a:ext>
            </a:extLst>
          </p:cNvPr>
          <p:cNvGrpSpPr/>
          <p:nvPr/>
        </p:nvGrpSpPr>
        <p:grpSpPr>
          <a:xfrm>
            <a:off x="2860020" y="513866"/>
            <a:ext cx="8670925" cy="5699125"/>
            <a:chOff x="2860020" y="609170"/>
            <a:chExt cx="8670925" cy="5699125"/>
          </a:xfrm>
        </p:grpSpPr>
        <p:sp>
          <p:nvSpPr>
            <p:cNvPr id="13" name="Rectangle 95">
              <a:extLst>
                <a:ext uri="{FF2B5EF4-FFF2-40B4-BE49-F238E27FC236}">
                  <a16:creationId xmlns:a16="http://schemas.microsoft.com/office/drawing/2014/main" id="{3797F819-7FD2-402A-A92B-63542461C127}"/>
                </a:ext>
              </a:extLst>
            </p:cNvPr>
            <p:cNvSpPr>
              <a:spLocks noChangeArrowheads="1"/>
            </p:cNvSpPr>
            <p:nvPr/>
          </p:nvSpPr>
          <p:spPr bwMode="auto">
            <a:xfrm>
              <a:off x="3728382" y="5760608"/>
              <a:ext cx="7794625" cy="547687"/>
            </a:xfrm>
            <a:prstGeom prst="rect">
              <a:avLst/>
            </a:prstGeom>
            <a:solidFill>
              <a:srgbClr val="DDDDDD"/>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p>
          </p:txBody>
        </p:sp>
        <p:sp>
          <p:nvSpPr>
            <p:cNvPr id="14" name="Rectangle 94">
              <a:extLst>
                <a:ext uri="{FF2B5EF4-FFF2-40B4-BE49-F238E27FC236}">
                  <a16:creationId xmlns:a16="http://schemas.microsoft.com/office/drawing/2014/main" id="{B4FA1E6F-972B-4080-96EB-2BCC8479C448}"/>
                </a:ext>
              </a:extLst>
            </p:cNvPr>
            <p:cNvSpPr>
              <a:spLocks noChangeArrowheads="1"/>
            </p:cNvSpPr>
            <p:nvPr/>
          </p:nvSpPr>
          <p:spPr bwMode="auto">
            <a:xfrm>
              <a:off x="3728382" y="609170"/>
              <a:ext cx="7794625" cy="1035050"/>
            </a:xfrm>
            <a:prstGeom prst="rect">
              <a:avLst/>
            </a:prstGeom>
            <a:solidFill>
              <a:srgbClr val="FFCCCC"/>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p>
          </p:txBody>
        </p:sp>
        <p:sp>
          <p:nvSpPr>
            <p:cNvPr id="17" name="Rectangle 3">
              <a:extLst>
                <a:ext uri="{FF2B5EF4-FFF2-40B4-BE49-F238E27FC236}">
                  <a16:creationId xmlns:a16="http://schemas.microsoft.com/office/drawing/2014/main" id="{C277F2D3-0923-4967-BEB4-9A13E6A436C9}"/>
                </a:ext>
              </a:extLst>
            </p:cNvPr>
            <p:cNvSpPr>
              <a:spLocks noChangeArrowheads="1"/>
            </p:cNvSpPr>
            <p:nvPr/>
          </p:nvSpPr>
          <p:spPr bwMode="auto">
            <a:xfrm>
              <a:off x="3728382" y="1644220"/>
              <a:ext cx="7794625" cy="4116388"/>
            </a:xfrm>
            <a:prstGeom prst="rect">
              <a:avLst/>
            </a:prstGeom>
            <a:solidFill>
              <a:srgbClr val="CCECF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p>
          </p:txBody>
        </p:sp>
        <p:sp>
          <p:nvSpPr>
            <p:cNvPr id="21" name="Rectangle 11">
              <a:extLst>
                <a:ext uri="{FF2B5EF4-FFF2-40B4-BE49-F238E27FC236}">
                  <a16:creationId xmlns:a16="http://schemas.microsoft.com/office/drawing/2014/main" id="{47FC3D8A-52D4-4535-BE97-E2654B98BB30}"/>
                </a:ext>
              </a:extLst>
            </p:cNvPr>
            <p:cNvSpPr>
              <a:spLocks noChangeArrowheads="1"/>
            </p:cNvSpPr>
            <p:nvPr/>
          </p:nvSpPr>
          <p:spPr bwMode="auto">
            <a:xfrm>
              <a:off x="2867957" y="6016195"/>
              <a:ext cx="841375"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Customer</a:t>
              </a:r>
            </a:p>
          </p:txBody>
        </p:sp>
        <p:sp>
          <p:nvSpPr>
            <p:cNvPr id="22" name="Rectangle 12">
              <a:extLst>
                <a:ext uri="{FF2B5EF4-FFF2-40B4-BE49-F238E27FC236}">
                  <a16:creationId xmlns:a16="http://schemas.microsoft.com/office/drawing/2014/main" id="{05B5D84C-27AC-4A7F-BEFD-E44A79967969}"/>
                </a:ext>
              </a:extLst>
            </p:cNvPr>
            <p:cNvSpPr>
              <a:spLocks noChangeArrowheads="1"/>
            </p:cNvSpPr>
            <p:nvPr/>
          </p:nvSpPr>
          <p:spPr bwMode="auto">
            <a:xfrm>
              <a:off x="2867957" y="5724095"/>
              <a:ext cx="660400"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Project</a:t>
              </a:r>
            </a:p>
          </p:txBody>
        </p:sp>
        <p:sp>
          <p:nvSpPr>
            <p:cNvPr id="23" name="Rectangle 13">
              <a:extLst>
                <a:ext uri="{FF2B5EF4-FFF2-40B4-BE49-F238E27FC236}">
                  <a16:creationId xmlns:a16="http://schemas.microsoft.com/office/drawing/2014/main" id="{7148021D-AA52-4DAC-9533-2EBC4BBB0A0A}"/>
                </a:ext>
              </a:extLst>
            </p:cNvPr>
            <p:cNvSpPr>
              <a:spLocks noChangeArrowheads="1"/>
            </p:cNvSpPr>
            <p:nvPr/>
          </p:nvSpPr>
          <p:spPr bwMode="auto">
            <a:xfrm>
              <a:off x="2880657" y="2136345"/>
              <a:ext cx="660400"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Project</a:t>
              </a:r>
              <a:br>
                <a:rPr lang="en-GB" sz="1100" b="1">
                  <a:solidFill>
                    <a:srgbClr val="000000"/>
                  </a:solidFill>
                </a:rPr>
              </a:br>
              <a:r>
                <a:rPr lang="en-GB" sz="1100" b="1">
                  <a:solidFill>
                    <a:srgbClr val="000000"/>
                  </a:solidFill>
                </a:rPr>
                <a:t>CCB</a:t>
              </a:r>
            </a:p>
          </p:txBody>
        </p:sp>
        <p:sp>
          <p:nvSpPr>
            <p:cNvPr id="24" name="Rectangle 14">
              <a:extLst>
                <a:ext uri="{FF2B5EF4-FFF2-40B4-BE49-F238E27FC236}">
                  <a16:creationId xmlns:a16="http://schemas.microsoft.com/office/drawing/2014/main" id="{F8098E36-6480-4046-A5C3-5458647E326C}"/>
                </a:ext>
              </a:extLst>
            </p:cNvPr>
            <p:cNvSpPr>
              <a:spLocks noChangeArrowheads="1"/>
            </p:cNvSpPr>
            <p:nvPr/>
          </p:nvSpPr>
          <p:spPr bwMode="auto">
            <a:xfrm>
              <a:off x="2890182" y="3893708"/>
              <a:ext cx="793750"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Resp. for</a:t>
              </a:r>
            </a:p>
            <a:p>
              <a:pPr defTabSz="762000" eaLnBrk="0" hangingPunct="0">
                <a:spcBef>
                  <a:spcPct val="50000"/>
                </a:spcBef>
              </a:pPr>
              <a:r>
                <a:rPr lang="en-GB" sz="1100" b="1">
                  <a:solidFill>
                    <a:srgbClr val="000000"/>
                  </a:solidFill>
                </a:rPr>
                <a:t>analysis</a:t>
              </a:r>
            </a:p>
          </p:txBody>
        </p:sp>
        <p:sp>
          <p:nvSpPr>
            <p:cNvPr id="25" name="Rectangle 15">
              <a:extLst>
                <a:ext uri="{FF2B5EF4-FFF2-40B4-BE49-F238E27FC236}">
                  <a16:creationId xmlns:a16="http://schemas.microsoft.com/office/drawing/2014/main" id="{A65CBA75-882E-4BB6-AC5C-0D636F37299B}"/>
                </a:ext>
              </a:extLst>
            </p:cNvPr>
            <p:cNvSpPr>
              <a:spLocks noChangeArrowheads="1"/>
            </p:cNvSpPr>
            <p:nvPr/>
          </p:nvSpPr>
          <p:spPr bwMode="auto">
            <a:xfrm>
              <a:off x="2880657" y="1350533"/>
              <a:ext cx="622300" cy="258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Core 3</a:t>
              </a:r>
            </a:p>
          </p:txBody>
        </p:sp>
        <p:sp>
          <p:nvSpPr>
            <p:cNvPr id="26" name="Rectangle 16">
              <a:extLst>
                <a:ext uri="{FF2B5EF4-FFF2-40B4-BE49-F238E27FC236}">
                  <a16:creationId xmlns:a16="http://schemas.microsoft.com/office/drawing/2014/main" id="{F296D355-B5BC-4A7C-8003-024935128F3B}"/>
                </a:ext>
              </a:extLst>
            </p:cNvPr>
            <p:cNvSpPr>
              <a:spLocks noChangeArrowheads="1"/>
            </p:cNvSpPr>
            <p:nvPr/>
          </p:nvSpPr>
          <p:spPr bwMode="auto">
            <a:xfrm>
              <a:off x="2867957" y="4752545"/>
              <a:ext cx="401638"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CM</a:t>
              </a:r>
            </a:p>
          </p:txBody>
        </p:sp>
        <p:sp>
          <p:nvSpPr>
            <p:cNvPr id="27" name="Rectangle 35">
              <a:extLst>
                <a:ext uri="{FF2B5EF4-FFF2-40B4-BE49-F238E27FC236}">
                  <a16:creationId xmlns:a16="http://schemas.microsoft.com/office/drawing/2014/main" id="{E1180811-0926-4323-8393-73BBC8666FE9}"/>
                </a:ext>
              </a:extLst>
            </p:cNvPr>
            <p:cNvSpPr>
              <a:spLocks noChangeArrowheads="1"/>
            </p:cNvSpPr>
            <p:nvPr/>
          </p:nvSpPr>
          <p:spPr bwMode="auto">
            <a:xfrm>
              <a:off x="4557057" y="2088720"/>
              <a:ext cx="40798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50000"/>
                </a:spcBef>
              </a:pPr>
              <a:r>
                <a:rPr lang="en-GB" sz="1000" b="1"/>
                <a:t>Yes</a:t>
              </a:r>
            </a:p>
          </p:txBody>
        </p:sp>
        <p:sp>
          <p:nvSpPr>
            <p:cNvPr id="28" name="Rectangle 46">
              <a:extLst>
                <a:ext uri="{FF2B5EF4-FFF2-40B4-BE49-F238E27FC236}">
                  <a16:creationId xmlns:a16="http://schemas.microsoft.com/office/drawing/2014/main" id="{D9881671-38CA-423C-842C-531CB17DC9A3}"/>
                </a:ext>
              </a:extLst>
            </p:cNvPr>
            <p:cNvSpPr>
              <a:spLocks noChangeArrowheads="1"/>
            </p:cNvSpPr>
            <p:nvPr/>
          </p:nvSpPr>
          <p:spPr bwMode="auto">
            <a:xfrm>
              <a:off x="2880657" y="752045"/>
              <a:ext cx="747713" cy="42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Steering</a:t>
              </a:r>
              <a:br>
                <a:rPr lang="en-GB" sz="1100" b="1">
                  <a:solidFill>
                    <a:srgbClr val="000000"/>
                  </a:solidFill>
                </a:rPr>
              </a:br>
              <a:r>
                <a:rPr lang="en-GB" sz="1100" b="1">
                  <a:solidFill>
                    <a:srgbClr val="000000"/>
                  </a:solidFill>
                </a:rPr>
                <a:t>CCB</a:t>
              </a:r>
            </a:p>
          </p:txBody>
        </p:sp>
        <p:sp>
          <p:nvSpPr>
            <p:cNvPr id="29" name="Rectangle 61">
              <a:extLst>
                <a:ext uri="{FF2B5EF4-FFF2-40B4-BE49-F238E27FC236}">
                  <a16:creationId xmlns:a16="http://schemas.microsoft.com/office/drawing/2014/main" id="{1A4BE709-250C-4208-AC24-664B851A3E25}"/>
                </a:ext>
              </a:extLst>
            </p:cNvPr>
            <p:cNvSpPr>
              <a:spLocks noChangeArrowheads="1"/>
            </p:cNvSpPr>
            <p:nvPr/>
          </p:nvSpPr>
          <p:spPr bwMode="auto">
            <a:xfrm>
              <a:off x="2867957" y="5327220"/>
              <a:ext cx="857250"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Execution</a:t>
              </a:r>
            </a:p>
          </p:txBody>
        </p:sp>
        <p:sp>
          <p:nvSpPr>
            <p:cNvPr id="30" name="Rectangle 62">
              <a:extLst>
                <a:ext uri="{FF2B5EF4-FFF2-40B4-BE49-F238E27FC236}">
                  <a16:creationId xmlns:a16="http://schemas.microsoft.com/office/drawing/2014/main" id="{57F115B9-3439-4674-90D0-1CBE4A893C8C}"/>
                </a:ext>
              </a:extLst>
            </p:cNvPr>
            <p:cNvSpPr>
              <a:spLocks noChangeArrowheads="1"/>
            </p:cNvSpPr>
            <p:nvPr/>
          </p:nvSpPr>
          <p:spPr bwMode="auto">
            <a:xfrm>
              <a:off x="2880657" y="2984070"/>
              <a:ext cx="496888" cy="25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CPM</a:t>
              </a:r>
            </a:p>
          </p:txBody>
        </p:sp>
        <p:sp>
          <p:nvSpPr>
            <p:cNvPr id="31" name="AutoShape 67">
              <a:extLst>
                <a:ext uri="{FF2B5EF4-FFF2-40B4-BE49-F238E27FC236}">
                  <a16:creationId xmlns:a16="http://schemas.microsoft.com/office/drawing/2014/main" id="{9A914D1E-307F-49F5-843B-0EC3D71752BE}"/>
                </a:ext>
              </a:extLst>
            </p:cNvPr>
            <p:cNvSpPr>
              <a:spLocks noChangeArrowheads="1"/>
            </p:cNvSpPr>
            <p:nvPr/>
          </p:nvSpPr>
          <p:spPr bwMode="auto">
            <a:xfrm>
              <a:off x="4930120" y="4781120"/>
              <a:ext cx="6472237" cy="230188"/>
            </a:xfrm>
            <a:prstGeom prst="flowChartProcess">
              <a:avLst/>
            </a:prstGeom>
            <a:solidFill>
              <a:schemeClr val="bg1"/>
            </a:solidFill>
            <a:ln w="12700">
              <a:solidFill>
                <a:schemeClr val="tx1"/>
              </a:solidFill>
              <a:prstDash val="dash"/>
              <a:miter lim="800000"/>
              <a:headEnd type="none" w="sm" len="sm"/>
              <a:tailEnd type="none" w="sm" len="sm"/>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anchor="ctr"/>
            <a:lstStyle/>
            <a:p>
              <a:pPr algn="ctr" eaLnBrk="0" hangingPunct="0">
                <a:spcBef>
                  <a:spcPct val="50000"/>
                </a:spcBef>
              </a:pPr>
              <a:r>
                <a:rPr lang="en-GB" sz="1200"/>
                <a:t>Maintain CR status in CR log</a:t>
              </a:r>
            </a:p>
          </p:txBody>
        </p:sp>
        <p:sp>
          <p:nvSpPr>
            <p:cNvPr id="32" name="AutoShape 68">
              <a:extLst>
                <a:ext uri="{FF2B5EF4-FFF2-40B4-BE49-F238E27FC236}">
                  <a16:creationId xmlns:a16="http://schemas.microsoft.com/office/drawing/2014/main" id="{FD68E8D6-0248-4FEF-9FE5-B1026D973787}"/>
                </a:ext>
              </a:extLst>
            </p:cNvPr>
            <p:cNvSpPr>
              <a:spLocks noChangeArrowheads="1"/>
            </p:cNvSpPr>
            <p:nvPr/>
          </p:nvSpPr>
          <p:spPr bwMode="auto">
            <a:xfrm>
              <a:off x="7908270" y="2891995"/>
              <a:ext cx="1944687" cy="182563"/>
            </a:xfrm>
            <a:prstGeom prst="flowChartProcess">
              <a:avLst/>
            </a:prstGeom>
            <a:solidFill>
              <a:schemeClr val="bg1"/>
            </a:solidFill>
            <a:ln w="12700">
              <a:solidFill>
                <a:schemeClr val="tx1"/>
              </a:solidFill>
              <a:prstDash val="dash"/>
              <a:miter lim="800000"/>
              <a:headEnd type="none" w="sm" len="sm"/>
              <a:tailEnd type="none" w="sm" len="sm"/>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anchor="ctr"/>
            <a:lstStyle/>
            <a:p>
              <a:pPr algn="ctr" eaLnBrk="0" hangingPunct="0">
                <a:spcBef>
                  <a:spcPct val="50000"/>
                </a:spcBef>
              </a:pPr>
              <a:r>
                <a:rPr lang="en-GB" sz="1100"/>
                <a:t>Update Proj spec &amp; plans</a:t>
              </a:r>
            </a:p>
          </p:txBody>
        </p:sp>
        <p:sp>
          <p:nvSpPr>
            <p:cNvPr id="33" name="Rectangle 16">
              <a:extLst>
                <a:ext uri="{FF2B5EF4-FFF2-40B4-BE49-F238E27FC236}">
                  <a16:creationId xmlns:a16="http://schemas.microsoft.com/office/drawing/2014/main" id="{2C3325F4-770A-4860-B5DC-18EBC2BC0A23}"/>
                </a:ext>
              </a:extLst>
            </p:cNvPr>
            <p:cNvSpPr>
              <a:spLocks noChangeArrowheads="1"/>
            </p:cNvSpPr>
            <p:nvPr/>
          </p:nvSpPr>
          <p:spPr bwMode="auto">
            <a:xfrm>
              <a:off x="2880657" y="3312683"/>
              <a:ext cx="896938" cy="258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defTabSz="762000" eaLnBrk="0" hangingPunct="0">
                <a:spcBef>
                  <a:spcPct val="50000"/>
                </a:spcBef>
              </a:pPr>
              <a:r>
                <a:rPr lang="en-GB" sz="1100" b="1">
                  <a:solidFill>
                    <a:srgbClr val="000000"/>
                  </a:solidFill>
                </a:rPr>
                <a:t>PSP (PFM)</a:t>
              </a:r>
            </a:p>
          </p:txBody>
        </p:sp>
        <p:sp>
          <p:nvSpPr>
            <p:cNvPr id="34" name="TextBox 1">
              <a:extLst>
                <a:ext uri="{FF2B5EF4-FFF2-40B4-BE49-F238E27FC236}">
                  <a16:creationId xmlns:a16="http://schemas.microsoft.com/office/drawing/2014/main" id="{FCA11B9C-3D74-4562-9EB6-F0F3CFF89862}"/>
                </a:ext>
              </a:extLst>
            </p:cNvPr>
            <p:cNvSpPr txBox="1">
              <a:spLocks noChangeArrowheads="1"/>
            </p:cNvSpPr>
            <p:nvPr/>
          </p:nvSpPr>
          <p:spPr bwMode="auto">
            <a:xfrm>
              <a:off x="3845857" y="4754133"/>
              <a:ext cx="950913" cy="431800"/>
            </a:xfrm>
            <a:prstGeom prst="rect">
              <a:avLst/>
            </a:prstGeom>
            <a:solidFill>
              <a:schemeClr val="bg1"/>
            </a:solidFill>
            <a:ln w="9525">
              <a:solidFill>
                <a:schemeClr val="tx1"/>
              </a:solidFill>
              <a:miter lim="800000"/>
              <a:headEnd/>
              <a:tailEnd/>
            </a:ln>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pPr>
              <a:r>
                <a:rPr lang="en-US" sz="1100"/>
                <a:t>Register CR to CR log</a:t>
              </a:r>
            </a:p>
          </p:txBody>
        </p:sp>
        <p:cxnSp>
          <p:nvCxnSpPr>
            <p:cNvPr id="37" name="AutoShape 73">
              <a:extLst>
                <a:ext uri="{FF2B5EF4-FFF2-40B4-BE49-F238E27FC236}">
                  <a16:creationId xmlns:a16="http://schemas.microsoft.com/office/drawing/2014/main" id="{29AF8ABC-A6E6-4BED-9329-DE1B6DFC46D7}"/>
                </a:ext>
              </a:extLst>
            </p:cNvPr>
            <p:cNvCxnSpPr>
              <a:cxnSpLocks noChangeShapeType="1"/>
              <a:stCxn id="51" idx="0"/>
              <a:endCxn id="34" idx="2"/>
            </p:cNvCxnSpPr>
            <p:nvPr/>
          </p:nvCxnSpPr>
          <p:spPr bwMode="auto">
            <a:xfrm rot="5400000" flipH="1" flipV="1">
              <a:off x="4000638" y="5501052"/>
              <a:ext cx="636587" cy="6350"/>
            </a:xfrm>
            <a:prstGeom prst="bentConnector3">
              <a:avLst>
                <a:gd name="adj1" fmla="val 5000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AutoShape 73">
              <a:extLst>
                <a:ext uri="{FF2B5EF4-FFF2-40B4-BE49-F238E27FC236}">
                  <a16:creationId xmlns:a16="http://schemas.microsoft.com/office/drawing/2014/main" id="{8CF6ED18-CDBB-4EBE-AF01-D92E5AF44784}"/>
                </a:ext>
              </a:extLst>
            </p:cNvPr>
            <p:cNvCxnSpPr>
              <a:cxnSpLocks noChangeShapeType="1"/>
              <a:stCxn id="34" idx="0"/>
              <a:endCxn id="98" idx="2"/>
            </p:cNvCxnSpPr>
            <p:nvPr/>
          </p:nvCxnSpPr>
          <p:spPr bwMode="auto">
            <a:xfrm rot="5400000" flipH="1" flipV="1">
              <a:off x="3194982" y="3627008"/>
              <a:ext cx="2254250" cy="0"/>
            </a:xfrm>
            <a:prstGeom prst="bentConnector3">
              <a:avLst>
                <a:gd name="adj1" fmla="val 5000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Elbow Connector 28">
              <a:extLst>
                <a:ext uri="{FF2B5EF4-FFF2-40B4-BE49-F238E27FC236}">
                  <a16:creationId xmlns:a16="http://schemas.microsoft.com/office/drawing/2014/main" id="{61FBACE4-71AD-482C-A8B7-1E97C9147E29}"/>
                </a:ext>
              </a:extLst>
            </p:cNvPr>
            <p:cNvCxnSpPr>
              <a:cxnSpLocks noChangeShapeType="1"/>
              <a:stCxn id="98" idx="3"/>
              <a:endCxn id="97" idx="1"/>
            </p:cNvCxnSpPr>
            <p:nvPr/>
          </p:nvCxnSpPr>
          <p:spPr bwMode="auto">
            <a:xfrm>
              <a:off x="4718982" y="2298270"/>
              <a:ext cx="211138" cy="1789113"/>
            </a:xfrm>
            <a:prstGeom prst="bentConnector3">
              <a:avLst>
                <a:gd name="adj1" fmla="val 50000"/>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40" name="Straight Connector 45">
              <a:extLst>
                <a:ext uri="{FF2B5EF4-FFF2-40B4-BE49-F238E27FC236}">
                  <a16:creationId xmlns:a16="http://schemas.microsoft.com/office/drawing/2014/main" id="{74D3FD6F-AB15-4557-B6DD-464CC80EDE28}"/>
                </a:ext>
              </a:extLst>
            </p:cNvPr>
            <p:cNvCxnSpPr>
              <a:cxnSpLocks noChangeShapeType="1"/>
            </p:cNvCxnSpPr>
            <p:nvPr/>
          </p:nvCxnSpPr>
          <p:spPr bwMode="auto">
            <a:xfrm>
              <a:off x="2880657" y="3280933"/>
              <a:ext cx="8640763"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41" name="Straight Connector 221">
              <a:extLst>
                <a:ext uri="{FF2B5EF4-FFF2-40B4-BE49-F238E27FC236}">
                  <a16:creationId xmlns:a16="http://schemas.microsoft.com/office/drawing/2014/main" id="{22BA9678-07DC-49AC-BF45-46E42E74A193}"/>
                </a:ext>
              </a:extLst>
            </p:cNvPr>
            <p:cNvCxnSpPr>
              <a:cxnSpLocks noChangeShapeType="1"/>
            </p:cNvCxnSpPr>
            <p:nvPr/>
          </p:nvCxnSpPr>
          <p:spPr bwMode="auto">
            <a:xfrm>
              <a:off x="2890182" y="3544458"/>
              <a:ext cx="8640763"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42" name="Straight Connector 222">
              <a:extLst>
                <a:ext uri="{FF2B5EF4-FFF2-40B4-BE49-F238E27FC236}">
                  <a16:creationId xmlns:a16="http://schemas.microsoft.com/office/drawing/2014/main" id="{0D787017-4C21-41A4-AEC9-CE9EE52BC68D}"/>
                </a:ext>
              </a:extLst>
            </p:cNvPr>
            <p:cNvCxnSpPr>
              <a:cxnSpLocks noChangeShapeType="1"/>
            </p:cNvCxnSpPr>
            <p:nvPr/>
          </p:nvCxnSpPr>
          <p:spPr bwMode="auto">
            <a:xfrm>
              <a:off x="2880657" y="2845958"/>
              <a:ext cx="8640763"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43" name="Straight Connector 223">
              <a:extLst>
                <a:ext uri="{FF2B5EF4-FFF2-40B4-BE49-F238E27FC236}">
                  <a16:creationId xmlns:a16="http://schemas.microsoft.com/office/drawing/2014/main" id="{9B072353-A054-4EF5-B3B9-61C028CA7943}"/>
                </a:ext>
              </a:extLst>
            </p:cNvPr>
            <p:cNvCxnSpPr>
              <a:cxnSpLocks noChangeShapeType="1"/>
            </p:cNvCxnSpPr>
            <p:nvPr/>
          </p:nvCxnSpPr>
          <p:spPr bwMode="auto">
            <a:xfrm>
              <a:off x="2880657" y="4522358"/>
              <a:ext cx="8640763"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sp>
          <p:nvSpPr>
            <p:cNvPr id="44" name="Rounded Rectangle 1095">
              <a:extLst>
                <a:ext uri="{FF2B5EF4-FFF2-40B4-BE49-F238E27FC236}">
                  <a16:creationId xmlns:a16="http://schemas.microsoft.com/office/drawing/2014/main" id="{694A53C7-C739-43A2-905A-17EEB000C82F}"/>
                </a:ext>
              </a:extLst>
            </p:cNvPr>
            <p:cNvSpPr>
              <a:spLocks noChangeArrowheads="1"/>
            </p:cNvSpPr>
            <p:nvPr/>
          </p:nvSpPr>
          <p:spPr bwMode="auto">
            <a:xfrm>
              <a:off x="4047470" y="4604908"/>
              <a:ext cx="525462" cy="119062"/>
            </a:xfrm>
            <a:prstGeom prst="roundRect">
              <a:avLst>
                <a:gd name="adj" fmla="val 16667"/>
              </a:avLst>
            </a:prstGeom>
            <a:solidFill>
              <a:schemeClr val="accent2"/>
            </a:solidFill>
            <a:ln w="12700" algn="ctr">
              <a:solidFill>
                <a:schemeClr val="tx1"/>
              </a:solidFill>
              <a:round/>
              <a:headEnd/>
              <a:tailEnd/>
            </a:ln>
          </p:spPr>
          <p:txBody>
            <a:bodyPr wrap="none" lIns="72000" rIns="72000" anchor="ctr"/>
            <a:lstStyle/>
            <a:p>
              <a:pPr algn="ctr">
                <a:spcBef>
                  <a:spcPct val="50000"/>
                </a:spcBef>
              </a:pPr>
              <a:r>
                <a:rPr lang="en-US" sz="800">
                  <a:solidFill>
                    <a:srgbClr val="FFFFFF"/>
                  </a:solidFill>
                </a:rPr>
                <a:t>RAISED</a:t>
              </a:r>
            </a:p>
          </p:txBody>
        </p:sp>
        <p:cxnSp>
          <p:nvCxnSpPr>
            <p:cNvPr id="45" name="Straight Connector 229">
              <a:extLst>
                <a:ext uri="{FF2B5EF4-FFF2-40B4-BE49-F238E27FC236}">
                  <a16:creationId xmlns:a16="http://schemas.microsoft.com/office/drawing/2014/main" id="{471ED669-9A26-4578-829F-E1F2E2056498}"/>
                </a:ext>
              </a:extLst>
            </p:cNvPr>
            <p:cNvCxnSpPr>
              <a:cxnSpLocks noChangeShapeType="1"/>
            </p:cNvCxnSpPr>
            <p:nvPr/>
          </p:nvCxnSpPr>
          <p:spPr bwMode="auto">
            <a:xfrm>
              <a:off x="2880657" y="5266895"/>
              <a:ext cx="8640763"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sp>
          <p:nvSpPr>
            <p:cNvPr id="46" name="AutoShape 29">
              <a:extLst>
                <a:ext uri="{FF2B5EF4-FFF2-40B4-BE49-F238E27FC236}">
                  <a16:creationId xmlns:a16="http://schemas.microsoft.com/office/drawing/2014/main" id="{E3CBDD8A-4CEA-4274-BA43-A527809F02B7}"/>
                </a:ext>
              </a:extLst>
            </p:cNvPr>
            <p:cNvSpPr>
              <a:spLocks noChangeArrowheads="1"/>
            </p:cNvSpPr>
            <p:nvPr/>
          </p:nvSpPr>
          <p:spPr bwMode="auto">
            <a:xfrm>
              <a:off x="5593695" y="2045858"/>
              <a:ext cx="795337" cy="463550"/>
            </a:xfrm>
            <a:prstGeom prst="diamond">
              <a:avLst/>
            </a:prstGeom>
            <a:solidFill>
              <a:schemeClr val="bg1"/>
            </a:solidFill>
            <a:ln w="12700">
              <a:solidFill>
                <a:srgbClr val="FF0000"/>
              </a:solidFill>
              <a:miter lim="800000"/>
              <a:headEnd type="none" w="sm" len="sm"/>
              <a:tailEnd type="none" w="sm" len="sm"/>
            </a:ln>
          </p:spPr>
          <p:txBody>
            <a:bodyPr wrap="none" anchor="ctr"/>
            <a:lstStyle/>
            <a:p>
              <a:pPr algn="ctr" eaLnBrk="0" hangingPunct="0">
                <a:spcBef>
                  <a:spcPct val="50000"/>
                </a:spcBef>
              </a:pPr>
              <a:r>
                <a:rPr lang="en-GB" sz="900"/>
                <a:t>Proposed to</a:t>
              </a:r>
              <a:br>
                <a:rPr lang="en-GB" sz="900"/>
              </a:br>
              <a:r>
                <a:rPr lang="en-GB" sz="900"/>
                <a:t>Customer?</a:t>
              </a:r>
            </a:p>
          </p:txBody>
        </p:sp>
        <p:cxnSp>
          <p:nvCxnSpPr>
            <p:cNvPr id="47" name="AutoShape 73">
              <a:extLst>
                <a:ext uri="{FF2B5EF4-FFF2-40B4-BE49-F238E27FC236}">
                  <a16:creationId xmlns:a16="http://schemas.microsoft.com/office/drawing/2014/main" id="{A9307F8B-7470-468A-9EF3-78964A1B8F90}"/>
                </a:ext>
              </a:extLst>
            </p:cNvPr>
            <p:cNvCxnSpPr>
              <a:cxnSpLocks noChangeShapeType="1"/>
              <a:stCxn id="46" idx="2"/>
              <a:endCxn id="52" idx="0"/>
            </p:cNvCxnSpPr>
            <p:nvPr/>
          </p:nvCxnSpPr>
          <p:spPr bwMode="auto">
            <a:xfrm rot="16200000" flipH="1">
              <a:off x="4342745" y="4157233"/>
              <a:ext cx="3298825" cy="3175"/>
            </a:xfrm>
            <a:prstGeom prst="bentConnector3">
              <a:avLst>
                <a:gd name="adj1" fmla="val 5000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Rounded Rectangle 151">
              <a:extLst>
                <a:ext uri="{FF2B5EF4-FFF2-40B4-BE49-F238E27FC236}">
                  <a16:creationId xmlns:a16="http://schemas.microsoft.com/office/drawing/2014/main" id="{1032FB4B-8B2C-47C2-B821-823D5F66126C}"/>
                </a:ext>
              </a:extLst>
            </p:cNvPr>
            <p:cNvSpPr>
              <a:spLocks noChangeArrowheads="1"/>
            </p:cNvSpPr>
            <p:nvPr/>
          </p:nvSpPr>
          <p:spPr bwMode="auto">
            <a:xfrm>
              <a:off x="5654020" y="2671333"/>
              <a:ext cx="674687" cy="131762"/>
            </a:xfrm>
            <a:prstGeom prst="roundRect">
              <a:avLst>
                <a:gd name="adj" fmla="val 16667"/>
              </a:avLst>
            </a:prstGeom>
            <a:solidFill>
              <a:schemeClr val="accent2"/>
            </a:solidFill>
            <a:ln w="12700" algn="ctr">
              <a:solidFill>
                <a:schemeClr val="tx1"/>
              </a:solidFill>
              <a:round/>
              <a:headEnd/>
              <a:tailEnd/>
            </a:ln>
          </p:spPr>
          <p:txBody>
            <a:bodyPr wrap="none" lIns="18288" rIns="72000" anchor="ctr"/>
            <a:lstStyle/>
            <a:p>
              <a:pPr algn="ctr">
                <a:spcBef>
                  <a:spcPct val="50000"/>
                </a:spcBef>
              </a:pPr>
              <a:r>
                <a:rPr lang="en-US" sz="800">
                  <a:solidFill>
                    <a:schemeClr val="bg1"/>
                  </a:solidFill>
                </a:rPr>
                <a:t>PROPOSED</a:t>
              </a:r>
            </a:p>
          </p:txBody>
        </p:sp>
        <p:cxnSp>
          <p:nvCxnSpPr>
            <p:cNvPr id="49" name="Straight Connector 248">
              <a:extLst>
                <a:ext uri="{FF2B5EF4-FFF2-40B4-BE49-F238E27FC236}">
                  <a16:creationId xmlns:a16="http://schemas.microsoft.com/office/drawing/2014/main" id="{A07C5716-124A-4117-8EED-53EC847A8314}"/>
                </a:ext>
              </a:extLst>
            </p:cNvPr>
            <p:cNvCxnSpPr>
              <a:cxnSpLocks noChangeShapeType="1"/>
            </p:cNvCxnSpPr>
            <p:nvPr/>
          </p:nvCxnSpPr>
          <p:spPr bwMode="auto">
            <a:xfrm>
              <a:off x="2890182" y="5743145"/>
              <a:ext cx="8640763"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50" name="Straight Connector 249">
              <a:extLst>
                <a:ext uri="{FF2B5EF4-FFF2-40B4-BE49-F238E27FC236}">
                  <a16:creationId xmlns:a16="http://schemas.microsoft.com/office/drawing/2014/main" id="{5FA014CD-DA82-4039-888A-94C96D2E2ED8}"/>
                </a:ext>
              </a:extLst>
            </p:cNvPr>
            <p:cNvCxnSpPr>
              <a:cxnSpLocks noChangeShapeType="1"/>
            </p:cNvCxnSpPr>
            <p:nvPr/>
          </p:nvCxnSpPr>
          <p:spPr bwMode="auto">
            <a:xfrm>
              <a:off x="2879070" y="6013020"/>
              <a:ext cx="8640762"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sp>
          <p:nvSpPr>
            <p:cNvPr id="51" name="AutoShape 63">
              <a:extLst>
                <a:ext uri="{FF2B5EF4-FFF2-40B4-BE49-F238E27FC236}">
                  <a16:creationId xmlns:a16="http://schemas.microsoft.com/office/drawing/2014/main" id="{5E398087-FAE2-45F0-BE6F-F2A7171214A2}"/>
                </a:ext>
              </a:extLst>
            </p:cNvPr>
            <p:cNvSpPr>
              <a:spLocks noChangeArrowheads="1"/>
            </p:cNvSpPr>
            <p:nvPr/>
          </p:nvSpPr>
          <p:spPr bwMode="auto">
            <a:xfrm>
              <a:off x="4098270" y="5822520"/>
              <a:ext cx="436562" cy="360363"/>
            </a:xfrm>
            <a:prstGeom prst="flowChartDocument">
              <a:avLst/>
            </a:prstGeom>
            <a:solidFill>
              <a:srgbClr val="FFFF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spcBef>
                  <a:spcPct val="50000"/>
                </a:spcBef>
              </a:pPr>
              <a:r>
                <a:rPr lang="en-US" sz="1200" b="1"/>
                <a:t>CR</a:t>
              </a:r>
            </a:p>
          </p:txBody>
        </p:sp>
        <p:sp>
          <p:nvSpPr>
            <p:cNvPr id="52" name="TextBox 242">
              <a:extLst>
                <a:ext uri="{FF2B5EF4-FFF2-40B4-BE49-F238E27FC236}">
                  <a16:creationId xmlns:a16="http://schemas.microsoft.com/office/drawing/2014/main" id="{BF348875-B68A-4C76-9819-8B41D6C4BCDA}"/>
                </a:ext>
              </a:extLst>
            </p:cNvPr>
            <p:cNvSpPr txBox="1">
              <a:spLocks noChangeArrowheads="1"/>
            </p:cNvSpPr>
            <p:nvPr/>
          </p:nvSpPr>
          <p:spPr bwMode="auto">
            <a:xfrm>
              <a:off x="5569882" y="5808233"/>
              <a:ext cx="847725" cy="384175"/>
            </a:xfrm>
            <a:prstGeom prst="rect">
              <a:avLst/>
            </a:prstGeom>
            <a:solidFill>
              <a:schemeClr val="bg1"/>
            </a:solidFill>
            <a:ln w="9525">
              <a:solidFill>
                <a:schemeClr val="tx1"/>
              </a:solidFill>
              <a:miter lim="800000"/>
              <a:headEnd/>
              <a:tailEnd/>
            </a:ln>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100"/>
                <a:t>Joint CCB</a:t>
              </a:r>
              <a:br>
                <a:rPr lang="en-US" sz="1100"/>
              </a:br>
              <a:r>
                <a:rPr lang="en-US" sz="800"/>
                <a:t>Accept/Reject</a:t>
              </a:r>
            </a:p>
          </p:txBody>
        </p:sp>
        <p:sp>
          <p:nvSpPr>
            <p:cNvPr id="53" name="AutoShape 29">
              <a:extLst>
                <a:ext uri="{FF2B5EF4-FFF2-40B4-BE49-F238E27FC236}">
                  <a16:creationId xmlns:a16="http://schemas.microsoft.com/office/drawing/2014/main" id="{9EB0D342-D4CA-4208-9417-78DC1A46D8B2}"/>
                </a:ext>
              </a:extLst>
            </p:cNvPr>
            <p:cNvSpPr>
              <a:spLocks noChangeArrowheads="1"/>
            </p:cNvSpPr>
            <p:nvPr/>
          </p:nvSpPr>
          <p:spPr bwMode="auto">
            <a:xfrm>
              <a:off x="6939895" y="2047445"/>
              <a:ext cx="703262" cy="463550"/>
            </a:xfrm>
            <a:prstGeom prst="diamond">
              <a:avLst/>
            </a:prstGeom>
            <a:solidFill>
              <a:schemeClr val="bg1"/>
            </a:solidFill>
            <a:ln w="12700">
              <a:solidFill>
                <a:srgbClr val="FF0000"/>
              </a:solidFill>
              <a:miter lim="800000"/>
              <a:headEnd type="none" w="sm" len="sm"/>
              <a:tailEnd type="none" w="sm" len="sm"/>
            </a:ln>
          </p:spPr>
          <p:txBody>
            <a:bodyPr wrap="none" anchor="ctr"/>
            <a:lstStyle/>
            <a:p>
              <a:pPr algn="ctr" eaLnBrk="0" hangingPunct="0">
                <a:spcBef>
                  <a:spcPct val="50000"/>
                </a:spcBef>
              </a:pPr>
              <a:r>
                <a:rPr lang="en-GB" sz="900"/>
                <a:t>Decision?</a:t>
              </a:r>
            </a:p>
          </p:txBody>
        </p:sp>
        <p:sp>
          <p:nvSpPr>
            <p:cNvPr id="54" name="Rectangle 35">
              <a:extLst>
                <a:ext uri="{FF2B5EF4-FFF2-40B4-BE49-F238E27FC236}">
                  <a16:creationId xmlns:a16="http://schemas.microsoft.com/office/drawing/2014/main" id="{B9753B51-03D7-4365-AF8C-5F0A8A23B93D}"/>
                </a:ext>
              </a:extLst>
            </p:cNvPr>
            <p:cNvSpPr>
              <a:spLocks noChangeArrowheads="1"/>
            </p:cNvSpPr>
            <p:nvPr/>
          </p:nvSpPr>
          <p:spPr bwMode="auto">
            <a:xfrm>
              <a:off x="5922307" y="2463370"/>
              <a:ext cx="40798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50000"/>
                </a:spcBef>
              </a:pPr>
              <a:r>
                <a:rPr lang="en-GB" sz="1000" b="1"/>
                <a:t>Yes</a:t>
              </a:r>
            </a:p>
          </p:txBody>
        </p:sp>
        <p:cxnSp>
          <p:nvCxnSpPr>
            <p:cNvPr id="55" name="AutoShape 73">
              <a:extLst>
                <a:ext uri="{FF2B5EF4-FFF2-40B4-BE49-F238E27FC236}">
                  <a16:creationId xmlns:a16="http://schemas.microsoft.com/office/drawing/2014/main" id="{4F032C08-9688-46CC-A0B8-ADCADA36A857}"/>
                </a:ext>
              </a:extLst>
            </p:cNvPr>
            <p:cNvCxnSpPr>
              <a:cxnSpLocks noChangeShapeType="1"/>
              <a:stCxn id="46" idx="3"/>
              <a:endCxn id="53" idx="1"/>
            </p:cNvCxnSpPr>
            <p:nvPr/>
          </p:nvCxnSpPr>
          <p:spPr bwMode="auto">
            <a:xfrm>
              <a:off x="6389032" y="2277633"/>
              <a:ext cx="550863" cy="1587"/>
            </a:xfrm>
            <a:prstGeom prst="bentConnector3">
              <a:avLst>
                <a:gd name="adj1" fmla="val 5000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Elbow Connector 256">
              <a:extLst>
                <a:ext uri="{FF2B5EF4-FFF2-40B4-BE49-F238E27FC236}">
                  <a16:creationId xmlns:a16="http://schemas.microsoft.com/office/drawing/2014/main" id="{52963312-393D-4A5F-9473-209658DF5DE2}"/>
                </a:ext>
              </a:extLst>
            </p:cNvPr>
            <p:cNvCxnSpPr>
              <a:cxnSpLocks noChangeShapeType="1"/>
              <a:stCxn id="52" idx="3"/>
              <a:endCxn id="53" idx="1"/>
            </p:cNvCxnSpPr>
            <p:nvPr/>
          </p:nvCxnSpPr>
          <p:spPr bwMode="auto">
            <a:xfrm flipV="1">
              <a:off x="6417607" y="2279220"/>
              <a:ext cx="522288" cy="3721100"/>
            </a:xfrm>
            <a:prstGeom prst="bentConnector3">
              <a:avLst>
                <a:gd name="adj1" fmla="val 13588"/>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57" name="Rectangle 19">
              <a:extLst>
                <a:ext uri="{FF2B5EF4-FFF2-40B4-BE49-F238E27FC236}">
                  <a16:creationId xmlns:a16="http://schemas.microsoft.com/office/drawing/2014/main" id="{6B6800B0-6666-45DC-8DC9-B883F89D2D09}"/>
                </a:ext>
              </a:extLst>
            </p:cNvPr>
            <p:cNvSpPr>
              <a:spLocks noChangeArrowheads="1"/>
            </p:cNvSpPr>
            <p:nvPr/>
          </p:nvSpPr>
          <p:spPr bwMode="auto">
            <a:xfrm>
              <a:off x="6250920" y="2045858"/>
              <a:ext cx="354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spcBef>
                  <a:spcPct val="50000"/>
                </a:spcBef>
              </a:pPr>
              <a:r>
                <a:rPr lang="sv-SE" sz="1000" b="1"/>
                <a:t>No</a:t>
              </a:r>
              <a:endParaRPr lang="en-GB" sz="1000" b="1"/>
            </a:p>
          </p:txBody>
        </p:sp>
        <p:cxnSp>
          <p:nvCxnSpPr>
            <p:cNvPr id="58" name="Straight Connector 260">
              <a:extLst>
                <a:ext uri="{FF2B5EF4-FFF2-40B4-BE49-F238E27FC236}">
                  <a16:creationId xmlns:a16="http://schemas.microsoft.com/office/drawing/2014/main" id="{91C87AEB-D7B5-42D6-B0F3-A164A865D20D}"/>
                </a:ext>
              </a:extLst>
            </p:cNvPr>
            <p:cNvCxnSpPr>
              <a:cxnSpLocks noChangeShapeType="1"/>
            </p:cNvCxnSpPr>
            <p:nvPr/>
          </p:nvCxnSpPr>
          <p:spPr bwMode="auto">
            <a:xfrm>
              <a:off x="2869545" y="1644220"/>
              <a:ext cx="8640762"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sp>
          <p:nvSpPr>
            <p:cNvPr id="59" name="TextBox 265">
              <a:extLst>
                <a:ext uri="{FF2B5EF4-FFF2-40B4-BE49-F238E27FC236}">
                  <a16:creationId xmlns:a16="http://schemas.microsoft.com/office/drawing/2014/main" id="{3B8F065E-DF64-42A0-9624-444C9FA1EED4}"/>
                </a:ext>
              </a:extLst>
            </p:cNvPr>
            <p:cNvSpPr txBox="1">
              <a:spLocks noChangeArrowheads="1"/>
            </p:cNvSpPr>
            <p:nvPr/>
          </p:nvSpPr>
          <p:spPr bwMode="auto">
            <a:xfrm>
              <a:off x="9106832" y="1348945"/>
              <a:ext cx="890588" cy="261938"/>
            </a:xfrm>
            <a:prstGeom prst="rect">
              <a:avLst/>
            </a:prstGeom>
            <a:solidFill>
              <a:schemeClr val="bg1"/>
            </a:solidFill>
            <a:ln w="9525">
              <a:solidFill>
                <a:schemeClr val="tx1"/>
              </a:solidFill>
              <a:miter lim="800000"/>
              <a:headEnd/>
              <a:tailEnd/>
            </a:ln>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100"/>
                <a:t>Send Offer</a:t>
              </a:r>
              <a:endParaRPr lang="en-US" sz="900"/>
            </a:p>
          </p:txBody>
        </p:sp>
        <p:sp>
          <p:nvSpPr>
            <p:cNvPr id="60" name="AutoShape 29">
              <a:extLst>
                <a:ext uri="{FF2B5EF4-FFF2-40B4-BE49-F238E27FC236}">
                  <a16:creationId xmlns:a16="http://schemas.microsoft.com/office/drawing/2014/main" id="{E55E512E-93D7-4510-9582-3CA43F542136}"/>
                </a:ext>
              </a:extLst>
            </p:cNvPr>
            <p:cNvSpPr>
              <a:spLocks noChangeArrowheads="1"/>
            </p:cNvSpPr>
            <p:nvPr/>
          </p:nvSpPr>
          <p:spPr bwMode="auto">
            <a:xfrm>
              <a:off x="8511520" y="2071258"/>
              <a:ext cx="603250" cy="422275"/>
            </a:xfrm>
            <a:prstGeom prst="diamond">
              <a:avLst/>
            </a:prstGeom>
            <a:solidFill>
              <a:schemeClr val="bg1"/>
            </a:solidFill>
            <a:ln w="12700">
              <a:solidFill>
                <a:srgbClr val="FF0000"/>
              </a:solidFill>
              <a:miter lim="800000"/>
              <a:headEnd type="none" w="sm" len="sm"/>
              <a:tailEnd type="none" w="sm" len="sm"/>
            </a:ln>
          </p:spPr>
          <p:txBody>
            <a:bodyPr wrap="none" anchor="ctr"/>
            <a:lstStyle/>
            <a:p>
              <a:pPr algn="ctr" eaLnBrk="0" hangingPunct="0">
                <a:spcBef>
                  <a:spcPct val="50000"/>
                </a:spcBef>
              </a:pPr>
              <a:r>
                <a:rPr lang="en-GB" sz="900"/>
                <a:t>Billable?</a:t>
              </a:r>
            </a:p>
          </p:txBody>
        </p:sp>
        <p:cxnSp>
          <p:nvCxnSpPr>
            <p:cNvPr id="61" name="AutoShape 73">
              <a:extLst>
                <a:ext uri="{FF2B5EF4-FFF2-40B4-BE49-F238E27FC236}">
                  <a16:creationId xmlns:a16="http://schemas.microsoft.com/office/drawing/2014/main" id="{B52F4B0C-EAB6-4554-A153-966CACB1A223}"/>
                </a:ext>
              </a:extLst>
            </p:cNvPr>
            <p:cNvCxnSpPr>
              <a:cxnSpLocks noChangeShapeType="1"/>
              <a:stCxn id="53" idx="3"/>
              <a:endCxn id="60" idx="1"/>
            </p:cNvCxnSpPr>
            <p:nvPr/>
          </p:nvCxnSpPr>
          <p:spPr bwMode="auto">
            <a:xfrm>
              <a:off x="7643157" y="2279220"/>
              <a:ext cx="868363" cy="3175"/>
            </a:xfrm>
            <a:prstGeom prst="bentConnector3">
              <a:avLst>
                <a:gd name="adj1" fmla="val 5000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Elbow Connector 272">
              <a:extLst>
                <a:ext uri="{FF2B5EF4-FFF2-40B4-BE49-F238E27FC236}">
                  <a16:creationId xmlns:a16="http://schemas.microsoft.com/office/drawing/2014/main" id="{6B110697-E1BF-4BF4-8334-EC3E223EEA83}"/>
                </a:ext>
              </a:extLst>
            </p:cNvPr>
            <p:cNvCxnSpPr>
              <a:cxnSpLocks noChangeShapeType="1"/>
              <a:stCxn id="60" idx="0"/>
              <a:endCxn id="59" idx="1"/>
            </p:cNvCxnSpPr>
            <p:nvPr/>
          </p:nvCxnSpPr>
          <p:spPr bwMode="auto">
            <a:xfrm rot="5400000" flipH="1" flipV="1">
              <a:off x="8663920" y="1628345"/>
              <a:ext cx="592138" cy="293687"/>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64" name="AutoShape 29">
              <a:extLst>
                <a:ext uri="{FF2B5EF4-FFF2-40B4-BE49-F238E27FC236}">
                  <a16:creationId xmlns:a16="http://schemas.microsoft.com/office/drawing/2014/main" id="{9C8C3777-BB85-4038-8827-2D5F4C308F91}"/>
                </a:ext>
              </a:extLst>
            </p:cNvPr>
            <p:cNvSpPr>
              <a:spLocks noChangeArrowheads="1"/>
            </p:cNvSpPr>
            <p:nvPr/>
          </p:nvSpPr>
          <p:spPr bwMode="auto">
            <a:xfrm>
              <a:off x="7455832" y="615520"/>
              <a:ext cx="795338" cy="350838"/>
            </a:xfrm>
            <a:prstGeom prst="diamond">
              <a:avLst/>
            </a:prstGeom>
            <a:solidFill>
              <a:schemeClr val="bg1"/>
            </a:solidFill>
            <a:ln w="12700">
              <a:solidFill>
                <a:srgbClr val="FF0000"/>
              </a:solidFill>
              <a:miter lim="800000"/>
              <a:headEnd type="none" w="sm" len="sm"/>
              <a:tailEnd type="none" w="sm" len="sm"/>
            </a:ln>
          </p:spPr>
          <p:txBody>
            <a:bodyPr wrap="none" anchor="ctr"/>
            <a:lstStyle/>
            <a:p>
              <a:pPr algn="ctr" eaLnBrk="0" hangingPunct="0">
                <a:spcBef>
                  <a:spcPct val="50000"/>
                </a:spcBef>
              </a:pPr>
              <a:r>
                <a:rPr lang="en-GB" sz="900"/>
                <a:t>Decision?</a:t>
              </a:r>
            </a:p>
          </p:txBody>
        </p:sp>
        <p:cxnSp>
          <p:nvCxnSpPr>
            <p:cNvPr id="65" name="AutoShape 73">
              <a:extLst>
                <a:ext uri="{FF2B5EF4-FFF2-40B4-BE49-F238E27FC236}">
                  <a16:creationId xmlns:a16="http://schemas.microsoft.com/office/drawing/2014/main" id="{38349581-31F1-4215-B5A2-B0CB184C3A06}"/>
                </a:ext>
              </a:extLst>
            </p:cNvPr>
            <p:cNvCxnSpPr>
              <a:cxnSpLocks noChangeShapeType="1"/>
              <a:stCxn id="53" idx="0"/>
              <a:endCxn id="64" idx="1"/>
            </p:cNvCxnSpPr>
            <p:nvPr/>
          </p:nvCxnSpPr>
          <p:spPr bwMode="auto">
            <a:xfrm rot="5400000" flipH="1" flipV="1">
              <a:off x="6746220" y="1337833"/>
              <a:ext cx="1255712" cy="163512"/>
            </a:xfrm>
            <a:prstGeom prst="bentConnector2">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Straight Connector 285">
              <a:extLst>
                <a:ext uri="{FF2B5EF4-FFF2-40B4-BE49-F238E27FC236}">
                  <a16:creationId xmlns:a16="http://schemas.microsoft.com/office/drawing/2014/main" id="{6C940766-C2E3-4A0A-8B8A-18AC5D64738D}"/>
                </a:ext>
              </a:extLst>
            </p:cNvPr>
            <p:cNvCxnSpPr>
              <a:cxnSpLocks noChangeShapeType="1"/>
            </p:cNvCxnSpPr>
            <p:nvPr/>
          </p:nvCxnSpPr>
          <p:spPr bwMode="auto">
            <a:xfrm>
              <a:off x="2860020" y="1288620"/>
              <a:ext cx="8640762" cy="0"/>
            </a:xfrm>
            <a:prstGeom prst="line">
              <a:avLst/>
            </a:prstGeom>
            <a:noFill/>
            <a:ln w="12700" algn="ctr">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67" name="AutoShape 73">
              <a:extLst>
                <a:ext uri="{FF2B5EF4-FFF2-40B4-BE49-F238E27FC236}">
                  <a16:creationId xmlns:a16="http://schemas.microsoft.com/office/drawing/2014/main" id="{2B4783A2-DAE7-468F-8650-BAED20C8FC8E}"/>
                </a:ext>
              </a:extLst>
            </p:cNvPr>
            <p:cNvCxnSpPr>
              <a:cxnSpLocks noChangeShapeType="1"/>
              <a:stCxn id="64" idx="3"/>
              <a:endCxn id="60" idx="1"/>
            </p:cNvCxnSpPr>
            <p:nvPr/>
          </p:nvCxnSpPr>
          <p:spPr bwMode="auto">
            <a:xfrm>
              <a:off x="8251170" y="791733"/>
              <a:ext cx="260350" cy="1490662"/>
            </a:xfrm>
            <a:prstGeom prst="bentConnector3">
              <a:avLst>
                <a:gd name="adj1" fmla="val 5000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8" name="Rounded Rectangle 234">
              <a:extLst>
                <a:ext uri="{FF2B5EF4-FFF2-40B4-BE49-F238E27FC236}">
                  <a16:creationId xmlns:a16="http://schemas.microsoft.com/office/drawing/2014/main" id="{DEDCEC71-FEC9-481C-9B76-AB946A4ADA37}"/>
                </a:ext>
              </a:extLst>
            </p:cNvPr>
            <p:cNvSpPr>
              <a:spLocks noChangeArrowheads="1"/>
            </p:cNvSpPr>
            <p:nvPr/>
          </p:nvSpPr>
          <p:spPr bwMode="auto">
            <a:xfrm>
              <a:off x="7633632" y="2101420"/>
              <a:ext cx="615950" cy="133350"/>
            </a:xfrm>
            <a:prstGeom prst="roundRect">
              <a:avLst>
                <a:gd name="adj" fmla="val 16667"/>
              </a:avLst>
            </a:prstGeom>
            <a:solidFill>
              <a:schemeClr val="accent2"/>
            </a:solidFill>
            <a:ln w="12700" algn="ctr">
              <a:solidFill>
                <a:schemeClr val="tx1"/>
              </a:solidFill>
              <a:round/>
              <a:headEnd/>
              <a:tailEnd/>
            </a:ln>
          </p:spPr>
          <p:txBody>
            <a:bodyPr wrap="none" lIns="18288" rIns="72000" anchor="ctr"/>
            <a:lstStyle/>
            <a:p>
              <a:pPr algn="ctr">
                <a:spcBef>
                  <a:spcPct val="50000"/>
                </a:spcBef>
              </a:pPr>
              <a:r>
                <a:rPr lang="en-US" sz="800">
                  <a:solidFill>
                    <a:srgbClr val="FFFFFF"/>
                  </a:solidFill>
                </a:rPr>
                <a:t>APPROVED</a:t>
              </a:r>
            </a:p>
          </p:txBody>
        </p:sp>
        <p:sp>
          <p:nvSpPr>
            <p:cNvPr id="69" name="Rounded Rectangle 135">
              <a:extLst>
                <a:ext uri="{FF2B5EF4-FFF2-40B4-BE49-F238E27FC236}">
                  <a16:creationId xmlns:a16="http://schemas.microsoft.com/office/drawing/2014/main" id="{4851281A-C5AB-41E7-9583-BFF644D82293}"/>
                </a:ext>
              </a:extLst>
            </p:cNvPr>
            <p:cNvSpPr/>
            <p:nvPr/>
          </p:nvSpPr>
          <p:spPr bwMode="auto">
            <a:xfrm>
              <a:off x="6939895" y="2671333"/>
              <a:ext cx="611187" cy="125412"/>
            </a:xfrm>
            <a:prstGeom prst="roundRect">
              <a:avLst/>
            </a:prstGeom>
            <a:solidFill>
              <a:schemeClr val="accent2"/>
            </a:solidFill>
            <a:ln w="12700" cap="flat" cmpd="sng" algn="ctr">
              <a:solidFill>
                <a:schemeClr val="tx1"/>
              </a:solidFill>
              <a:prstDash val="solid"/>
              <a:round/>
              <a:headEnd type="none" w="med" len="med"/>
              <a:tailEnd type="none" w="med" len="med"/>
            </a:ln>
            <a:effectLst/>
          </p:spPr>
          <p:txBody>
            <a:bodyPr wrap="none" lIns="18288" rIns="72000" anchor="ctr"/>
            <a:lstStyle/>
            <a:p>
              <a:pPr algn="ctr">
                <a:spcBef>
                  <a:spcPct val="50000"/>
                </a:spcBef>
                <a:defRPr/>
              </a:pPr>
              <a:r>
                <a:rPr lang="en-US" sz="750" dirty="0">
                  <a:solidFill>
                    <a:srgbClr val="FFFFFF"/>
                  </a:solidFill>
                  <a:ea typeface="Arial Unicode MS"/>
                  <a:cs typeface="+mn-cs"/>
                </a:rPr>
                <a:t>CANCELLED</a:t>
              </a:r>
            </a:p>
          </p:txBody>
        </p:sp>
        <p:sp>
          <p:nvSpPr>
            <p:cNvPr id="70" name="Rounded Rectangle 254">
              <a:extLst>
                <a:ext uri="{FF2B5EF4-FFF2-40B4-BE49-F238E27FC236}">
                  <a16:creationId xmlns:a16="http://schemas.microsoft.com/office/drawing/2014/main" id="{2C4B476E-A52E-49D3-850D-09890A26CAA6}"/>
                </a:ext>
              </a:extLst>
            </p:cNvPr>
            <p:cNvSpPr>
              <a:spLocks noChangeArrowheads="1"/>
            </p:cNvSpPr>
            <p:nvPr/>
          </p:nvSpPr>
          <p:spPr bwMode="auto">
            <a:xfrm>
              <a:off x="6939895" y="2531633"/>
              <a:ext cx="611187" cy="130175"/>
            </a:xfrm>
            <a:prstGeom prst="roundRect">
              <a:avLst>
                <a:gd name="adj" fmla="val 16667"/>
              </a:avLst>
            </a:prstGeom>
            <a:solidFill>
              <a:schemeClr val="accent2"/>
            </a:solidFill>
            <a:ln w="12700" algn="ctr">
              <a:solidFill>
                <a:schemeClr val="tx1"/>
              </a:solidFill>
              <a:round/>
              <a:headEnd/>
              <a:tailEnd/>
            </a:ln>
          </p:spPr>
          <p:txBody>
            <a:bodyPr wrap="none" lIns="18288" rIns="72000" anchor="ctr"/>
            <a:lstStyle/>
            <a:p>
              <a:pPr algn="ctr">
                <a:spcBef>
                  <a:spcPct val="50000"/>
                </a:spcBef>
              </a:pPr>
              <a:r>
                <a:rPr lang="en-US" sz="800">
                  <a:solidFill>
                    <a:srgbClr val="FFFFFF"/>
                  </a:solidFill>
                </a:rPr>
                <a:t>REJECTED</a:t>
              </a:r>
            </a:p>
          </p:txBody>
        </p:sp>
        <p:sp>
          <p:nvSpPr>
            <p:cNvPr id="71" name="Rounded Rectangle 137">
              <a:extLst>
                <a:ext uri="{FF2B5EF4-FFF2-40B4-BE49-F238E27FC236}">
                  <a16:creationId xmlns:a16="http://schemas.microsoft.com/office/drawing/2014/main" id="{0ADC63E5-B669-4A8C-9FC1-F5AF86228874}"/>
                </a:ext>
              </a:extLst>
            </p:cNvPr>
            <p:cNvSpPr/>
            <p:nvPr/>
          </p:nvSpPr>
          <p:spPr bwMode="auto">
            <a:xfrm>
              <a:off x="6927195" y="1898220"/>
              <a:ext cx="611187" cy="119063"/>
            </a:xfrm>
            <a:prstGeom prst="roundRect">
              <a:avLst/>
            </a:prstGeom>
            <a:solidFill>
              <a:schemeClr val="accent2"/>
            </a:solidFill>
            <a:ln w="12700" cap="flat" cmpd="sng" algn="ctr">
              <a:solidFill>
                <a:schemeClr val="tx1"/>
              </a:solidFill>
              <a:prstDash val="solid"/>
              <a:round/>
              <a:headEnd type="none" w="med" len="med"/>
              <a:tailEnd type="none" w="med" len="med"/>
            </a:ln>
            <a:effectLst/>
          </p:spPr>
          <p:txBody>
            <a:bodyPr wrap="none" lIns="18288" rIns="72000" anchor="ctr"/>
            <a:lstStyle/>
            <a:p>
              <a:pPr algn="ctr">
                <a:spcBef>
                  <a:spcPct val="50000"/>
                </a:spcBef>
                <a:defRPr/>
              </a:pPr>
              <a:r>
                <a:rPr lang="en-US" sz="750" dirty="0">
                  <a:solidFill>
                    <a:srgbClr val="FFFFFF"/>
                  </a:solidFill>
                  <a:ea typeface="Arial Unicode MS"/>
                  <a:cs typeface="+mn-cs"/>
                </a:rPr>
                <a:t>ESCALATED</a:t>
              </a:r>
            </a:p>
          </p:txBody>
        </p:sp>
        <p:sp>
          <p:nvSpPr>
            <p:cNvPr id="72" name="Rounded Rectangle 234">
              <a:extLst>
                <a:ext uri="{FF2B5EF4-FFF2-40B4-BE49-F238E27FC236}">
                  <a16:creationId xmlns:a16="http://schemas.microsoft.com/office/drawing/2014/main" id="{BDAD124B-4DE2-405D-9FA4-D1F8AC822EAD}"/>
                </a:ext>
              </a:extLst>
            </p:cNvPr>
            <p:cNvSpPr>
              <a:spLocks noChangeArrowheads="1"/>
            </p:cNvSpPr>
            <p:nvPr/>
          </p:nvSpPr>
          <p:spPr bwMode="auto">
            <a:xfrm>
              <a:off x="8271807" y="629808"/>
              <a:ext cx="615950" cy="133350"/>
            </a:xfrm>
            <a:prstGeom prst="roundRect">
              <a:avLst>
                <a:gd name="adj" fmla="val 16667"/>
              </a:avLst>
            </a:prstGeom>
            <a:solidFill>
              <a:schemeClr val="accent2"/>
            </a:solidFill>
            <a:ln w="12700" algn="ctr">
              <a:solidFill>
                <a:schemeClr val="tx1"/>
              </a:solidFill>
              <a:round/>
              <a:headEnd/>
              <a:tailEnd/>
            </a:ln>
          </p:spPr>
          <p:txBody>
            <a:bodyPr wrap="none" lIns="18288" rIns="72000" anchor="ctr"/>
            <a:lstStyle/>
            <a:p>
              <a:pPr algn="ctr">
                <a:spcBef>
                  <a:spcPct val="50000"/>
                </a:spcBef>
              </a:pPr>
              <a:r>
                <a:rPr lang="en-US" sz="800">
                  <a:solidFill>
                    <a:srgbClr val="FFFFFF"/>
                  </a:solidFill>
                </a:rPr>
                <a:t>APPROVED</a:t>
              </a:r>
            </a:p>
          </p:txBody>
        </p:sp>
        <p:sp>
          <p:nvSpPr>
            <p:cNvPr id="73" name="Rounded Rectangle 139">
              <a:extLst>
                <a:ext uri="{FF2B5EF4-FFF2-40B4-BE49-F238E27FC236}">
                  <a16:creationId xmlns:a16="http://schemas.microsoft.com/office/drawing/2014/main" id="{A88DF045-B7B0-486A-B2A6-6AB8E7A067AA}"/>
                </a:ext>
              </a:extLst>
            </p:cNvPr>
            <p:cNvSpPr/>
            <p:nvPr/>
          </p:nvSpPr>
          <p:spPr bwMode="auto">
            <a:xfrm>
              <a:off x="7551082" y="1136220"/>
              <a:ext cx="609600" cy="127000"/>
            </a:xfrm>
            <a:prstGeom prst="roundRect">
              <a:avLst/>
            </a:prstGeom>
            <a:solidFill>
              <a:schemeClr val="accent2"/>
            </a:solidFill>
            <a:ln w="12700" cap="flat" cmpd="sng" algn="ctr">
              <a:solidFill>
                <a:schemeClr val="tx1"/>
              </a:solidFill>
              <a:prstDash val="solid"/>
              <a:round/>
              <a:headEnd type="none" w="med" len="med"/>
              <a:tailEnd type="none" w="med" len="med"/>
            </a:ln>
            <a:effectLst/>
          </p:spPr>
          <p:txBody>
            <a:bodyPr wrap="none" lIns="18288" rIns="72000" anchor="ctr"/>
            <a:lstStyle/>
            <a:p>
              <a:pPr algn="ctr">
                <a:spcBef>
                  <a:spcPct val="50000"/>
                </a:spcBef>
                <a:defRPr/>
              </a:pPr>
              <a:r>
                <a:rPr lang="en-US" sz="750" dirty="0">
                  <a:solidFill>
                    <a:srgbClr val="FFFFFF"/>
                  </a:solidFill>
                  <a:ea typeface="Arial Unicode MS"/>
                  <a:cs typeface="+mn-cs"/>
                </a:rPr>
                <a:t>CANCELLED</a:t>
              </a:r>
            </a:p>
          </p:txBody>
        </p:sp>
        <p:sp>
          <p:nvSpPr>
            <p:cNvPr id="74" name="Rounded Rectangle 254">
              <a:extLst>
                <a:ext uri="{FF2B5EF4-FFF2-40B4-BE49-F238E27FC236}">
                  <a16:creationId xmlns:a16="http://schemas.microsoft.com/office/drawing/2014/main" id="{F740AD42-A58A-482B-91AF-CF842569E357}"/>
                </a:ext>
              </a:extLst>
            </p:cNvPr>
            <p:cNvSpPr>
              <a:spLocks noChangeArrowheads="1"/>
            </p:cNvSpPr>
            <p:nvPr/>
          </p:nvSpPr>
          <p:spPr bwMode="auto">
            <a:xfrm>
              <a:off x="7551082" y="996520"/>
              <a:ext cx="609600" cy="130175"/>
            </a:xfrm>
            <a:prstGeom prst="roundRect">
              <a:avLst>
                <a:gd name="adj" fmla="val 16667"/>
              </a:avLst>
            </a:prstGeom>
            <a:solidFill>
              <a:schemeClr val="accent2"/>
            </a:solidFill>
            <a:ln w="12700" algn="ctr">
              <a:solidFill>
                <a:schemeClr val="tx1"/>
              </a:solidFill>
              <a:round/>
              <a:headEnd/>
              <a:tailEnd/>
            </a:ln>
          </p:spPr>
          <p:txBody>
            <a:bodyPr wrap="none" lIns="18288" rIns="72000" anchor="ctr"/>
            <a:lstStyle/>
            <a:p>
              <a:pPr algn="ctr">
                <a:spcBef>
                  <a:spcPct val="50000"/>
                </a:spcBef>
              </a:pPr>
              <a:r>
                <a:rPr lang="en-US" sz="800">
                  <a:solidFill>
                    <a:srgbClr val="FFFFFF"/>
                  </a:solidFill>
                </a:rPr>
                <a:t>REJECTED</a:t>
              </a:r>
            </a:p>
          </p:txBody>
        </p:sp>
        <p:sp>
          <p:nvSpPr>
            <p:cNvPr id="75" name="AutoShape 29">
              <a:extLst>
                <a:ext uri="{FF2B5EF4-FFF2-40B4-BE49-F238E27FC236}">
                  <a16:creationId xmlns:a16="http://schemas.microsoft.com/office/drawing/2014/main" id="{0EA7C234-5910-400D-A7A3-5DA030A36D46}"/>
                </a:ext>
              </a:extLst>
            </p:cNvPr>
            <p:cNvSpPr>
              <a:spLocks noChangeArrowheads="1"/>
            </p:cNvSpPr>
            <p:nvPr/>
          </p:nvSpPr>
          <p:spPr bwMode="auto">
            <a:xfrm>
              <a:off x="9289395" y="2071258"/>
              <a:ext cx="603250" cy="422275"/>
            </a:xfrm>
            <a:prstGeom prst="diamond">
              <a:avLst/>
            </a:prstGeom>
            <a:solidFill>
              <a:schemeClr val="bg1"/>
            </a:solidFill>
            <a:ln w="12700">
              <a:solidFill>
                <a:srgbClr val="FF0000"/>
              </a:solidFill>
              <a:miter lim="800000"/>
              <a:headEnd type="none" w="sm" len="sm"/>
              <a:tailEnd type="none" w="sm" len="sm"/>
            </a:ln>
          </p:spPr>
          <p:txBody>
            <a:bodyPr wrap="none" anchor="ctr"/>
            <a:lstStyle/>
            <a:p>
              <a:pPr algn="ctr" eaLnBrk="0" hangingPunct="0">
                <a:spcBef>
                  <a:spcPct val="50000"/>
                </a:spcBef>
              </a:pPr>
              <a:r>
                <a:rPr lang="en-GB" sz="900"/>
                <a:t>Financial</a:t>
              </a:r>
              <a:br>
                <a:rPr lang="en-GB" sz="900"/>
              </a:br>
              <a:r>
                <a:rPr lang="en-GB" sz="900"/>
                <a:t>Impact?</a:t>
              </a:r>
            </a:p>
          </p:txBody>
        </p:sp>
        <p:sp>
          <p:nvSpPr>
            <p:cNvPr id="76" name="TextBox 297">
              <a:extLst>
                <a:ext uri="{FF2B5EF4-FFF2-40B4-BE49-F238E27FC236}">
                  <a16:creationId xmlns:a16="http://schemas.microsoft.com/office/drawing/2014/main" id="{B07A03F6-945F-4E56-8698-4FDF1D958ABB}"/>
                </a:ext>
              </a:extLst>
            </p:cNvPr>
            <p:cNvSpPr txBox="1">
              <a:spLocks noChangeArrowheads="1"/>
            </p:cNvSpPr>
            <p:nvPr/>
          </p:nvSpPr>
          <p:spPr bwMode="auto">
            <a:xfrm>
              <a:off x="10433982" y="5312933"/>
              <a:ext cx="835025" cy="228600"/>
            </a:xfrm>
            <a:prstGeom prst="rect">
              <a:avLst/>
            </a:prstGeom>
            <a:solidFill>
              <a:schemeClr val="bg1"/>
            </a:solidFill>
            <a:ln w="9525">
              <a:solidFill>
                <a:schemeClr val="tx1"/>
              </a:solidFill>
              <a:miter lim="800000"/>
              <a:headEnd/>
              <a:tailEnd/>
            </a:ln>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100"/>
                <a:t>Implement</a:t>
              </a:r>
              <a:endParaRPr lang="en-US" sz="900"/>
            </a:p>
          </p:txBody>
        </p:sp>
        <p:cxnSp>
          <p:nvCxnSpPr>
            <p:cNvPr id="77" name="AutoShape 73">
              <a:extLst>
                <a:ext uri="{FF2B5EF4-FFF2-40B4-BE49-F238E27FC236}">
                  <a16:creationId xmlns:a16="http://schemas.microsoft.com/office/drawing/2014/main" id="{3765A9CF-51EE-4E61-A96F-3689B24158C0}"/>
                </a:ext>
              </a:extLst>
            </p:cNvPr>
            <p:cNvCxnSpPr>
              <a:cxnSpLocks noChangeShapeType="1"/>
              <a:endCxn id="75" idx="1"/>
            </p:cNvCxnSpPr>
            <p:nvPr/>
          </p:nvCxnSpPr>
          <p:spPr bwMode="auto">
            <a:xfrm flipV="1">
              <a:off x="9114770" y="2282395"/>
              <a:ext cx="174625" cy="7938"/>
            </a:xfrm>
            <a:prstGeom prst="bentConnector3">
              <a:avLst>
                <a:gd name="adj1" fmla="val 5000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8" name="TextBox 304">
              <a:extLst>
                <a:ext uri="{FF2B5EF4-FFF2-40B4-BE49-F238E27FC236}">
                  <a16:creationId xmlns:a16="http://schemas.microsoft.com/office/drawing/2014/main" id="{2F4B096D-2A7B-4491-9A4A-EF9DCB97A0F1}"/>
                </a:ext>
              </a:extLst>
            </p:cNvPr>
            <p:cNvSpPr txBox="1">
              <a:spLocks noChangeArrowheads="1"/>
            </p:cNvSpPr>
            <p:nvPr/>
          </p:nvSpPr>
          <p:spPr bwMode="auto">
            <a:xfrm>
              <a:off x="10049807" y="3041220"/>
              <a:ext cx="646113" cy="431800"/>
            </a:xfrm>
            <a:prstGeom prst="rect">
              <a:avLst/>
            </a:prstGeom>
            <a:solidFill>
              <a:schemeClr val="bg1"/>
            </a:solidFill>
            <a:ln w="9525">
              <a:solidFill>
                <a:schemeClr val="tx1"/>
              </a:solidFill>
              <a:miter lim="800000"/>
              <a:headEnd/>
              <a:tailEnd/>
            </a:ln>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100"/>
                <a:t>Update</a:t>
              </a:r>
              <a:br>
                <a:rPr lang="en-US" sz="1100"/>
              </a:br>
              <a:r>
                <a:rPr lang="en-US" sz="1100"/>
                <a:t>SAP</a:t>
              </a:r>
              <a:endParaRPr lang="en-US" sz="900"/>
            </a:p>
          </p:txBody>
        </p:sp>
        <p:cxnSp>
          <p:nvCxnSpPr>
            <p:cNvPr id="79" name="Elbow Connector 305">
              <a:extLst>
                <a:ext uri="{FF2B5EF4-FFF2-40B4-BE49-F238E27FC236}">
                  <a16:creationId xmlns:a16="http://schemas.microsoft.com/office/drawing/2014/main" id="{3D29EABA-70E8-4F64-9E7E-89178BC1F5A1}"/>
                </a:ext>
              </a:extLst>
            </p:cNvPr>
            <p:cNvCxnSpPr>
              <a:cxnSpLocks noChangeShapeType="1"/>
              <a:stCxn id="59" idx="3"/>
              <a:endCxn id="78" idx="0"/>
            </p:cNvCxnSpPr>
            <p:nvPr/>
          </p:nvCxnSpPr>
          <p:spPr bwMode="auto">
            <a:xfrm>
              <a:off x="9997420" y="1479120"/>
              <a:ext cx="376237" cy="1562100"/>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0" name="Elbow Connector 308">
              <a:extLst>
                <a:ext uri="{FF2B5EF4-FFF2-40B4-BE49-F238E27FC236}">
                  <a16:creationId xmlns:a16="http://schemas.microsoft.com/office/drawing/2014/main" id="{F193B6D7-91EA-4D9F-BEB3-5647FA82F7A9}"/>
                </a:ext>
              </a:extLst>
            </p:cNvPr>
            <p:cNvCxnSpPr>
              <a:cxnSpLocks noChangeShapeType="1"/>
              <a:stCxn id="75" idx="3"/>
              <a:endCxn id="78" idx="0"/>
            </p:cNvCxnSpPr>
            <p:nvPr/>
          </p:nvCxnSpPr>
          <p:spPr bwMode="auto">
            <a:xfrm>
              <a:off x="9892645" y="2282395"/>
              <a:ext cx="481012" cy="758825"/>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81" name="Rectangle 35">
              <a:extLst>
                <a:ext uri="{FF2B5EF4-FFF2-40B4-BE49-F238E27FC236}">
                  <a16:creationId xmlns:a16="http://schemas.microsoft.com/office/drawing/2014/main" id="{1983FC49-ACC6-47B6-8D2C-7FEDF22D9570}"/>
                </a:ext>
              </a:extLst>
            </p:cNvPr>
            <p:cNvSpPr>
              <a:spLocks noChangeArrowheads="1"/>
            </p:cNvSpPr>
            <p:nvPr/>
          </p:nvSpPr>
          <p:spPr bwMode="auto">
            <a:xfrm>
              <a:off x="8752820" y="1872820"/>
              <a:ext cx="40798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50000"/>
                </a:spcBef>
              </a:pPr>
              <a:r>
                <a:rPr lang="en-GB" sz="1000" b="1"/>
                <a:t>Yes</a:t>
              </a:r>
            </a:p>
          </p:txBody>
        </p:sp>
        <p:sp>
          <p:nvSpPr>
            <p:cNvPr id="82" name="Rectangle 19">
              <a:extLst>
                <a:ext uri="{FF2B5EF4-FFF2-40B4-BE49-F238E27FC236}">
                  <a16:creationId xmlns:a16="http://schemas.microsoft.com/office/drawing/2014/main" id="{5E4A1DF1-1147-479C-8BD0-882ABAB2CCF8}"/>
                </a:ext>
              </a:extLst>
            </p:cNvPr>
            <p:cNvSpPr>
              <a:spLocks noChangeArrowheads="1"/>
            </p:cNvSpPr>
            <p:nvPr/>
          </p:nvSpPr>
          <p:spPr bwMode="auto">
            <a:xfrm>
              <a:off x="8944907" y="2279220"/>
              <a:ext cx="35401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spcBef>
                  <a:spcPct val="50000"/>
                </a:spcBef>
              </a:pPr>
              <a:r>
                <a:rPr lang="sv-SE" sz="1000" b="1"/>
                <a:t>No</a:t>
              </a:r>
              <a:endParaRPr lang="en-GB" sz="1000" b="1"/>
            </a:p>
          </p:txBody>
        </p:sp>
        <p:sp>
          <p:nvSpPr>
            <p:cNvPr id="83" name="Rectangle 35">
              <a:extLst>
                <a:ext uri="{FF2B5EF4-FFF2-40B4-BE49-F238E27FC236}">
                  <a16:creationId xmlns:a16="http://schemas.microsoft.com/office/drawing/2014/main" id="{DB606AD9-D7DD-4550-BF01-D44C68CFC0A7}"/>
                </a:ext>
              </a:extLst>
            </p:cNvPr>
            <p:cNvSpPr>
              <a:spLocks noChangeArrowheads="1"/>
            </p:cNvSpPr>
            <p:nvPr/>
          </p:nvSpPr>
          <p:spPr bwMode="auto">
            <a:xfrm>
              <a:off x="9722782" y="2044270"/>
              <a:ext cx="40798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spcBef>
                  <a:spcPct val="50000"/>
                </a:spcBef>
              </a:pPr>
              <a:r>
                <a:rPr lang="en-GB" sz="1000" b="1"/>
                <a:t>Yes</a:t>
              </a:r>
            </a:p>
          </p:txBody>
        </p:sp>
        <p:cxnSp>
          <p:nvCxnSpPr>
            <p:cNvPr id="84" name="Elbow Connector 331">
              <a:extLst>
                <a:ext uri="{FF2B5EF4-FFF2-40B4-BE49-F238E27FC236}">
                  <a16:creationId xmlns:a16="http://schemas.microsoft.com/office/drawing/2014/main" id="{DCAAEB63-CD65-49BC-B822-B16B25E34B2C}"/>
                </a:ext>
              </a:extLst>
            </p:cNvPr>
            <p:cNvCxnSpPr>
              <a:cxnSpLocks noChangeShapeType="1"/>
              <a:stCxn id="59" idx="3"/>
              <a:endCxn id="76" idx="0"/>
            </p:cNvCxnSpPr>
            <p:nvPr/>
          </p:nvCxnSpPr>
          <p:spPr bwMode="auto">
            <a:xfrm>
              <a:off x="9997420" y="1479120"/>
              <a:ext cx="854075" cy="3833813"/>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85" name="Rounded Rectangle 151">
              <a:extLst>
                <a:ext uri="{FF2B5EF4-FFF2-40B4-BE49-F238E27FC236}">
                  <a16:creationId xmlns:a16="http://schemas.microsoft.com/office/drawing/2014/main" id="{4632AC82-EDF8-4660-8841-6B1DEFA4CB07}"/>
                </a:ext>
              </a:extLst>
            </p:cNvPr>
            <p:cNvSpPr/>
            <p:nvPr/>
          </p:nvSpPr>
          <p:spPr bwMode="auto">
            <a:xfrm>
              <a:off x="10532407" y="6144783"/>
              <a:ext cx="646113" cy="120650"/>
            </a:xfrm>
            <a:prstGeom prst="roundRect">
              <a:avLst/>
            </a:prstGeom>
            <a:solidFill>
              <a:schemeClr val="accent2"/>
            </a:solidFill>
            <a:ln w="12700" cap="flat" cmpd="sng" algn="ctr">
              <a:solidFill>
                <a:schemeClr val="tx1"/>
              </a:solidFill>
              <a:prstDash val="solid"/>
              <a:round/>
              <a:headEnd type="none" w="med" len="med"/>
              <a:tailEnd type="none" w="med" len="med"/>
            </a:ln>
            <a:effectLst/>
          </p:spPr>
          <p:txBody>
            <a:bodyPr wrap="none" lIns="18288" rIns="72000" anchor="ctr"/>
            <a:lstStyle/>
            <a:p>
              <a:pPr>
                <a:spcBef>
                  <a:spcPct val="50000"/>
                </a:spcBef>
                <a:defRPr/>
              </a:pPr>
              <a:r>
                <a:rPr lang="en-US" sz="750" dirty="0">
                  <a:solidFill>
                    <a:schemeClr val="bg1"/>
                  </a:solidFill>
                  <a:cs typeface="+mn-cs"/>
                </a:rPr>
                <a:t>SIGNED-OFF</a:t>
              </a:r>
            </a:p>
          </p:txBody>
        </p:sp>
        <p:sp>
          <p:nvSpPr>
            <p:cNvPr id="86" name="TextBox 340">
              <a:extLst>
                <a:ext uri="{FF2B5EF4-FFF2-40B4-BE49-F238E27FC236}">
                  <a16:creationId xmlns:a16="http://schemas.microsoft.com/office/drawing/2014/main" id="{4EE6C0B4-C92E-49E0-92C0-633431E12A61}"/>
                </a:ext>
              </a:extLst>
            </p:cNvPr>
            <p:cNvSpPr txBox="1">
              <a:spLocks noChangeArrowheads="1"/>
            </p:cNvSpPr>
            <p:nvPr/>
          </p:nvSpPr>
          <p:spPr bwMode="auto">
            <a:xfrm>
              <a:off x="10343495" y="5879670"/>
              <a:ext cx="1012825" cy="228600"/>
            </a:xfrm>
            <a:prstGeom prst="rect">
              <a:avLst/>
            </a:prstGeom>
            <a:solidFill>
              <a:schemeClr val="bg1"/>
            </a:solidFill>
            <a:ln w="9525">
              <a:solidFill>
                <a:schemeClr val="tx1"/>
              </a:solidFill>
              <a:miter lim="800000"/>
              <a:headEnd/>
              <a:tailEnd/>
            </a:ln>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50000"/>
                </a:spcBef>
              </a:pPr>
              <a:r>
                <a:rPr lang="en-US" sz="1100"/>
                <a:t>Acceptance</a:t>
              </a:r>
              <a:endParaRPr lang="en-US" sz="900"/>
            </a:p>
          </p:txBody>
        </p:sp>
        <p:cxnSp>
          <p:nvCxnSpPr>
            <p:cNvPr id="87" name="Elbow Connector 341">
              <a:extLst>
                <a:ext uri="{FF2B5EF4-FFF2-40B4-BE49-F238E27FC236}">
                  <a16:creationId xmlns:a16="http://schemas.microsoft.com/office/drawing/2014/main" id="{C16FEF55-53D8-4D2D-AB5C-6D891566F99D}"/>
                </a:ext>
              </a:extLst>
            </p:cNvPr>
            <p:cNvCxnSpPr>
              <a:cxnSpLocks noChangeShapeType="1"/>
              <a:stCxn id="76" idx="2"/>
              <a:endCxn id="86" idx="0"/>
            </p:cNvCxnSpPr>
            <p:nvPr/>
          </p:nvCxnSpPr>
          <p:spPr bwMode="auto">
            <a:xfrm rot="5400000">
              <a:off x="10681632" y="5709808"/>
              <a:ext cx="338137" cy="1588"/>
            </a:xfrm>
            <a:prstGeom prst="bentConnector3">
              <a:avLst>
                <a:gd name="adj1" fmla="val 50000"/>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88" name="Rounded Rectangle 154">
              <a:extLst>
                <a:ext uri="{FF2B5EF4-FFF2-40B4-BE49-F238E27FC236}">
                  <a16:creationId xmlns:a16="http://schemas.microsoft.com/office/drawing/2014/main" id="{E9E2844C-FC21-4F0F-85F5-6D2D30D281E1}"/>
                </a:ext>
              </a:extLst>
            </p:cNvPr>
            <p:cNvSpPr/>
            <p:nvPr/>
          </p:nvSpPr>
          <p:spPr bwMode="auto">
            <a:xfrm>
              <a:off x="10487957" y="5584395"/>
              <a:ext cx="727075" cy="120650"/>
            </a:xfrm>
            <a:prstGeom prst="roundRect">
              <a:avLst/>
            </a:prstGeom>
            <a:solidFill>
              <a:schemeClr val="accent2"/>
            </a:solidFill>
            <a:ln w="12700" cap="flat" cmpd="sng" algn="ctr">
              <a:solidFill>
                <a:schemeClr val="tx1"/>
              </a:solidFill>
              <a:prstDash val="solid"/>
              <a:round/>
              <a:headEnd type="none" w="med" len="med"/>
              <a:tailEnd type="none" w="med" len="med"/>
            </a:ln>
            <a:effectLst/>
          </p:spPr>
          <p:txBody>
            <a:bodyPr wrap="none" lIns="18288" rIns="72000" anchor="ctr"/>
            <a:lstStyle/>
            <a:p>
              <a:pPr>
                <a:spcBef>
                  <a:spcPct val="50000"/>
                </a:spcBef>
                <a:defRPr/>
              </a:pPr>
              <a:r>
                <a:rPr lang="en-US" sz="750" dirty="0">
                  <a:solidFill>
                    <a:schemeClr val="bg1"/>
                  </a:solidFill>
                  <a:cs typeface="+mn-cs"/>
                </a:rPr>
                <a:t>IMPLEMENTED</a:t>
              </a:r>
            </a:p>
          </p:txBody>
        </p:sp>
        <p:sp>
          <p:nvSpPr>
            <p:cNvPr id="89" name="AutoShape 67">
              <a:extLst>
                <a:ext uri="{FF2B5EF4-FFF2-40B4-BE49-F238E27FC236}">
                  <a16:creationId xmlns:a16="http://schemas.microsoft.com/office/drawing/2014/main" id="{41DF6FCD-C347-4A97-9C2C-CEBB604F74EE}"/>
                </a:ext>
              </a:extLst>
            </p:cNvPr>
            <p:cNvSpPr>
              <a:spLocks noChangeArrowheads="1"/>
            </p:cNvSpPr>
            <p:nvPr/>
          </p:nvSpPr>
          <p:spPr bwMode="auto">
            <a:xfrm>
              <a:off x="6736695" y="3112658"/>
              <a:ext cx="2935287" cy="130175"/>
            </a:xfrm>
            <a:prstGeom prst="flowChartProcess">
              <a:avLst/>
            </a:prstGeom>
            <a:solidFill>
              <a:schemeClr val="bg1"/>
            </a:solidFill>
            <a:ln w="12700">
              <a:solidFill>
                <a:schemeClr val="tx1"/>
              </a:solidFill>
              <a:prstDash val="dash"/>
              <a:miter lim="800000"/>
              <a:headEnd type="none" w="sm" len="sm"/>
              <a:tailEnd type="none" w="sm" len="sm"/>
            </a:ln>
            <a:effectLst/>
            <a:extLs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anchor="ctr"/>
            <a:lstStyle/>
            <a:p>
              <a:pPr algn="ctr" eaLnBrk="0" hangingPunct="0">
                <a:spcBef>
                  <a:spcPct val="50000"/>
                </a:spcBef>
              </a:pPr>
              <a:r>
                <a:rPr lang="en-GB" sz="1200"/>
                <a:t>Communicate</a:t>
              </a:r>
            </a:p>
          </p:txBody>
        </p:sp>
        <p:sp>
          <p:nvSpPr>
            <p:cNvPr id="90" name="Rectangle 35">
              <a:extLst>
                <a:ext uri="{FF2B5EF4-FFF2-40B4-BE49-F238E27FC236}">
                  <a16:creationId xmlns:a16="http://schemas.microsoft.com/office/drawing/2014/main" id="{AB8A4917-A5A3-429A-8794-5867ED5BED9A}"/>
                </a:ext>
              </a:extLst>
            </p:cNvPr>
            <p:cNvSpPr>
              <a:spLocks noChangeArrowheads="1"/>
            </p:cNvSpPr>
            <p:nvPr/>
          </p:nvSpPr>
          <p:spPr bwMode="auto">
            <a:xfrm>
              <a:off x="10021232" y="1152095"/>
              <a:ext cx="744538"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hangingPunct="0">
                <a:spcBef>
                  <a:spcPct val="50000"/>
                </a:spcBef>
              </a:pPr>
              <a:r>
                <a:rPr lang="en-GB" sz="1000" b="1"/>
                <a:t>PO</a:t>
              </a:r>
              <a:br>
                <a:rPr lang="en-GB" sz="1000" b="1"/>
              </a:br>
              <a:r>
                <a:rPr lang="en-GB" sz="1000" b="1"/>
                <a:t>Received</a:t>
              </a:r>
            </a:p>
          </p:txBody>
        </p:sp>
        <p:sp>
          <p:nvSpPr>
            <p:cNvPr id="91" name="Rectangle 2">
              <a:extLst>
                <a:ext uri="{FF2B5EF4-FFF2-40B4-BE49-F238E27FC236}">
                  <a16:creationId xmlns:a16="http://schemas.microsoft.com/office/drawing/2014/main" id="{1C48DFC3-6A7F-44AB-96AB-409BE0C190C4}"/>
                </a:ext>
              </a:extLst>
            </p:cNvPr>
            <p:cNvSpPr>
              <a:spLocks noChangeArrowheads="1"/>
            </p:cNvSpPr>
            <p:nvPr/>
          </p:nvSpPr>
          <p:spPr bwMode="auto">
            <a:xfrm>
              <a:off x="2860020" y="609170"/>
              <a:ext cx="8640762" cy="5699125"/>
            </a:xfrm>
            <a:prstGeom prst="rect">
              <a:avLst/>
            </a:prstGeom>
            <a:noFill/>
            <a:ln w="127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72000" rIns="72000"/>
            <a:lstStyle/>
            <a:p>
              <a:pPr>
                <a:spcBef>
                  <a:spcPct val="50000"/>
                </a:spcBef>
              </a:pPr>
              <a:endParaRPr lang="en-US"/>
            </a:p>
          </p:txBody>
        </p:sp>
        <p:sp>
          <p:nvSpPr>
            <p:cNvPr id="92" name="Rounded Rectangle 158">
              <a:extLst>
                <a:ext uri="{FF2B5EF4-FFF2-40B4-BE49-F238E27FC236}">
                  <a16:creationId xmlns:a16="http://schemas.microsoft.com/office/drawing/2014/main" id="{CC75EA11-D554-4AFD-88D3-9D397231C8BF}"/>
                </a:ext>
              </a:extLst>
            </p:cNvPr>
            <p:cNvSpPr/>
            <p:nvPr/>
          </p:nvSpPr>
          <p:spPr bwMode="auto">
            <a:xfrm>
              <a:off x="4523720" y="6054295"/>
              <a:ext cx="647700" cy="230188"/>
            </a:xfrm>
            <a:prstGeom prst="roundRect">
              <a:avLst>
                <a:gd name="adj" fmla="val 50000"/>
              </a:avLst>
            </a:prstGeom>
            <a:solidFill>
              <a:schemeClr val="accent1"/>
            </a:solidFill>
            <a:ln w="12700" cap="flat" cmpd="sng" algn="ctr">
              <a:solidFill>
                <a:schemeClr val="tx1"/>
              </a:solidFill>
              <a:prstDash val="solid"/>
              <a:round/>
              <a:headEnd type="none" w="med" len="med"/>
              <a:tailEnd type="none" w="med" len="med"/>
            </a:ln>
            <a:effectLst/>
          </p:spPr>
          <p:txBody>
            <a:bodyPr wrap="none" lIns="72000" rIns="72000" anchor="ctr"/>
            <a:lstStyle/>
            <a:p>
              <a:pPr algn="ctr">
                <a:spcBef>
                  <a:spcPct val="50000"/>
                </a:spcBef>
                <a:defRPr/>
              </a:pPr>
              <a:r>
                <a:rPr lang="en-US" sz="1050" dirty="0">
                  <a:solidFill>
                    <a:schemeClr val="bg1">
                      <a:lumMod val="95000"/>
                    </a:schemeClr>
                  </a:solidFill>
                  <a:cs typeface="+mn-cs"/>
                </a:rPr>
                <a:t>New CR</a:t>
              </a:r>
            </a:p>
          </p:txBody>
        </p:sp>
        <p:sp>
          <p:nvSpPr>
            <p:cNvPr id="93" name="Rounded Rectangle 159">
              <a:extLst>
                <a:ext uri="{FF2B5EF4-FFF2-40B4-BE49-F238E27FC236}">
                  <a16:creationId xmlns:a16="http://schemas.microsoft.com/office/drawing/2014/main" id="{BCC76073-009F-4C68-B4EB-CB0E64B2BDD1}"/>
                </a:ext>
              </a:extLst>
            </p:cNvPr>
            <p:cNvSpPr/>
            <p:nvPr/>
          </p:nvSpPr>
          <p:spPr bwMode="auto">
            <a:xfrm>
              <a:off x="10029170" y="3500008"/>
              <a:ext cx="649287" cy="230187"/>
            </a:xfrm>
            <a:prstGeom prst="roundRect">
              <a:avLst>
                <a:gd name="adj" fmla="val 50000"/>
              </a:avLst>
            </a:prstGeom>
            <a:solidFill>
              <a:schemeClr val="accent1"/>
            </a:solidFill>
            <a:ln w="12700" cap="flat" cmpd="sng" algn="ctr">
              <a:solidFill>
                <a:schemeClr val="tx1"/>
              </a:solidFill>
              <a:prstDash val="solid"/>
              <a:round/>
              <a:headEnd type="none" w="med" len="med"/>
              <a:tailEnd type="none" w="med" len="med"/>
            </a:ln>
            <a:effectLst/>
          </p:spPr>
          <p:txBody>
            <a:bodyPr wrap="none" lIns="72000" rIns="72000" anchor="ctr"/>
            <a:lstStyle/>
            <a:p>
              <a:pPr algn="ctr">
                <a:spcBef>
                  <a:spcPct val="50000"/>
                </a:spcBef>
                <a:defRPr/>
              </a:pPr>
              <a:r>
                <a:rPr lang="en-US" sz="1050" dirty="0">
                  <a:solidFill>
                    <a:schemeClr val="bg1">
                      <a:lumMod val="95000"/>
                    </a:schemeClr>
                  </a:solidFill>
                  <a:cs typeface="+mn-cs"/>
                </a:rPr>
                <a:t>End CR</a:t>
              </a:r>
            </a:p>
          </p:txBody>
        </p:sp>
        <p:sp>
          <p:nvSpPr>
            <p:cNvPr id="94" name="Diamond 5">
              <a:extLst>
                <a:ext uri="{FF2B5EF4-FFF2-40B4-BE49-F238E27FC236}">
                  <a16:creationId xmlns:a16="http://schemas.microsoft.com/office/drawing/2014/main" id="{3DC3863B-D2F0-4E0A-BA0A-CD9FE9F1F740}"/>
                </a:ext>
              </a:extLst>
            </p:cNvPr>
            <p:cNvSpPr>
              <a:spLocks noChangeArrowheads="1"/>
            </p:cNvSpPr>
            <p:nvPr/>
          </p:nvSpPr>
          <p:spPr bwMode="auto">
            <a:xfrm>
              <a:off x="6527145" y="2160158"/>
              <a:ext cx="209550" cy="244475"/>
            </a:xfrm>
            <a:prstGeom prst="diamond">
              <a:avLst/>
            </a:prstGeom>
            <a:solidFill>
              <a:srgbClr val="FF0000"/>
            </a:solidFill>
            <a:ln w="12700" algn="ctr">
              <a:solidFill>
                <a:schemeClr val="tx1"/>
              </a:solidFill>
              <a:round/>
              <a:headEnd/>
              <a:tailEnd/>
            </a:ln>
          </p:spPr>
          <p:txBody>
            <a:bodyPr wrap="none" lIns="72000" rIns="72000" anchor="ctr"/>
            <a:lstStyle/>
            <a:p>
              <a:pPr algn="ctr">
                <a:spcBef>
                  <a:spcPct val="50000"/>
                </a:spcBef>
              </a:pPr>
              <a:r>
                <a:rPr lang="en-US" sz="800">
                  <a:solidFill>
                    <a:schemeClr val="bg1"/>
                  </a:solidFill>
                </a:rPr>
                <a:t>AI</a:t>
              </a:r>
            </a:p>
          </p:txBody>
        </p:sp>
        <p:sp>
          <p:nvSpPr>
            <p:cNvPr id="95" name="Diamond 88">
              <a:extLst>
                <a:ext uri="{FF2B5EF4-FFF2-40B4-BE49-F238E27FC236}">
                  <a16:creationId xmlns:a16="http://schemas.microsoft.com/office/drawing/2014/main" id="{F8B76C4E-BF70-47FA-A603-50D56C72897F}"/>
                </a:ext>
              </a:extLst>
            </p:cNvPr>
            <p:cNvSpPr>
              <a:spLocks noChangeArrowheads="1"/>
            </p:cNvSpPr>
            <p:nvPr/>
          </p:nvSpPr>
          <p:spPr bwMode="auto">
            <a:xfrm>
              <a:off x="7184370" y="1639458"/>
              <a:ext cx="209550" cy="244475"/>
            </a:xfrm>
            <a:prstGeom prst="diamond">
              <a:avLst/>
            </a:prstGeom>
            <a:solidFill>
              <a:srgbClr val="FF0000"/>
            </a:solidFill>
            <a:ln w="12700" algn="ctr">
              <a:solidFill>
                <a:schemeClr val="tx1"/>
              </a:solidFill>
              <a:round/>
              <a:headEnd/>
              <a:tailEnd/>
            </a:ln>
          </p:spPr>
          <p:txBody>
            <a:bodyPr wrap="none" lIns="72000" rIns="72000" anchor="ctr"/>
            <a:lstStyle/>
            <a:p>
              <a:pPr algn="ctr">
                <a:spcBef>
                  <a:spcPct val="50000"/>
                </a:spcBef>
              </a:pPr>
              <a:r>
                <a:rPr lang="en-US" sz="800">
                  <a:solidFill>
                    <a:schemeClr val="bg1"/>
                  </a:solidFill>
                </a:rPr>
                <a:t>AI</a:t>
              </a:r>
            </a:p>
          </p:txBody>
        </p:sp>
        <p:cxnSp>
          <p:nvCxnSpPr>
            <p:cNvPr id="96" name="Elbow Connector 89">
              <a:extLst>
                <a:ext uri="{FF2B5EF4-FFF2-40B4-BE49-F238E27FC236}">
                  <a16:creationId xmlns:a16="http://schemas.microsoft.com/office/drawing/2014/main" id="{96968A53-2BF7-4F37-BCE8-6D8D2C89D9CA}"/>
                </a:ext>
              </a:extLst>
            </p:cNvPr>
            <p:cNvCxnSpPr>
              <a:cxnSpLocks noChangeShapeType="1"/>
              <a:stCxn id="94" idx="0"/>
              <a:endCxn id="64" idx="1"/>
            </p:cNvCxnSpPr>
            <p:nvPr/>
          </p:nvCxnSpPr>
          <p:spPr bwMode="auto">
            <a:xfrm rot="5400000" flipH="1" flipV="1">
              <a:off x="6359663" y="1063990"/>
              <a:ext cx="1368425" cy="823912"/>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97" name="TextBox 93">
              <a:extLst>
                <a:ext uri="{FF2B5EF4-FFF2-40B4-BE49-F238E27FC236}">
                  <a16:creationId xmlns:a16="http://schemas.microsoft.com/office/drawing/2014/main" id="{8248954E-B44A-4FE2-BB9E-A3C9B8EE1229}"/>
                </a:ext>
              </a:extLst>
            </p:cNvPr>
            <p:cNvSpPr txBox="1">
              <a:spLocks noChangeArrowheads="1"/>
            </p:cNvSpPr>
            <p:nvPr/>
          </p:nvSpPr>
          <p:spPr bwMode="auto">
            <a:xfrm>
              <a:off x="4930120" y="3749245"/>
              <a:ext cx="965200" cy="677863"/>
            </a:xfrm>
            <a:prstGeom prst="rect">
              <a:avLst/>
            </a:prstGeom>
            <a:solidFill>
              <a:schemeClr val="bg1"/>
            </a:solidFill>
            <a:ln w="9525">
              <a:solidFill>
                <a:schemeClr val="tx1"/>
              </a:solidFill>
              <a:miter lim="800000"/>
              <a:headEnd/>
              <a:tailEnd/>
            </a:ln>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100"/>
                <a:t>Analyze CR</a:t>
              </a:r>
              <a:br>
                <a:rPr lang="en-US" sz="1100"/>
              </a:br>
              <a:r>
                <a:rPr lang="en-US" sz="900"/>
                <a:t>- Technical</a:t>
              </a:r>
              <a:br>
                <a:rPr lang="en-US" sz="900"/>
              </a:br>
              <a:r>
                <a:rPr lang="en-US" sz="900"/>
                <a:t>- Costs</a:t>
              </a:r>
              <a:br>
                <a:rPr lang="en-US" sz="900"/>
              </a:br>
              <a:r>
                <a:rPr lang="en-US" sz="900"/>
                <a:t>- Lead time</a:t>
              </a:r>
            </a:p>
          </p:txBody>
        </p:sp>
        <p:sp>
          <p:nvSpPr>
            <p:cNvPr id="98" name="AutoShape 29">
              <a:extLst>
                <a:ext uri="{FF2B5EF4-FFF2-40B4-BE49-F238E27FC236}">
                  <a16:creationId xmlns:a16="http://schemas.microsoft.com/office/drawing/2014/main" id="{A0416622-CE35-410E-A25F-DB64923AF601}"/>
                </a:ext>
              </a:extLst>
            </p:cNvPr>
            <p:cNvSpPr>
              <a:spLocks noChangeArrowheads="1"/>
            </p:cNvSpPr>
            <p:nvPr/>
          </p:nvSpPr>
          <p:spPr bwMode="auto">
            <a:xfrm>
              <a:off x="3923645" y="2098245"/>
              <a:ext cx="795337" cy="401638"/>
            </a:xfrm>
            <a:prstGeom prst="diamond">
              <a:avLst/>
            </a:prstGeom>
            <a:solidFill>
              <a:schemeClr val="bg1"/>
            </a:solidFill>
            <a:ln w="12700">
              <a:solidFill>
                <a:srgbClr val="FF0000"/>
              </a:solidFill>
              <a:miter lim="800000"/>
              <a:headEnd type="none" w="sm" len="sm"/>
              <a:tailEnd type="none" w="sm" len="sm"/>
            </a:ln>
          </p:spPr>
          <p:txBody>
            <a:bodyPr wrap="none" anchor="ctr"/>
            <a:lstStyle/>
            <a:p>
              <a:pPr algn="ctr" eaLnBrk="0" hangingPunct="0">
                <a:spcBef>
                  <a:spcPct val="50000"/>
                </a:spcBef>
              </a:pPr>
              <a:r>
                <a:rPr lang="en-GB" sz="900"/>
                <a:t>Approval</a:t>
              </a:r>
              <a:br>
                <a:rPr lang="en-GB" sz="900"/>
              </a:br>
              <a:r>
                <a:rPr lang="en-GB" sz="900"/>
                <a:t>Needed?</a:t>
              </a:r>
            </a:p>
          </p:txBody>
        </p:sp>
        <p:cxnSp>
          <p:nvCxnSpPr>
            <p:cNvPr id="99" name="Elbow Connector 102">
              <a:extLst>
                <a:ext uri="{FF2B5EF4-FFF2-40B4-BE49-F238E27FC236}">
                  <a16:creationId xmlns:a16="http://schemas.microsoft.com/office/drawing/2014/main" id="{4A852E59-27B9-450D-9218-724D96881467}"/>
                </a:ext>
              </a:extLst>
            </p:cNvPr>
            <p:cNvCxnSpPr>
              <a:cxnSpLocks noChangeShapeType="1"/>
              <a:stCxn id="97" idx="0"/>
              <a:endCxn id="46" idx="1"/>
            </p:cNvCxnSpPr>
            <p:nvPr/>
          </p:nvCxnSpPr>
          <p:spPr bwMode="auto">
            <a:xfrm rot="5400000" flipH="1" flipV="1">
              <a:off x="4767402" y="2922951"/>
              <a:ext cx="1471612" cy="180975"/>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00" name="Rounded Rectangle 233">
              <a:extLst>
                <a:ext uri="{FF2B5EF4-FFF2-40B4-BE49-F238E27FC236}">
                  <a16:creationId xmlns:a16="http://schemas.microsoft.com/office/drawing/2014/main" id="{0A7D5162-E105-4983-8722-704331B15016}"/>
                </a:ext>
              </a:extLst>
            </p:cNvPr>
            <p:cNvSpPr>
              <a:spLocks noChangeArrowheads="1"/>
            </p:cNvSpPr>
            <p:nvPr/>
          </p:nvSpPr>
          <p:spPr bwMode="auto">
            <a:xfrm>
              <a:off x="5066645" y="3580970"/>
              <a:ext cx="654050" cy="119063"/>
            </a:xfrm>
            <a:prstGeom prst="roundRect">
              <a:avLst>
                <a:gd name="adj" fmla="val 16667"/>
              </a:avLst>
            </a:prstGeom>
            <a:solidFill>
              <a:schemeClr val="accent2"/>
            </a:solidFill>
            <a:ln w="12700" algn="ctr">
              <a:solidFill>
                <a:schemeClr val="tx1"/>
              </a:solidFill>
              <a:round/>
              <a:headEnd/>
              <a:tailEnd/>
            </a:ln>
          </p:spPr>
          <p:txBody>
            <a:bodyPr wrap="none" lIns="72000" rIns="72000" anchor="ctr"/>
            <a:lstStyle/>
            <a:p>
              <a:pPr algn="ctr">
                <a:spcBef>
                  <a:spcPct val="50000"/>
                </a:spcBef>
              </a:pPr>
              <a:r>
                <a:rPr lang="en-US" sz="800" dirty="0">
                  <a:solidFill>
                    <a:srgbClr val="FFFFFF"/>
                  </a:solidFill>
                </a:rPr>
                <a:t>ANALYZED</a:t>
              </a:r>
            </a:p>
          </p:txBody>
        </p:sp>
        <p:sp>
          <p:nvSpPr>
            <p:cNvPr id="101" name="TextBox 100">
              <a:extLst>
                <a:ext uri="{FF2B5EF4-FFF2-40B4-BE49-F238E27FC236}">
                  <a16:creationId xmlns:a16="http://schemas.microsoft.com/office/drawing/2014/main" id="{66BCF351-BD51-4CC9-A6F8-D3158C62E014}"/>
                </a:ext>
              </a:extLst>
            </p:cNvPr>
            <p:cNvSpPr txBox="1"/>
            <p:nvPr/>
          </p:nvSpPr>
          <p:spPr>
            <a:xfrm>
              <a:off x="4255432" y="1696608"/>
              <a:ext cx="133350" cy="215900"/>
            </a:xfrm>
            <a:prstGeom prst="rect">
              <a:avLst/>
            </a:prstGeom>
            <a:solidFill>
              <a:schemeClr val="tx2">
                <a:lumMod val="25000"/>
                <a:lumOff val="75000"/>
              </a:schemeClr>
            </a:solidFill>
            <a:ln>
              <a:solidFill>
                <a:schemeClr val="tx1"/>
              </a:solidFill>
            </a:ln>
          </p:spPr>
          <p:txBody>
            <a:bodyPr>
              <a:spAutoFit/>
            </a:bodyPr>
            <a:lstStyle/>
            <a:p>
              <a:pPr algn="ctr">
                <a:spcBef>
                  <a:spcPct val="50000"/>
                </a:spcBef>
                <a:defRPr/>
              </a:pPr>
              <a:r>
                <a:rPr lang="en-US" sz="800" b="1" dirty="0">
                  <a:cs typeface="+mn-cs"/>
                </a:rPr>
                <a:t>2</a:t>
              </a:r>
            </a:p>
          </p:txBody>
        </p:sp>
        <p:cxnSp>
          <p:nvCxnSpPr>
            <p:cNvPr id="102" name="AutoShape 73">
              <a:extLst>
                <a:ext uri="{FF2B5EF4-FFF2-40B4-BE49-F238E27FC236}">
                  <a16:creationId xmlns:a16="http://schemas.microsoft.com/office/drawing/2014/main" id="{E5B3DBB3-BB7B-4123-8733-DEBDDCE7EE86}"/>
                </a:ext>
              </a:extLst>
            </p:cNvPr>
            <p:cNvCxnSpPr>
              <a:cxnSpLocks noChangeShapeType="1"/>
              <a:stCxn id="98" idx="0"/>
              <a:endCxn id="101" idx="2"/>
            </p:cNvCxnSpPr>
            <p:nvPr/>
          </p:nvCxnSpPr>
          <p:spPr bwMode="auto">
            <a:xfrm rot="5400000" flipH="1" flipV="1">
              <a:off x="4229238" y="2005377"/>
              <a:ext cx="185737" cy="0"/>
            </a:xfrm>
            <a:prstGeom prst="bentConnector3">
              <a:avLst>
                <a:gd name="adj1" fmla="val 5000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TextBox 102">
              <a:extLst>
                <a:ext uri="{FF2B5EF4-FFF2-40B4-BE49-F238E27FC236}">
                  <a16:creationId xmlns:a16="http://schemas.microsoft.com/office/drawing/2014/main" id="{C80D3F17-70DE-468D-9852-EE5B773F4A0F}"/>
                </a:ext>
              </a:extLst>
            </p:cNvPr>
            <p:cNvSpPr txBox="1"/>
            <p:nvPr/>
          </p:nvSpPr>
          <p:spPr>
            <a:xfrm>
              <a:off x="3790295" y="4616020"/>
              <a:ext cx="133350" cy="215900"/>
            </a:xfrm>
            <a:prstGeom prst="rect">
              <a:avLst/>
            </a:prstGeom>
            <a:solidFill>
              <a:schemeClr val="tx2">
                <a:lumMod val="25000"/>
                <a:lumOff val="75000"/>
              </a:schemeClr>
            </a:solidFill>
            <a:ln>
              <a:solidFill>
                <a:schemeClr val="tx1"/>
              </a:solidFill>
            </a:ln>
          </p:spPr>
          <p:txBody>
            <a:bodyPr>
              <a:spAutoFit/>
            </a:bodyPr>
            <a:lstStyle/>
            <a:p>
              <a:pPr algn="ctr">
                <a:spcBef>
                  <a:spcPct val="50000"/>
                </a:spcBef>
                <a:defRPr/>
              </a:pPr>
              <a:r>
                <a:rPr lang="en-US" sz="800" b="1" dirty="0">
                  <a:cs typeface="+mn-cs"/>
                </a:rPr>
                <a:t>1</a:t>
              </a:r>
            </a:p>
          </p:txBody>
        </p:sp>
        <p:sp>
          <p:nvSpPr>
            <p:cNvPr id="104" name="TextBox 103">
              <a:extLst>
                <a:ext uri="{FF2B5EF4-FFF2-40B4-BE49-F238E27FC236}">
                  <a16:creationId xmlns:a16="http://schemas.microsoft.com/office/drawing/2014/main" id="{D25E05E4-2F0D-4A7C-B05D-5CE65C489FB1}"/>
                </a:ext>
              </a:extLst>
            </p:cNvPr>
            <p:cNvSpPr txBox="1"/>
            <p:nvPr/>
          </p:nvSpPr>
          <p:spPr>
            <a:xfrm>
              <a:off x="4896782" y="3595258"/>
              <a:ext cx="134938" cy="214312"/>
            </a:xfrm>
            <a:prstGeom prst="rect">
              <a:avLst/>
            </a:prstGeom>
            <a:solidFill>
              <a:schemeClr val="tx2">
                <a:lumMod val="25000"/>
                <a:lumOff val="75000"/>
              </a:schemeClr>
            </a:solidFill>
            <a:ln>
              <a:solidFill>
                <a:schemeClr val="tx1"/>
              </a:solidFill>
            </a:ln>
          </p:spPr>
          <p:txBody>
            <a:bodyPr>
              <a:spAutoFit/>
            </a:bodyPr>
            <a:lstStyle/>
            <a:p>
              <a:pPr algn="ctr">
                <a:spcBef>
                  <a:spcPct val="50000"/>
                </a:spcBef>
                <a:defRPr/>
              </a:pPr>
              <a:r>
                <a:rPr lang="en-US" sz="800" b="1" dirty="0">
                  <a:cs typeface="+mn-cs"/>
                </a:rPr>
                <a:t>3</a:t>
              </a:r>
            </a:p>
          </p:txBody>
        </p:sp>
        <p:sp>
          <p:nvSpPr>
            <p:cNvPr id="105" name="TextBox 104">
              <a:extLst>
                <a:ext uri="{FF2B5EF4-FFF2-40B4-BE49-F238E27FC236}">
                  <a16:creationId xmlns:a16="http://schemas.microsoft.com/office/drawing/2014/main" id="{F2545473-8C8A-4F5F-B853-3BCA51088EE9}"/>
                </a:ext>
              </a:extLst>
            </p:cNvPr>
            <p:cNvSpPr txBox="1"/>
            <p:nvPr/>
          </p:nvSpPr>
          <p:spPr>
            <a:xfrm>
              <a:off x="6744632" y="2050620"/>
              <a:ext cx="133350" cy="215900"/>
            </a:xfrm>
            <a:prstGeom prst="rect">
              <a:avLst/>
            </a:prstGeom>
            <a:solidFill>
              <a:schemeClr val="tx2">
                <a:lumMod val="25000"/>
                <a:lumOff val="75000"/>
              </a:schemeClr>
            </a:solidFill>
            <a:ln>
              <a:solidFill>
                <a:schemeClr val="tx1"/>
              </a:solidFill>
            </a:ln>
          </p:spPr>
          <p:txBody>
            <a:bodyPr>
              <a:spAutoFit/>
            </a:bodyPr>
            <a:lstStyle/>
            <a:p>
              <a:pPr algn="ctr">
                <a:spcBef>
                  <a:spcPct val="50000"/>
                </a:spcBef>
                <a:defRPr/>
              </a:pPr>
              <a:r>
                <a:rPr lang="en-US" sz="800" b="1" dirty="0">
                  <a:cs typeface="+mn-cs"/>
                </a:rPr>
                <a:t>4</a:t>
              </a:r>
            </a:p>
          </p:txBody>
        </p:sp>
        <p:sp>
          <p:nvSpPr>
            <p:cNvPr id="106" name="TextBox 105">
              <a:extLst>
                <a:ext uri="{FF2B5EF4-FFF2-40B4-BE49-F238E27FC236}">
                  <a16:creationId xmlns:a16="http://schemas.microsoft.com/office/drawing/2014/main" id="{454BE233-17F7-4998-A710-DAC8EE2B830C}"/>
                </a:ext>
              </a:extLst>
            </p:cNvPr>
            <p:cNvSpPr txBox="1"/>
            <p:nvPr/>
          </p:nvSpPr>
          <p:spPr>
            <a:xfrm>
              <a:off x="7405032" y="1663270"/>
              <a:ext cx="133350" cy="215900"/>
            </a:xfrm>
            <a:prstGeom prst="rect">
              <a:avLst/>
            </a:prstGeom>
            <a:solidFill>
              <a:schemeClr val="tx2">
                <a:lumMod val="25000"/>
                <a:lumOff val="75000"/>
              </a:schemeClr>
            </a:solidFill>
            <a:ln>
              <a:solidFill>
                <a:schemeClr val="tx1"/>
              </a:solidFill>
            </a:ln>
          </p:spPr>
          <p:txBody>
            <a:bodyPr>
              <a:spAutoFit/>
            </a:bodyPr>
            <a:lstStyle/>
            <a:p>
              <a:pPr algn="ctr">
                <a:spcBef>
                  <a:spcPct val="50000"/>
                </a:spcBef>
                <a:defRPr/>
              </a:pPr>
              <a:r>
                <a:rPr lang="en-US" sz="800" b="1" dirty="0">
                  <a:cs typeface="+mn-cs"/>
                </a:rPr>
                <a:t>5</a:t>
              </a:r>
            </a:p>
          </p:txBody>
        </p:sp>
        <p:sp>
          <p:nvSpPr>
            <p:cNvPr id="107" name="TextBox 106">
              <a:extLst>
                <a:ext uri="{FF2B5EF4-FFF2-40B4-BE49-F238E27FC236}">
                  <a16:creationId xmlns:a16="http://schemas.microsoft.com/office/drawing/2014/main" id="{B8D68239-809B-4EAC-B0DB-5D572F620306}"/>
                </a:ext>
              </a:extLst>
            </p:cNvPr>
            <p:cNvSpPr txBox="1"/>
            <p:nvPr/>
          </p:nvSpPr>
          <p:spPr>
            <a:xfrm>
              <a:off x="6469995" y="1866470"/>
              <a:ext cx="134937" cy="215900"/>
            </a:xfrm>
            <a:prstGeom prst="rect">
              <a:avLst/>
            </a:prstGeom>
            <a:solidFill>
              <a:schemeClr val="tx2">
                <a:lumMod val="25000"/>
                <a:lumOff val="75000"/>
              </a:schemeClr>
            </a:solidFill>
            <a:ln>
              <a:solidFill>
                <a:schemeClr val="tx1"/>
              </a:solidFill>
            </a:ln>
          </p:spPr>
          <p:txBody>
            <a:bodyPr>
              <a:spAutoFit/>
            </a:bodyPr>
            <a:lstStyle/>
            <a:p>
              <a:pPr algn="ctr">
                <a:spcBef>
                  <a:spcPct val="50000"/>
                </a:spcBef>
                <a:defRPr/>
              </a:pPr>
              <a:r>
                <a:rPr lang="en-US" sz="800" b="1" dirty="0">
                  <a:cs typeface="+mn-cs"/>
                </a:rPr>
                <a:t>5</a:t>
              </a:r>
            </a:p>
          </p:txBody>
        </p:sp>
        <p:sp>
          <p:nvSpPr>
            <p:cNvPr id="108" name="TextBox 107">
              <a:extLst>
                <a:ext uri="{FF2B5EF4-FFF2-40B4-BE49-F238E27FC236}">
                  <a16:creationId xmlns:a16="http://schemas.microsoft.com/office/drawing/2014/main" id="{6917BC09-FBEF-4450-AA9E-CAEF965CD225}"/>
                </a:ext>
              </a:extLst>
            </p:cNvPr>
            <p:cNvSpPr txBox="1"/>
            <p:nvPr/>
          </p:nvSpPr>
          <p:spPr>
            <a:xfrm>
              <a:off x="3883396" y="640052"/>
              <a:ext cx="1312657" cy="954107"/>
            </a:xfrm>
            <a:prstGeom prst="rect">
              <a:avLst/>
            </a:prstGeom>
            <a:solidFill>
              <a:schemeClr val="tx2">
                <a:lumMod val="25000"/>
                <a:lumOff val="75000"/>
              </a:schemeClr>
            </a:solidFill>
            <a:ln>
              <a:solidFill>
                <a:schemeClr val="tx1"/>
              </a:solidFill>
            </a:ln>
          </p:spPr>
          <p:txBody>
            <a:bodyPr wrap="square">
              <a:spAutoFit/>
            </a:bodyPr>
            <a:lstStyle/>
            <a:p>
              <a:pPr marL="228600" indent="-228600">
                <a:spcBef>
                  <a:spcPct val="50000"/>
                </a:spcBef>
                <a:buFontTx/>
                <a:buAutoNum type="arabicPeriod"/>
                <a:defRPr/>
              </a:pPr>
              <a:r>
                <a:rPr lang="en-US" sz="800" b="1" dirty="0">
                  <a:cs typeface="+mn-cs"/>
                </a:rPr>
                <a:t>Saved CR</a:t>
              </a:r>
            </a:p>
            <a:p>
              <a:pPr marL="228600" indent="-228600">
                <a:spcBef>
                  <a:spcPct val="50000"/>
                </a:spcBef>
                <a:buFontTx/>
                <a:buAutoNum type="arabicPeriod"/>
                <a:defRPr/>
              </a:pPr>
              <a:r>
                <a:rPr lang="en-US" sz="800" b="1" dirty="0">
                  <a:cs typeface="+mn-cs"/>
                </a:rPr>
                <a:t>No Approval</a:t>
              </a:r>
            </a:p>
            <a:p>
              <a:pPr marL="228600" indent="-228600">
                <a:spcBef>
                  <a:spcPct val="50000"/>
                </a:spcBef>
                <a:buFontTx/>
                <a:buAutoNum type="arabicPeriod"/>
                <a:defRPr/>
              </a:pPr>
              <a:r>
                <a:rPr lang="en-US" sz="800" b="1" dirty="0">
                  <a:cs typeface="+mn-cs"/>
                </a:rPr>
                <a:t>Ready for Review</a:t>
              </a:r>
            </a:p>
            <a:p>
              <a:pPr marL="228600" indent="-228600">
                <a:spcBef>
                  <a:spcPct val="50000"/>
                </a:spcBef>
                <a:buFontTx/>
                <a:buAutoNum type="arabicPeriod"/>
                <a:defRPr/>
              </a:pPr>
              <a:r>
                <a:rPr lang="en-US" sz="800" b="1" dirty="0">
                  <a:cs typeface="+mn-cs"/>
                </a:rPr>
                <a:t>Project CCB</a:t>
              </a:r>
            </a:p>
            <a:p>
              <a:pPr marL="228600" indent="-228600">
                <a:spcBef>
                  <a:spcPct val="50000"/>
                </a:spcBef>
                <a:buFontTx/>
                <a:buAutoNum type="arabicPeriod"/>
                <a:defRPr/>
              </a:pPr>
              <a:r>
                <a:rPr lang="en-US" sz="800" b="1" dirty="0">
                  <a:cs typeface="+mn-cs"/>
                </a:rPr>
                <a:t>Steering CCB</a:t>
              </a:r>
            </a:p>
          </p:txBody>
        </p:sp>
        <p:sp>
          <p:nvSpPr>
            <p:cNvPr id="109" name="Rounded Rectangle 175">
              <a:extLst>
                <a:ext uri="{FF2B5EF4-FFF2-40B4-BE49-F238E27FC236}">
                  <a16:creationId xmlns:a16="http://schemas.microsoft.com/office/drawing/2014/main" id="{5CA51611-EEAB-410A-9499-3F5376E9FF54}"/>
                </a:ext>
              </a:extLst>
            </p:cNvPr>
            <p:cNvSpPr/>
            <p:nvPr/>
          </p:nvSpPr>
          <p:spPr bwMode="auto">
            <a:xfrm>
              <a:off x="6893857" y="2807858"/>
              <a:ext cx="679450" cy="125412"/>
            </a:xfrm>
            <a:prstGeom prst="roundRect">
              <a:avLst/>
            </a:prstGeom>
            <a:solidFill>
              <a:schemeClr val="accent2"/>
            </a:solidFill>
            <a:ln w="12700" cap="flat" cmpd="sng" algn="ctr">
              <a:solidFill>
                <a:schemeClr val="tx1"/>
              </a:solidFill>
              <a:prstDash val="solid"/>
              <a:round/>
              <a:headEnd type="none" w="med" len="med"/>
              <a:tailEnd type="none" w="med" len="med"/>
            </a:ln>
            <a:effectLst/>
          </p:spPr>
          <p:txBody>
            <a:bodyPr wrap="none" lIns="18288" rIns="72000" anchor="ctr"/>
            <a:lstStyle/>
            <a:p>
              <a:pPr algn="ctr">
                <a:spcBef>
                  <a:spcPct val="50000"/>
                </a:spcBef>
                <a:defRPr/>
              </a:pPr>
              <a:r>
                <a:rPr lang="en-US" sz="750" dirty="0">
                  <a:solidFill>
                    <a:srgbClr val="FFFFFF"/>
                  </a:solidFill>
                  <a:ea typeface="Arial Unicode MS"/>
                  <a:cs typeface="+mn-cs"/>
                </a:rPr>
                <a:t>POSTPONED</a:t>
              </a:r>
            </a:p>
          </p:txBody>
        </p:sp>
        <p:sp>
          <p:nvSpPr>
            <p:cNvPr id="110" name="Rounded Rectangle 176">
              <a:extLst>
                <a:ext uri="{FF2B5EF4-FFF2-40B4-BE49-F238E27FC236}">
                  <a16:creationId xmlns:a16="http://schemas.microsoft.com/office/drawing/2014/main" id="{4FB6FA14-3B38-481F-8C13-0043AD6ACB3C}"/>
                </a:ext>
              </a:extLst>
            </p:cNvPr>
            <p:cNvSpPr/>
            <p:nvPr/>
          </p:nvSpPr>
          <p:spPr bwMode="auto">
            <a:xfrm>
              <a:off x="7512982" y="1269570"/>
              <a:ext cx="679450" cy="125413"/>
            </a:xfrm>
            <a:prstGeom prst="roundRect">
              <a:avLst/>
            </a:prstGeom>
            <a:solidFill>
              <a:schemeClr val="accent2"/>
            </a:solidFill>
            <a:ln w="12700" cap="flat" cmpd="sng" algn="ctr">
              <a:solidFill>
                <a:schemeClr val="tx1"/>
              </a:solidFill>
              <a:prstDash val="solid"/>
              <a:round/>
              <a:headEnd type="none" w="med" len="med"/>
              <a:tailEnd type="none" w="med" len="med"/>
            </a:ln>
            <a:effectLst/>
          </p:spPr>
          <p:txBody>
            <a:bodyPr wrap="none" lIns="18288" rIns="72000" anchor="ctr"/>
            <a:lstStyle/>
            <a:p>
              <a:pPr algn="ctr">
                <a:spcBef>
                  <a:spcPct val="50000"/>
                </a:spcBef>
                <a:defRPr/>
              </a:pPr>
              <a:r>
                <a:rPr lang="en-US" sz="750" dirty="0">
                  <a:solidFill>
                    <a:srgbClr val="FFFFFF"/>
                  </a:solidFill>
                  <a:ea typeface="Arial Unicode MS"/>
                  <a:cs typeface="+mn-cs"/>
                </a:rPr>
                <a:t>POSTPONED</a:t>
              </a:r>
            </a:p>
          </p:txBody>
        </p:sp>
      </p:grpSp>
    </p:spTree>
    <p:extLst>
      <p:ext uri="{BB962C8B-B14F-4D97-AF65-F5344CB8AC3E}">
        <p14:creationId xmlns:p14="http://schemas.microsoft.com/office/powerpoint/2010/main" val="2233024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AB9647B-995B-4E42-A8C0-C1754BB9AD8B}"/>
              </a:ext>
            </a:extLst>
          </p:cNvPr>
          <p:cNvSpPr/>
          <p:nvPr/>
        </p:nvSpPr>
        <p:spPr bwMode="auto">
          <a:xfrm>
            <a:off x="501308" y="2196565"/>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50000"/>
              </a:spcBef>
              <a:spcAft>
                <a:spcPct val="0"/>
              </a:spcAft>
              <a:defRPr/>
            </a:pPr>
            <a:r>
              <a:rPr lang="en-US" sz="1400" dirty="0">
                <a:solidFill>
                  <a:srgbClr val="FFFFFF"/>
                </a:solidFill>
              </a:rPr>
              <a:t>CR AoS &amp; Status</a:t>
            </a:r>
            <a:endParaRPr lang="en-US" sz="1400" dirty="0">
              <a:solidFill>
                <a:srgbClr val="FF3232"/>
              </a:solidFill>
            </a:endParaRPr>
          </a:p>
        </p:txBody>
      </p:sp>
      <p:sp>
        <p:nvSpPr>
          <p:cNvPr id="16" name="Rectangle 15">
            <a:extLst>
              <a:ext uri="{FF2B5EF4-FFF2-40B4-BE49-F238E27FC236}">
                <a16:creationId xmlns:a16="http://schemas.microsoft.com/office/drawing/2014/main" id="{198E8A7D-FE76-4B49-A44B-A625DCA325CC}"/>
              </a:ext>
            </a:extLst>
          </p:cNvPr>
          <p:cNvSpPr/>
          <p:nvPr/>
        </p:nvSpPr>
        <p:spPr bwMode="auto">
          <a:xfrm>
            <a:off x="505916" y="4547732"/>
            <a:ext cx="1963108" cy="962526"/>
          </a:xfrm>
          <a:prstGeom prst="rect">
            <a:avLst/>
          </a:prstGeom>
          <a:solidFill>
            <a:srgbClr val="92D050"/>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Ericsson Hilda"/>
                <a:ea typeface="+mn-ea"/>
                <a:cs typeface="+mn-cs"/>
              </a:rPr>
              <a:t>CR  other Category Description</a:t>
            </a:r>
            <a:endParaRPr kumimoji="0" lang="en-US" sz="1600" b="0" i="0" u="none" strike="noStrike" kern="1200" cap="none" spc="0" normalizeH="0" baseline="0" noProof="0" dirty="0">
              <a:ln>
                <a:noFill/>
              </a:ln>
              <a:solidFill>
                <a:srgbClr val="FFFFFF"/>
              </a:solidFill>
              <a:effectLst/>
              <a:uLnTx/>
              <a:uFillTx/>
              <a:latin typeface="Ericsson Hilda"/>
              <a:ea typeface="+mn-ea"/>
              <a:cs typeface="+mn-cs"/>
            </a:endParaRPr>
          </a:p>
        </p:txBody>
      </p:sp>
      <p:sp>
        <p:nvSpPr>
          <p:cNvPr id="18" name="Rectangle 17">
            <a:extLst>
              <a:ext uri="{FF2B5EF4-FFF2-40B4-BE49-F238E27FC236}">
                <a16:creationId xmlns:a16="http://schemas.microsoft.com/office/drawing/2014/main" id="{728A5B50-4CC3-4774-918E-5C5900256711}"/>
              </a:ext>
            </a:extLst>
          </p:cNvPr>
          <p:cNvSpPr/>
          <p:nvPr/>
        </p:nvSpPr>
        <p:spPr bwMode="auto">
          <a:xfrm>
            <a:off x="269877" y="567274"/>
            <a:ext cx="2386238" cy="5614028"/>
          </a:xfrm>
          <a:prstGeom prst="rect">
            <a:avLst/>
          </a:prstGeom>
          <a:noFill/>
          <a:ln w="57150" cap="flat" cmpd="sng" algn="ctr">
            <a:solidFill>
              <a:srgbClr val="92D050"/>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Ericsson Hilda"/>
              <a:ea typeface="+mn-ea"/>
              <a:cs typeface="+mn-cs"/>
            </a:endParaRPr>
          </a:p>
        </p:txBody>
      </p:sp>
      <p:sp>
        <p:nvSpPr>
          <p:cNvPr id="19" name="Rectangle 18">
            <a:extLst>
              <a:ext uri="{FF2B5EF4-FFF2-40B4-BE49-F238E27FC236}">
                <a16:creationId xmlns:a16="http://schemas.microsoft.com/office/drawing/2014/main" id="{D61E2896-8229-4237-975B-BB8B3777CBEB}"/>
              </a:ext>
            </a:extLst>
          </p:cNvPr>
          <p:cNvSpPr/>
          <p:nvPr/>
        </p:nvSpPr>
        <p:spPr bwMode="auto">
          <a:xfrm>
            <a:off x="501308" y="3348872"/>
            <a:ext cx="1963108" cy="962526"/>
          </a:xfrm>
          <a:prstGeom prst="rect">
            <a:avLst/>
          </a:prstGeom>
          <a:solidFill>
            <a:schemeClr val="bg1">
              <a:lumMod val="85000"/>
            </a:schemeClr>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Ericsson Hilda"/>
                <a:ea typeface="+mn-ea"/>
                <a:cs typeface="+mn-cs"/>
              </a:rPr>
              <a:t>CR Flow </a:t>
            </a:r>
            <a:endParaRPr kumimoji="0" lang="en-US" sz="1600" b="0" i="0" u="none" strike="noStrike" kern="1200" cap="none" spc="0" normalizeH="0" baseline="0" noProof="0" dirty="0">
              <a:ln>
                <a:noFill/>
              </a:ln>
              <a:solidFill>
                <a:srgbClr val="FF3232"/>
              </a:solidFill>
              <a:effectLst/>
              <a:uLnTx/>
              <a:uFillTx/>
              <a:latin typeface="Ericsson Hilda"/>
              <a:ea typeface="+mn-ea"/>
              <a:cs typeface="+mn-cs"/>
            </a:endParaRPr>
          </a:p>
        </p:txBody>
      </p:sp>
      <p:sp>
        <p:nvSpPr>
          <p:cNvPr id="36" name="TextBox 35">
            <a:extLst>
              <a:ext uri="{FF2B5EF4-FFF2-40B4-BE49-F238E27FC236}">
                <a16:creationId xmlns:a16="http://schemas.microsoft.com/office/drawing/2014/main" id="{61F9FF38-58D9-4353-ABC8-D9D7C3A91A4F}"/>
              </a:ext>
            </a:extLst>
          </p:cNvPr>
          <p:cNvSpPr txBox="1"/>
          <p:nvPr/>
        </p:nvSpPr>
        <p:spPr bwMode="auto">
          <a:xfrm>
            <a:off x="1044525" y="899266"/>
            <a:ext cx="1448710" cy="52879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600" dirty="0"/>
              <a:t>Change request </a:t>
            </a:r>
          </a:p>
          <a:p>
            <a:pPr>
              <a:buClr>
                <a:schemeClr val="tx1"/>
              </a:buClr>
            </a:pPr>
            <a:endParaRPr lang="en-US" sz="1600" dirty="0"/>
          </a:p>
        </p:txBody>
      </p:sp>
      <p:sp>
        <p:nvSpPr>
          <p:cNvPr id="62" name="Freeform 3">
            <a:extLst>
              <a:ext uri="{FF2B5EF4-FFF2-40B4-BE49-F238E27FC236}">
                <a16:creationId xmlns:a16="http://schemas.microsoft.com/office/drawing/2014/main" id="{5869EDB8-061A-4B58-9FCA-2CA01382B8B2}"/>
              </a:ext>
            </a:extLst>
          </p:cNvPr>
          <p:cNvSpPr>
            <a:spLocks noChangeAspect="1" noEditPoints="1"/>
          </p:cNvSpPr>
          <p:nvPr/>
        </p:nvSpPr>
        <p:spPr bwMode="auto">
          <a:xfrm>
            <a:off x="473782" y="882072"/>
            <a:ext cx="490260" cy="640080"/>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rgbClr val="84D300"/>
          </a:solidFill>
          <a:ln w="9525">
            <a:solidFill>
              <a:srgbClr val="92D050"/>
            </a:solidFill>
            <a:round/>
            <a:headEnd/>
            <a:tailEnd/>
          </a:ln>
          <a:extLst/>
        </p:spPr>
        <p:txBody>
          <a:bodyPr/>
          <a:lstStyle/>
          <a:p>
            <a:endParaRPr lang="en-US"/>
          </a:p>
        </p:txBody>
      </p:sp>
      <p:pic>
        <p:nvPicPr>
          <p:cNvPr id="8" name="Content Placeholder 7">
            <a:extLst>
              <a:ext uri="{FF2B5EF4-FFF2-40B4-BE49-F238E27FC236}">
                <a16:creationId xmlns:a16="http://schemas.microsoft.com/office/drawing/2014/main" id="{D19AC9BF-EF6D-4EB2-9769-262E074679F7}"/>
              </a:ext>
            </a:extLst>
          </p:cNvPr>
          <p:cNvPicPr>
            <a:picLocks noGrp="1" noChangeAspect="1"/>
          </p:cNvPicPr>
          <p:nvPr>
            <p:ph sz="quarter" idx="1"/>
          </p:nvPr>
        </p:nvPicPr>
        <p:blipFill>
          <a:blip r:embed="rId3"/>
          <a:stretch>
            <a:fillRect/>
          </a:stretch>
        </p:blipFill>
        <p:spPr>
          <a:xfrm>
            <a:off x="3322285" y="729755"/>
            <a:ext cx="3795153" cy="2148902"/>
          </a:xfrm>
          <a:prstGeom prst="rect">
            <a:avLst/>
          </a:prstGeom>
        </p:spPr>
      </p:pic>
      <p:pic>
        <p:nvPicPr>
          <p:cNvPr id="9" name="Content Placeholder 8">
            <a:extLst>
              <a:ext uri="{FF2B5EF4-FFF2-40B4-BE49-F238E27FC236}">
                <a16:creationId xmlns:a16="http://schemas.microsoft.com/office/drawing/2014/main" id="{F54BB218-30CA-435F-B5EA-7EB747F1C180}"/>
              </a:ext>
            </a:extLst>
          </p:cNvPr>
          <p:cNvPicPr>
            <a:picLocks noGrp="1" noChangeAspect="1"/>
          </p:cNvPicPr>
          <p:nvPr>
            <p:ph sz="quarter" idx="2"/>
          </p:nvPr>
        </p:nvPicPr>
        <p:blipFill>
          <a:blip r:embed="rId4"/>
          <a:stretch>
            <a:fillRect/>
          </a:stretch>
        </p:blipFill>
        <p:spPr>
          <a:xfrm>
            <a:off x="3322285" y="3825832"/>
            <a:ext cx="3795153" cy="1261280"/>
          </a:xfrm>
          <a:prstGeom prst="rect">
            <a:avLst/>
          </a:prstGeom>
        </p:spPr>
      </p:pic>
      <p:pic>
        <p:nvPicPr>
          <p:cNvPr id="10" name="Content Placeholder 9">
            <a:extLst>
              <a:ext uri="{FF2B5EF4-FFF2-40B4-BE49-F238E27FC236}">
                <a16:creationId xmlns:a16="http://schemas.microsoft.com/office/drawing/2014/main" id="{F5A5D88E-E19A-47D7-987E-20AE0BAAF103}"/>
              </a:ext>
            </a:extLst>
          </p:cNvPr>
          <p:cNvPicPr>
            <a:picLocks noGrp="1" noChangeAspect="1"/>
          </p:cNvPicPr>
          <p:nvPr>
            <p:ph sz="quarter" idx="10"/>
          </p:nvPr>
        </p:nvPicPr>
        <p:blipFill>
          <a:blip r:embed="rId5"/>
          <a:stretch>
            <a:fillRect/>
          </a:stretch>
        </p:blipFill>
        <p:spPr>
          <a:xfrm>
            <a:off x="7552801" y="757845"/>
            <a:ext cx="3795153" cy="2401246"/>
          </a:xfrm>
          <a:prstGeom prst="rect">
            <a:avLst/>
          </a:prstGeom>
        </p:spPr>
      </p:pic>
      <p:pic>
        <p:nvPicPr>
          <p:cNvPr id="17" name="Content Placeholder 16">
            <a:extLst>
              <a:ext uri="{FF2B5EF4-FFF2-40B4-BE49-F238E27FC236}">
                <a16:creationId xmlns:a16="http://schemas.microsoft.com/office/drawing/2014/main" id="{BF19BE99-CDF2-409F-A53B-73A3E5FDAE6F}"/>
              </a:ext>
            </a:extLst>
          </p:cNvPr>
          <p:cNvPicPr>
            <a:picLocks noGrp="1" noChangeAspect="1"/>
          </p:cNvPicPr>
          <p:nvPr>
            <p:ph sz="quarter" idx="4"/>
          </p:nvPr>
        </p:nvPicPr>
        <p:blipFill>
          <a:blip r:embed="rId6"/>
          <a:stretch>
            <a:fillRect/>
          </a:stretch>
        </p:blipFill>
        <p:spPr>
          <a:xfrm>
            <a:off x="7662529" y="3798400"/>
            <a:ext cx="3795153" cy="1671674"/>
          </a:xfrm>
          <a:prstGeom prst="rect">
            <a:avLst/>
          </a:prstGeom>
        </p:spPr>
      </p:pic>
    </p:spTree>
    <p:extLst>
      <p:ext uri="{BB962C8B-B14F-4D97-AF65-F5344CB8AC3E}">
        <p14:creationId xmlns:p14="http://schemas.microsoft.com/office/powerpoint/2010/main" val="986107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7" name="Straight Arrow Connector 76"/>
          <p:cNvCxnSpPr>
            <a:endCxn id="41" idx="0"/>
          </p:cNvCxnSpPr>
          <p:nvPr/>
        </p:nvCxnSpPr>
        <p:spPr bwMode="auto">
          <a:xfrm>
            <a:off x="9971391" y="1808857"/>
            <a:ext cx="2622" cy="2877445"/>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8433" name="Elbow Connector 18432"/>
          <p:cNvCxnSpPr>
            <a:stCxn id="13" idx="0"/>
            <a:endCxn id="23" idx="1"/>
          </p:cNvCxnSpPr>
          <p:nvPr/>
        </p:nvCxnSpPr>
        <p:spPr bwMode="auto">
          <a:xfrm rot="5400000" flipH="1" flipV="1">
            <a:off x="1728335" y="3215044"/>
            <a:ext cx="2537717" cy="404796"/>
          </a:xfrm>
          <a:prstGeom prst="bentConnector2">
            <a:avLst/>
          </a:prstGeom>
          <a:solidFill>
            <a:schemeClr val="accent1"/>
          </a:solidFill>
          <a:ln w="12700" cap="flat" cmpd="sng" algn="ctr">
            <a:solidFill>
              <a:schemeClr val="tx1"/>
            </a:solidFill>
            <a:prstDash val="solid"/>
            <a:round/>
            <a:headEnd type="none" w="med" len="med"/>
            <a:tailEnd type="arrow"/>
          </a:ln>
          <a:effectLst/>
        </p:spPr>
      </p:cxnSp>
      <p:cxnSp>
        <p:nvCxnSpPr>
          <p:cNvPr id="18445" name="Elbow Connector 41988"/>
          <p:cNvCxnSpPr>
            <a:cxnSpLocks noChangeShapeType="1"/>
            <a:stCxn id="13" idx="2"/>
          </p:cNvCxnSpPr>
          <p:nvPr/>
        </p:nvCxnSpPr>
        <p:spPr bwMode="auto">
          <a:xfrm rot="5400000">
            <a:off x="2747963" y="5530850"/>
            <a:ext cx="93662" cy="1588"/>
          </a:xfrm>
          <a:prstGeom prst="bentConnector3">
            <a:avLst>
              <a:gd name="adj1" fmla="val 498101"/>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18434" name="Title 1"/>
          <p:cNvSpPr>
            <a:spLocks noGrp="1"/>
          </p:cNvSpPr>
          <p:nvPr>
            <p:ph type="title"/>
          </p:nvPr>
        </p:nvSpPr>
        <p:spPr/>
        <p:txBody>
          <a:bodyPr/>
          <a:lstStyle/>
          <a:p>
            <a:r>
              <a:rPr lang="en-US" altLang="sv-SE" dirty="0"/>
              <a:t>Standard CR Flow overview</a:t>
            </a:r>
            <a:br>
              <a:rPr lang="en-US" altLang="sv-SE" dirty="0"/>
            </a:br>
            <a:r>
              <a:rPr lang="en-US" altLang="sv-SE" dirty="0"/>
              <a:t>Internal Ericsson</a:t>
            </a:r>
          </a:p>
        </p:txBody>
      </p:sp>
      <p:sp>
        <p:nvSpPr>
          <p:cNvPr id="13" name="Rounded Rectangle 12"/>
          <p:cNvSpPr/>
          <p:nvPr/>
        </p:nvSpPr>
        <p:spPr bwMode="auto">
          <a:xfrm>
            <a:off x="2165350" y="4686301"/>
            <a:ext cx="1258888" cy="798513"/>
          </a:xfrm>
          <a:prstGeom prst="roundRect">
            <a:avLst/>
          </a:prstGeom>
          <a:blipFill dpi="0" rotWithShape="1">
            <a:blip r:embed="rId3"/>
            <a:srcRect/>
            <a:stretch>
              <a:fillRect/>
            </a:stretch>
          </a:blip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38100" cap="flat" cmpd="sng" algn="ctr">
                <a:solidFill>
                  <a:srgbClr val="549895"/>
                </a:solidFill>
                <a:prstDash val="solid"/>
                <a:round/>
                <a:headEnd type="none" w="med" len="med"/>
                <a:tailEnd type="none" w="med" len="med"/>
              </a14:hiddenLine>
            </a:ext>
          </a:extLst>
        </p:spPr>
        <p:txBody>
          <a:bodyPr wrap="none" lIns="72000" rIns="72000" anchor="ctr"/>
          <a:lstStyle/>
          <a:p>
            <a:pPr algn="ctr">
              <a:defRPr/>
            </a:pPr>
            <a:r>
              <a:rPr lang="en-US" sz="1400" b="1" dirty="0">
                <a:solidFill>
                  <a:srgbClr val="FFFFFF"/>
                </a:solidFill>
                <a:cs typeface="Arial" charset="0"/>
              </a:rPr>
              <a:t>Create</a:t>
            </a:r>
          </a:p>
          <a:p>
            <a:pPr algn="ctr">
              <a:defRPr/>
            </a:pPr>
            <a:r>
              <a:rPr lang="en-US" sz="1400" b="1" dirty="0">
                <a:solidFill>
                  <a:srgbClr val="FFFFFF"/>
                </a:solidFill>
                <a:cs typeface="Arial" charset="0"/>
              </a:rPr>
              <a:t>CR</a:t>
            </a:r>
          </a:p>
        </p:txBody>
      </p:sp>
      <p:sp>
        <p:nvSpPr>
          <p:cNvPr id="18470" name="Rounded Rectangle 17"/>
          <p:cNvSpPr>
            <a:spLocks noChangeArrowheads="1"/>
          </p:cNvSpPr>
          <p:nvPr/>
        </p:nvSpPr>
        <p:spPr bwMode="auto">
          <a:xfrm>
            <a:off x="1917701" y="5637815"/>
            <a:ext cx="1789941" cy="905657"/>
          </a:xfrm>
          <a:prstGeom prst="roundRect">
            <a:avLst>
              <a:gd name="adj" fmla="val 16667"/>
            </a:avLst>
          </a:prstGeom>
          <a:solidFill>
            <a:srgbClr val="C2C3C4"/>
          </a:solidFill>
          <a:ln>
            <a:noFill/>
          </a:ln>
          <a:extLst>
            <a:ext uri="{91240B29-F687-4F45-9708-019B960494DF}">
              <a14:hiddenLine xmlns:a14="http://schemas.microsoft.com/office/drawing/2010/main" w="12700" algn="ctr">
                <a:solidFill>
                  <a:srgbClr val="B1B3B4"/>
                </a:solidFill>
                <a:round/>
                <a:headEnd/>
                <a:tailEnd/>
              </a14:hiddenLine>
            </a:ext>
          </a:extLst>
        </p:spPr>
        <p:txBody>
          <a:bodyPr wrap="none" lIns="72000" rIns="72000"/>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endParaRPr lang="en-US" altLang="sv-SE" sz="2000" b="1" dirty="0">
              <a:solidFill>
                <a:srgbClr val="58585A"/>
              </a:solidFill>
            </a:endParaRPr>
          </a:p>
        </p:txBody>
      </p:sp>
      <p:sp>
        <p:nvSpPr>
          <p:cNvPr id="15" name="Rounded Rectangle 14"/>
          <p:cNvSpPr/>
          <p:nvPr/>
        </p:nvSpPr>
        <p:spPr bwMode="auto">
          <a:xfrm>
            <a:off x="2096140" y="5764386"/>
            <a:ext cx="684213" cy="637003"/>
          </a:xfrm>
          <a:prstGeom prst="roundRect">
            <a:avLst/>
          </a:prstGeom>
          <a:solidFill>
            <a:schemeClr val="accent3">
              <a:lumMod val="85000"/>
            </a:schemeClr>
          </a:solidFill>
          <a:ln w="381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wrap="none" lIns="72000" rIns="72000" anchor="ctr"/>
          <a:lstStyle/>
          <a:p>
            <a:pPr algn="ctr">
              <a:defRPr/>
            </a:pPr>
            <a:r>
              <a:rPr lang="en-US" sz="1050" dirty="0">
                <a:solidFill>
                  <a:srgbClr val="58585A"/>
                </a:solidFill>
                <a:cs typeface="Arial" charset="0"/>
              </a:rPr>
              <a:t>Customer</a:t>
            </a:r>
          </a:p>
        </p:txBody>
      </p:sp>
      <p:sp>
        <p:nvSpPr>
          <p:cNvPr id="16" name="Rounded Rectangle 15"/>
          <p:cNvSpPr/>
          <p:nvPr/>
        </p:nvSpPr>
        <p:spPr bwMode="auto">
          <a:xfrm>
            <a:off x="2853377" y="5764386"/>
            <a:ext cx="684212" cy="637003"/>
          </a:xfrm>
          <a:prstGeom prst="roundRect">
            <a:avLst/>
          </a:prstGeom>
          <a:solidFill>
            <a:schemeClr val="accent3">
              <a:lumMod val="85000"/>
            </a:schemeClr>
          </a:solidFill>
          <a:ln w="38100" cap="flat" cmpd="sng" algn="ctr">
            <a:solidFill>
              <a:schemeClr val="bg2"/>
            </a:solidFill>
            <a:prstDash val="solid"/>
            <a:round/>
            <a:headEnd type="none" w="med" len="med"/>
            <a:tailEnd type="none" w="med" len="med"/>
          </a:ln>
          <a:effectLst>
            <a:outerShdw blurRad="50800" dist="38100" dir="2700000" algn="tl" rotWithShape="0">
              <a:prstClr val="black">
                <a:alpha val="40000"/>
              </a:prstClr>
            </a:outerShdw>
          </a:effectLst>
        </p:spPr>
        <p:txBody>
          <a:bodyPr wrap="none" lIns="72000" rIns="72000" anchor="ctr"/>
          <a:lstStyle/>
          <a:p>
            <a:pPr algn="ctr">
              <a:defRPr/>
            </a:pPr>
            <a:r>
              <a:rPr lang="en-US" sz="1050" dirty="0">
                <a:solidFill>
                  <a:srgbClr val="58585A"/>
                </a:solidFill>
                <a:cs typeface="Arial" charset="0"/>
              </a:rPr>
              <a:t>Ericsson</a:t>
            </a:r>
          </a:p>
        </p:txBody>
      </p:sp>
      <p:sp>
        <p:nvSpPr>
          <p:cNvPr id="18462" name="Rectangle 2"/>
          <p:cNvSpPr>
            <a:spLocks noChangeArrowheads="1"/>
          </p:cNvSpPr>
          <p:nvPr/>
        </p:nvSpPr>
        <p:spPr bwMode="auto">
          <a:xfrm>
            <a:off x="1524001" y="-200055"/>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en-US" altLang="sv-SE" sz="2000">
              <a:solidFill>
                <a:srgbClr val="58585A"/>
              </a:solidFill>
            </a:endParaRPr>
          </a:p>
        </p:txBody>
      </p:sp>
      <p:sp>
        <p:nvSpPr>
          <p:cNvPr id="50" name="Rounded Rectangle 49"/>
          <p:cNvSpPr/>
          <p:nvPr/>
        </p:nvSpPr>
        <p:spPr bwMode="auto">
          <a:xfrm>
            <a:off x="7863261" y="2115534"/>
            <a:ext cx="1260475" cy="725488"/>
          </a:xfrm>
          <a:prstGeom prst="roundRect">
            <a:avLst/>
          </a:prstGeom>
          <a:solidFill>
            <a:schemeClr val="tx1">
              <a:lumMod val="60000"/>
              <a:lumOff val="40000"/>
            </a:schemeClr>
          </a:solid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wrap="none" lIns="72000" rIns="72000" anchor="ctr"/>
          <a:lstStyle/>
          <a:p>
            <a:pPr algn="ctr">
              <a:defRPr/>
            </a:pPr>
            <a:r>
              <a:rPr lang="en-US" sz="1400" b="1" dirty="0">
                <a:solidFill>
                  <a:srgbClr val="FFFFFF"/>
                </a:solidFill>
                <a:cs typeface="Arial" charset="0"/>
              </a:rPr>
              <a:t>Rejected</a:t>
            </a:r>
          </a:p>
          <a:p>
            <a:pPr algn="ctr">
              <a:defRPr/>
            </a:pPr>
            <a:r>
              <a:rPr lang="en-US" sz="1400" b="1" dirty="0">
                <a:solidFill>
                  <a:srgbClr val="FFFFFF"/>
                </a:solidFill>
                <a:cs typeface="Arial" charset="0"/>
              </a:rPr>
              <a:t>CR</a:t>
            </a:r>
          </a:p>
        </p:txBody>
      </p:sp>
      <p:sp>
        <p:nvSpPr>
          <p:cNvPr id="43" name="Rounded Rectangle 42"/>
          <p:cNvSpPr/>
          <p:nvPr/>
        </p:nvSpPr>
        <p:spPr bwMode="auto">
          <a:xfrm>
            <a:off x="2164556" y="3540589"/>
            <a:ext cx="1258888" cy="798513"/>
          </a:xfrm>
          <a:prstGeom prst="roundRect">
            <a:avLst/>
          </a:prstGeom>
          <a:blipFill dpi="0" rotWithShape="1">
            <a:blip r:embed="rId3"/>
            <a:srcRect/>
            <a:stretch>
              <a:fillRect/>
            </a:stretch>
          </a:blip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38100" cap="flat" cmpd="sng" algn="ctr">
                <a:solidFill>
                  <a:srgbClr val="549895"/>
                </a:solidFill>
                <a:prstDash val="solid"/>
                <a:round/>
                <a:headEnd type="none" w="med" len="med"/>
                <a:tailEnd type="none" w="med" len="med"/>
              </a14:hiddenLine>
            </a:ext>
          </a:extLst>
        </p:spPr>
        <p:txBody>
          <a:bodyPr wrap="none" lIns="72000" rIns="72000" anchor="ctr"/>
          <a:lstStyle/>
          <a:p>
            <a:pPr algn="ctr">
              <a:defRPr/>
            </a:pPr>
            <a:r>
              <a:rPr lang="en-US" sz="1400" b="1" dirty="0">
                <a:solidFill>
                  <a:srgbClr val="FFFFFF"/>
                </a:solidFill>
                <a:cs typeface="Arial" charset="0"/>
              </a:rPr>
              <a:t>Validate</a:t>
            </a:r>
          </a:p>
          <a:p>
            <a:pPr algn="ctr">
              <a:defRPr/>
            </a:pPr>
            <a:r>
              <a:rPr lang="en-US" sz="1400" b="1" dirty="0">
                <a:solidFill>
                  <a:srgbClr val="FFFFFF"/>
                </a:solidFill>
                <a:cs typeface="Arial" charset="0"/>
              </a:rPr>
              <a:t>CR</a:t>
            </a:r>
          </a:p>
        </p:txBody>
      </p:sp>
      <p:sp>
        <p:nvSpPr>
          <p:cNvPr id="55" name="Rounded Rectangle 54"/>
          <p:cNvSpPr/>
          <p:nvPr/>
        </p:nvSpPr>
        <p:spPr bwMode="auto">
          <a:xfrm>
            <a:off x="2174875" y="2557465"/>
            <a:ext cx="1258888" cy="728663"/>
          </a:xfrm>
          <a:prstGeom prst="roundRect">
            <a:avLst/>
          </a:prstGeom>
          <a:blipFill dpi="0" rotWithShape="1">
            <a:blip r:embed="rId4"/>
            <a:srcRect/>
            <a:stretch>
              <a:fillRect/>
            </a:stretch>
          </a:blip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38100" cap="flat" cmpd="sng" algn="ctr">
                <a:solidFill>
                  <a:srgbClr val="549895"/>
                </a:solidFill>
                <a:prstDash val="solid"/>
                <a:round/>
                <a:headEnd type="none" w="med" len="med"/>
                <a:tailEnd type="none" w="med" len="med"/>
              </a14:hiddenLine>
            </a:ext>
          </a:extLst>
        </p:spPr>
        <p:txBody>
          <a:bodyPr wrap="none" lIns="72000" rIns="72000" anchor="ctr"/>
          <a:lstStyle/>
          <a:p>
            <a:pPr algn="ctr">
              <a:defRPr/>
            </a:pPr>
            <a:r>
              <a:rPr lang="en-US" sz="1400" b="1" dirty="0">
                <a:solidFill>
                  <a:srgbClr val="FFFFFF"/>
                </a:solidFill>
                <a:cs typeface="Arial" charset="0"/>
              </a:rPr>
              <a:t>Analyze </a:t>
            </a:r>
          </a:p>
          <a:p>
            <a:pPr algn="ctr">
              <a:defRPr/>
            </a:pPr>
            <a:r>
              <a:rPr lang="en-US" sz="1400" b="1" dirty="0">
                <a:solidFill>
                  <a:srgbClr val="FFFFFF"/>
                </a:solidFill>
                <a:cs typeface="Arial" charset="0"/>
              </a:rPr>
              <a:t>CR</a:t>
            </a:r>
          </a:p>
        </p:txBody>
      </p:sp>
      <p:sp>
        <p:nvSpPr>
          <p:cNvPr id="23" name="Diamond 22"/>
          <p:cNvSpPr/>
          <p:nvPr/>
        </p:nvSpPr>
        <p:spPr bwMode="auto">
          <a:xfrm>
            <a:off x="3199590" y="1580258"/>
            <a:ext cx="1428750" cy="1136651"/>
          </a:xfrm>
          <a:prstGeom prst="diamond">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r>
              <a:rPr lang="en-US" sz="1400" dirty="0">
                <a:solidFill>
                  <a:srgbClr val="FFFFFF"/>
                </a:solidFill>
              </a:rPr>
              <a:t>Type of </a:t>
            </a:r>
          </a:p>
          <a:p>
            <a:r>
              <a:rPr lang="en-US" sz="1400" dirty="0">
                <a:solidFill>
                  <a:srgbClr val="FFFFFF"/>
                </a:solidFill>
              </a:rPr>
              <a:t>Change ?</a:t>
            </a:r>
          </a:p>
        </p:txBody>
      </p:sp>
      <p:sp>
        <p:nvSpPr>
          <p:cNvPr id="5" name="Rounded Rectangle 4"/>
          <p:cNvSpPr/>
          <p:nvPr/>
        </p:nvSpPr>
        <p:spPr bwMode="auto">
          <a:xfrm>
            <a:off x="6308542" y="2418782"/>
            <a:ext cx="1385888" cy="660400"/>
          </a:xfrm>
          <a:prstGeom prst="roundRect">
            <a:avLst/>
          </a:prstGeom>
          <a:solidFill>
            <a:srgbClr val="007B78"/>
          </a:solid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wrap="none" lIns="72000" rIns="72000" anchor="ctr"/>
          <a:lstStyle/>
          <a:p>
            <a:pPr algn="ctr">
              <a:defRPr/>
            </a:pPr>
            <a:r>
              <a:rPr lang="en-US" sz="1400" b="1" dirty="0">
                <a:solidFill>
                  <a:srgbClr val="FFFFFF"/>
                </a:solidFill>
                <a:cs typeface="Arial" charset="0"/>
              </a:rPr>
              <a:t>Steering</a:t>
            </a:r>
          </a:p>
          <a:p>
            <a:pPr algn="ctr">
              <a:defRPr/>
            </a:pPr>
            <a:r>
              <a:rPr lang="en-US" sz="1400" b="1" dirty="0">
                <a:solidFill>
                  <a:srgbClr val="FFFFFF"/>
                </a:solidFill>
                <a:cs typeface="Arial" charset="0"/>
              </a:rPr>
              <a:t>CCB</a:t>
            </a:r>
          </a:p>
        </p:txBody>
      </p:sp>
      <p:sp>
        <p:nvSpPr>
          <p:cNvPr id="60" name="Rounded Rectangle 59"/>
          <p:cNvSpPr/>
          <p:nvPr/>
        </p:nvSpPr>
        <p:spPr bwMode="auto">
          <a:xfrm>
            <a:off x="6308542" y="1328311"/>
            <a:ext cx="1385888" cy="660400"/>
          </a:xfrm>
          <a:prstGeom prst="roundRect">
            <a:avLst/>
          </a:prstGeom>
          <a:solidFill>
            <a:srgbClr val="D39FD1"/>
          </a:solid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wrap="none" lIns="72000" rIns="72000" anchor="ctr"/>
          <a:lstStyle/>
          <a:p>
            <a:pPr algn="ctr">
              <a:defRPr/>
            </a:pPr>
            <a:r>
              <a:rPr lang="en-US" sz="1400" b="1" dirty="0">
                <a:solidFill>
                  <a:srgbClr val="FFFFFF"/>
                </a:solidFill>
                <a:cs typeface="Arial" charset="0"/>
              </a:rPr>
              <a:t>Project</a:t>
            </a:r>
          </a:p>
          <a:p>
            <a:pPr algn="ctr">
              <a:defRPr/>
            </a:pPr>
            <a:r>
              <a:rPr lang="en-US" sz="1400" b="1" dirty="0">
                <a:solidFill>
                  <a:srgbClr val="FFFFFF"/>
                </a:solidFill>
                <a:cs typeface="Arial" charset="0"/>
              </a:rPr>
              <a:t>CCB</a:t>
            </a:r>
          </a:p>
        </p:txBody>
      </p:sp>
      <p:sp>
        <p:nvSpPr>
          <p:cNvPr id="62" name="Freeform 109"/>
          <p:cNvSpPr>
            <a:spLocks noChangeAspect="1"/>
          </p:cNvSpPr>
          <p:nvPr/>
        </p:nvSpPr>
        <p:spPr bwMode="auto">
          <a:xfrm>
            <a:off x="4941437" y="1335601"/>
            <a:ext cx="1258888" cy="653698"/>
          </a:xfrm>
          <a:custGeom>
            <a:avLst/>
            <a:gdLst>
              <a:gd name="T0" fmla="*/ 2147483647 w 529"/>
              <a:gd name="T1" fmla="*/ 2147483647 h 218"/>
              <a:gd name="T2" fmla="*/ 2147483647 w 529"/>
              <a:gd name="T3" fmla="*/ 2147483647 h 218"/>
              <a:gd name="T4" fmla="*/ 2147483647 w 529"/>
              <a:gd name="T5" fmla="*/ 2147483647 h 218"/>
              <a:gd name="T6" fmla="*/ 2147483647 w 529"/>
              <a:gd name="T7" fmla="*/ 2147483647 h 218"/>
              <a:gd name="T8" fmla="*/ 0 w 529"/>
              <a:gd name="T9" fmla="*/ 2147483647 h 218"/>
              <a:gd name="T10" fmla="*/ 0 w 529"/>
              <a:gd name="T11" fmla="*/ 2147483647 h 218"/>
              <a:gd name="T12" fmla="*/ 2147483647 w 529"/>
              <a:gd name="T13" fmla="*/ 2147483647 h 218"/>
              <a:gd name="T14" fmla="*/ 2147483647 w 529"/>
              <a:gd name="T15" fmla="*/ 2147483647 h 218"/>
              <a:gd name="T16" fmla="*/ 2147483647 w 529"/>
              <a:gd name="T17" fmla="*/ 2147483647 h 218"/>
              <a:gd name="T18" fmla="*/ 2147483647 w 529"/>
              <a:gd name="T19" fmla="*/ 2147483647 h 218"/>
              <a:gd name="T20" fmla="*/ 2147483647 w 529"/>
              <a:gd name="T21" fmla="*/ 2147483647 h 218"/>
              <a:gd name="T22" fmla="*/ 2147483647 w 529"/>
              <a:gd name="T23" fmla="*/ 2147483647 h 218"/>
              <a:gd name="T24" fmla="*/ 2147483647 w 529"/>
              <a:gd name="T25" fmla="*/ 2147483647 h 218"/>
              <a:gd name="T26" fmla="*/ 2147483647 w 529"/>
              <a:gd name="T27" fmla="*/ 2147483647 h 2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218"/>
              <a:gd name="T44" fmla="*/ 529 w 529"/>
              <a:gd name="T45" fmla="*/ 218 h 2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218">
                <a:moveTo>
                  <a:pt x="416" y="9"/>
                </a:moveTo>
                <a:cubicBezTo>
                  <a:pt x="402" y="0"/>
                  <a:pt x="391" y="2"/>
                  <a:pt x="390" y="22"/>
                </a:cubicBezTo>
                <a:cubicBezTo>
                  <a:pt x="390" y="26"/>
                  <a:pt x="390" y="32"/>
                  <a:pt x="390" y="39"/>
                </a:cubicBezTo>
                <a:cubicBezTo>
                  <a:pt x="14" y="39"/>
                  <a:pt x="14" y="39"/>
                  <a:pt x="14" y="39"/>
                </a:cubicBezTo>
                <a:cubicBezTo>
                  <a:pt x="6" y="39"/>
                  <a:pt x="0" y="45"/>
                  <a:pt x="0" y="53"/>
                </a:cubicBezTo>
                <a:cubicBezTo>
                  <a:pt x="0" y="165"/>
                  <a:pt x="0" y="165"/>
                  <a:pt x="0" y="165"/>
                </a:cubicBezTo>
                <a:cubicBezTo>
                  <a:pt x="0" y="173"/>
                  <a:pt x="6" y="179"/>
                  <a:pt x="14" y="179"/>
                </a:cubicBezTo>
                <a:cubicBezTo>
                  <a:pt x="390" y="179"/>
                  <a:pt x="390" y="179"/>
                  <a:pt x="390" y="179"/>
                </a:cubicBezTo>
                <a:cubicBezTo>
                  <a:pt x="390" y="186"/>
                  <a:pt x="390" y="191"/>
                  <a:pt x="390" y="196"/>
                </a:cubicBezTo>
                <a:cubicBezTo>
                  <a:pt x="391" y="216"/>
                  <a:pt x="404" y="218"/>
                  <a:pt x="416" y="209"/>
                </a:cubicBezTo>
                <a:cubicBezTo>
                  <a:pt x="428" y="199"/>
                  <a:pt x="509" y="135"/>
                  <a:pt x="520" y="126"/>
                </a:cubicBezTo>
                <a:cubicBezTo>
                  <a:pt x="526" y="121"/>
                  <a:pt x="529" y="116"/>
                  <a:pt x="529" y="109"/>
                </a:cubicBezTo>
                <a:cubicBezTo>
                  <a:pt x="529" y="102"/>
                  <a:pt x="526" y="97"/>
                  <a:pt x="520" y="92"/>
                </a:cubicBezTo>
                <a:cubicBezTo>
                  <a:pt x="509" y="83"/>
                  <a:pt x="423" y="15"/>
                  <a:pt x="416" y="9"/>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200" dirty="0">
                <a:solidFill>
                  <a:srgbClr val="FFFFFF"/>
                </a:solidFill>
              </a:rPr>
              <a:t>SMALL IMPACT CR</a:t>
            </a:r>
          </a:p>
        </p:txBody>
      </p:sp>
      <p:sp>
        <p:nvSpPr>
          <p:cNvPr id="63" name="Freeform 109"/>
          <p:cNvSpPr>
            <a:spLocks noChangeAspect="1"/>
          </p:cNvSpPr>
          <p:nvPr/>
        </p:nvSpPr>
        <p:spPr bwMode="auto">
          <a:xfrm>
            <a:off x="4997113" y="2341120"/>
            <a:ext cx="1258888" cy="803676"/>
          </a:xfrm>
          <a:custGeom>
            <a:avLst/>
            <a:gdLst>
              <a:gd name="T0" fmla="*/ 2147483647 w 529"/>
              <a:gd name="T1" fmla="*/ 2147483647 h 218"/>
              <a:gd name="T2" fmla="*/ 2147483647 w 529"/>
              <a:gd name="T3" fmla="*/ 2147483647 h 218"/>
              <a:gd name="T4" fmla="*/ 2147483647 w 529"/>
              <a:gd name="T5" fmla="*/ 2147483647 h 218"/>
              <a:gd name="T6" fmla="*/ 2147483647 w 529"/>
              <a:gd name="T7" fmla="*/ 2147483647 h 218"/>
              <a:gd name="T8" fmla="*/ 0 w 529"/>
              <a:gd name="T9" fmla="*/ 2147483647 h 218"/>
              <a:gd name="T10" fmla="*/ 0 w 529"/>
              <a:gd name="T11" fmla="*/ 2147483647 h 218"/>
              <a:gd name="T12" fmla="*/ 2147483647 w 529"/>
              <a:gd name="T13" fmla="*/ 2147483647 h 218"/>
              <a:gd name="T14" fmla="*/ 2147483647 w 529"/>
              <a:gd name="T15" fmla="*/ 2147483647 h 218"/>
              <a:gd name="T16" fmla="*/ 2147483647 w 529"/>
              <a:gd name="T17" fmla="*/ 2147483647 h 218"/>
              <a:gd name="T18" fmla="*/ 2147483647 w 529"/>
              <a:gd name="T19" fmla="*/ 2147483647 h 218"/>
              <a:gd name="T20" fmla="*/ 2147483647 w 529"/>
              <a:gd name="T21" fmla="*/ 2147483647 h 218"/>
              <a:gd name="T22" fmla="*/ 2147483647 w 529"/>
              <a:gd name="T23" fmla="*/ 2147483647 h 218"/>
              <a:gd name="T24" fmla="*/ 2147483647 w 529"/>
              <a:gd name="T25" fmla="*/ 2147483647 h 218"/>
              <a:gd name="T26" fmla="*/ 2147483647 w 529"/>
              <a:gd name="T27" fmla="*/ 2147483647 h 2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9"/>
              <a:gd name="T43" fmla="*/ 0 h 218"/>
              <a:gd name="T44" fmla="*/ 529 w 529"/>
              <a:gd name="T45" fmla="*/ 218 h 2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9" h="218">
                <a:moveTo>
                  <a:pt x="416" y="9"/>
                </a:moveTo>
                <a:cubicBezTo>
                  <a:pt x="402" y="0"/>
                  <a:pt x="391" y="2"/>
                  <a:pt x="390" y="22"/>
                </a:cubicBezTo>
                <a:cubicBezTo>
                  <a:pt x="390" y="26"/>
                  <a:pt x="390" y="32"/>
                  <a:pt x="390" y="39"/>
                </a:cubicBezTo>
                <a:cubicBezTo>
                  <a:pt x="14" y="39"/>
                  <a:pt x="14" y="39"/>
                  <a:pt x="14" y="39"/>
                </a:cubicBezTo>
                <a:cubicBezTo>
                  <a:pt x="6" y="39"/>
                  <a:pt x="0" y="45"/>
                  <a:pt x="0" y="53"/>
                </a:cubicBezTo>
                <a:cubicBezTo>
                  <a:pt x="0" y="165"/>
                  <a:pt x="0" y="165"/>
                  <a:pt x="0" y="165"/>
                </a:cubicBezTo>
                <a:cubicBezTo>
                  <a:pt x="0" y="173"/>
                  <a:pt x="6" y="179"/>
                  <a:pt x="14" y="179"/>
                </a:cubicBezTo>
                <a:cubicBezTo>
                  <a:pt x="390" y="179"/>
                  <a:pt x="390" y="179"/>
                  <a:pt x="390" y="179"/>
                </a:cubicBezTo>
                <a:cubicBezTo>
                  <a:pt x="390" y="186"/>
                  <a:pt x="390" y="191"/>
                  <a:pt x="390" y="196"/>
                </a:cubicBezTo>
                <a:cubicBezTo>
                  <a:pt x="391" y="216"/>
                  <a:pt x="404" y="218"/>
                  <a:pt x="416" y="209"/>
                </a:cubicBezTo>
                <a:cubicBezTo>
                  <a:pt x="428" y="199"/>
                  <a:pt x="509" y="135"/>
                  <a:pt x="520" y="126"/>
                </a:cubicBezTo>
                <a:cubicBezTo>
                  <a:pt x="526" y="121"/>
                  <a:pt x="529" y="116"/>
                  <a:pt x="529" y="109"/>
                </a:cubicBezTo>
                <a:cubicBezTo>
                  <a:pt x="529" y="102"/>
                  <a:pt x="526" y="97"/>
                  <a:pt x="520" y="92"/>
                </a:cubicBezTo>
                <a:cubicBezTo>
                  <a:pt x="509" y="83"/>
                  <a:pt x="423" y="15"/>
                  <a:pt x="416" y="9"/>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r>
              <a:rPr lang="en-US" altLang="en-US" sz="1200" dirty="0">
                <a:solidFill>
                  <a:srgbClr val="FFFFFF"/>
                </a:solidFill>
              </a:rPr>
              <a:t>MARGIN IMPACT CR</a:t>
            </a:r>
          </a:p>
        </p:txBody>
      </p:sp>
      <p:sp>
        <p:nvSpPr>
          <p:cNvPr id="18435" name="TextBox 18434"/>
          <p:cNvSpPr txBox="1"/>
          <p:nvPr/>
        </p:nvSpPr>
        <p:spPr>
          <a:xfrm>
            <a:off x="6096000" y="837741"/>
            <a:ext cx="1524776" cy="369332"/>
          </a:xfrm>
          <a:prstGeom prst="rect">
            <a:avLst/>
          </a:prstGeom>
          <a:noFill/>
        </p:spPr>
        <p:txBody>
          <a:bodyPr wrap="none" rtlCol="0">
            <a:spAutoFit/>
          </a:bodyPr>
          <a:lstStyle/>
          <a:p>
            <a:r>
              <a:rPr lang="en-US" dirty="0">
                <a:solidFill>
                  <a:srgbClr val="58585A"/>
                </a:solidFill>
              </a:rPr>
              <a:t>Approved By:</a:t>
            </a:r>
          </a:p>
        </p:txBody>
      </p:sp>
      <p:sp>
        <p:nvSpPr>
          <p:cNvPr id="95" name="Rounded Rectangle 94"/>
          <p:cNvSpPr/>
          <p:nvPr/>
        </p:nvSpPr>
        <p:spPr bwMode="auto">
          <a:xfrm>
            <a:off x="7823747" y="1210511"/>
            <a:ext cx="1258888" cy="798513"/>
          </a:xfrm>
          <a:prstGeom prst="roundRect">
            <a:avLst/>
          </a:prstGeom>
          <a:solidFill>
            <a:srgbClr val="8BC5FF"/>
          </a:solid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wrap="none" lIns="72000" rIns="72000" anchor="ctr"/>
          <a:lstStyle/>
          <a:p>
            <a:pPr algn="ctr">
              <a:defRPr/>
            </a:pPr>
            <a:r>
              <a:rPr lang="en-US" sz="1400" b="1" dirty="0">
                <a:solidFill>
                  <a:srgbClr val="FFFFFF"/>
                </a:solidFill>
                <a:cs typeface="Arial" charset="0"/>
              </a:rPr>
              <a:t>Approved</a:t>
            </a:r>
          </a:p>
          <a:p>
            <a:pPr algn="ctr">
              <a:defRPr/>
            </a:pPr>
            <a:r>
              <a:rPr lang="en-US" sz="1400" b="1" dirty="0">
                <a:solidFill>
                  <a:srgbClr val="FFFFFF"/>
                </a:solidFill>
                <a:cs typeface="Arial" charset="0"/>
              </a:rPr>
              <a:t>CR</a:t>
            </a:r>
          </a:p>
        </p:txBody>
      </p:sp>
      <p:cxnSp>
        <p:nvCxnSpPr>
          <p:cNvPr id="18451" name="Straight Connector 18450"/>
          <p:cNvCxnSpPr>
            <a:stCxn id="23" idx="3"/>
            <a:endCxn id="23" idx="3"/>
          </p:cNvCxnSpPr>
          <p:nvPr/>
        </p:nvCxnSpPr>
        <p:spPr bwMode="auto">
          <a:xfrm>
            <a:off x="4628340" y="2148583"/>
            <a:ext cx="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8457" name="Straight Connector 18456"/>
          <p:cNvCxnSpPr>
            <a:stCxn id="23" idx="3"/>
          </p:cNvCxnSpPr>
          <p:nvPr/>
        </p:nvCxnSpPr>
        <p:spPr bwMode="auto">
          <a:xfrm>
            <a:off x="4628340" y="2148583"/>
            <a:ext cx="21206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8463" name="Straight Connector 18462"/>
          <p:cNvCxnSpPr/>
          <p:nvPr/>
        </p:nvCxnSpPr>
        <p:spPr bwMode="auto">
          <a:xfrm>
            <a:off x="4840400" y="1663725"/>
            <a:ext cx="0" cy="106739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8" name="Straight Connector 67"/>
          <p:cNvCxnSpPr/>
          <p:nvPr/>
        </p:nvCxnSpPr>
        <p:spPr bwMode="auto">
          <a:xfrm>
            <a:off x="4835785" y="1663725"/>
            <a:ext cx="156713"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70" name="Straight Connector 69"/>
          <p:cNvCxnSpPr/>
          <p:nvPr/>
        </p:nvCxnSpPr>
        <p:spPr bwMode="auto">
          <a:xfrm>
            <a:off x="4840401" y="2731119"/>
            <a:ext cx="156713"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15" name="Rounded Rectangle 114"/>
          <p:cNvSpPr/>
          <p:nvPr/>
        </p:nvSpPr>
        <p:spPr bwMode="auto">
          <a:xfrm>
            <a:off x="9341947" y="2276405"/>
            <a:ext cx="1258888" cy="942684"/>
          </a:xfrm>
          <a:prstGeom prst="roundRect">
            <a:avLst/>
          </a:prstGeom>
          <a:blipFill dpi="0" rotWithShape="1">
            <a:blip r:embed="rId4"/>
            <a:srcRect/>
            <a:stretch>
              <a:fillRect/>
            </a:stretch>
          </a:blip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38100" cap="flat" cmpd="sng" algn="ctr">
                <a:solidFill>
                  <a:srgbClr val="549895"/>
                </a:solidFill>
                <a:prstDash val="solid"/>
                <a:round/>
                <a:headEnd type="none" w="med" len="med"/>
                <a:tailEnd type="none" w="med" len="med"/>
              </a14:hiddenLine>
            </a:ext>
          </a:extLst>
        </p:spPr>
        <p:txBody>
          <a:bodyPr wrap="none" lIns="72000" rIns="72000" anchor="ctr"/>
          <a:lstStyle/>
          <a:p>
            <a:pPr algn="ctr">
              <a:defRPr/>
            </a:pPr>
            <a:r>
              <a:rPr lang="en-US" sz="1400" b="1" dirty="0">
                <a:solidFill>
                  <a:srgbClr val="FFFFFF"/>
                </a:solidFill>
                <a:cs typeface="Arial" charset="0"/>
              </a:rPr>
              <a:t>Implement </a:t>
            </a:r>
          </a:p>
          <a:p>
            <a:pPr algn="ctr">
              <a:defRPr/>
            </a:pPr>
            <a:r>
              <a:rPr lang="en-US" sz="1400" b="1" dirty="0">
                <a:solidFill>
                  <a:srgbClr val="FFFFFF"/>
                </a:solidFill>
                <a:cs typeface="Arial" charset="0"/>
              </a:rPr>
              <a:t>CR</a:t>
            </a:r>
          </a:p>
        </p:txBody>
      </p:sp>
      <p:sp>
        <p:nvSpPr>
          <p:cNvPr id="117" name="Rounded Rectangle 116"/>
          <p:cNvSpPr/>
          <p:nvPr/>
        </p:nvSpPr>
        <p:spPr bwMode="auto">
          <a:xfrm>
            <a:off x="9341947" y="3504624"/>
            <a:ext cx="1258888" cy="798513"/>
          </a:xfrm>
          <a:prstGeom prst="roundRect">
            <a:avLst/>
          </a:prstGeom>
          <a:blipFill dpi="0" rotWithShape="1">
            <a:blip r:embed="rId3"/>
            <a:srcRect/>
            <a:stretch>
              <a:fillRect/>
            </a:stretch>
          </a:blip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38100" cap="flat" cmpd="sng" algn="ctr">
                <a:solidFill>
                  <a:srgbClr val="549895"/>
                </a:solidFill>
                <a:prstDash val="solid"/>
                <a:round/>
                <a:headEnd type="none" w="med" len="med"/>
                <a:tailEnd type="none" w="med" len="med"/>
              </a14:hiddenLine>
            </a:ext>
          </a:extLst>
        </p:spPr>
        <p:txBody>
          <a:bodyPr wrap="none" lIns="72000" rIns="72000" anchor="ctr"/>
          <a:lstStyle/>
          <a:p>
            <a:pPr algn="ctr">
              <a:defRPr/>
            </a:pPr>
            <a:r>
              <a:rPr lang="en-US" sz="1400" b="1" dirty="0">
                <a:solidFill>
                  <a:srgbClr val="FFFFFF"/>
                </a:solidFill>
                <a:cs typeface="Arial" charset="0"/>
              </a:rPr>
              <a:t>Sign-off</a:t>
            </a:r>
          </a:p>
          <a:p>
            <a:pPr algn="ctr">
              <a:defRPr/>
            </a:pPr>
            <a:r>
              <a:rPr lang="en-US" sz="1400" b="1" dirty="0">
                <a:solidFill>
                  <a:srgbClr val="FFFFFF"/>
                </a:solidFill>
                <a:cs typeface="Arial" charset="0"/>
              </a:rPr>
              <a:t>Customer</a:t>
            </a:r>
          </a:p>
        </p:txBody>
      </p:sp>
      <p:cxnSp>
        <p:nvCxnSpPr>
          <p:cNvPr id="75" name="Elbow Connector 74"/>
          <p:cNvCxnSpPr/>
          <p:nvPr/>
        </p:nvCxnSpPr>
        <p:spPr bwMode="auto">
          <a:xfrm>
            <a:off x="9082635" y="1773865"/>
            <a:ext cx="888756" cy="446394"/>
          </a:xfrm>
          <a:prstGeom prst="bentConnector2">
            <a:avLst/>
          </a:prstGeom>
          <a:solidFill>
            <a:schemeClr val="accent1"/>
          </a:solidFill>
          <a:ln w="12700" cap="flat" cmpd="sng" algn="ctr">
            <a:solidFill>
              <a:schemeClr val="tx1"/>
            </a:solidFill>
            <a:prstDash val="solid"/>
            <a:round/>
            <a:headEnd type="none" w="med" len="med"/>
            <a:tailEnd type="arrow"/>
          </a:ln>
          <a:effectLst/>
        </p:spPr>
      </p:cxnSp>
      <p:sp>
        <p:nvSpPr>
          <p:cNvPr id="124" name="TextBox 123"/>
          <p:cNvSpPr txBox="1"/>
          <p:nvPr/>
        </p:nvSpPr>
        <p:spPr>
          <a:xfrm>
            <a:off x="3866753" y="5906062"/>
            <a:ext cx="1410964" cy="369332"/>
          </a:xfrm>
          <a:prstGeom prst="rect">
            <a:avLst/>
          </a:prstGeom>
          <a:noFill/>
        </p:spPr>
        <p:txBody>
          <a:bodyPr wrap="none" rtlCol="0">
            <a:spAutoFit/>
          </a:bodyPr>
          <a:lstStyle/>
          <a:p>
            <a:r>
              <a:rPr lang="en-US" dirty="0">
                <a:solidFill>
                  <a:srgbClr val="58585A"/>
                </a:solidFill>
              </a:rPr>
              <a:t>Initiated By:</a:t>
            </a:r>
          </a:p>
        </p:txBody>
      </p:sp>
      <p:cxnSp>
        <p:nvCxnSpPr>
          <p:cNvPr id="80" name="Straight Arrow Connector 79"/>
          <p:cNvCxnSpPr/>
          <p:nvPr/>
        </p:nvCxnSpPr>
        <p:spPr bwMode="auto">
          <a:xfrm flipH="1">
            <a:off x="3839458" y="6337533"/>
            <a:ext cx="1422945"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41" name="Rounded Rectangle 40"/>
          <p:cNvSpPr/>
          <p:nvPr/>
        </p:nvSpPr>
        <p:spPr bwMode="auto">
          <a:xfrm>
            <a:off x="9314652" y="4686301"/>
            <a:ext cx="1318723" cy="660400"/>
          </a:xfrm>
          <a:prstGeom prst="roundRect">
            <a:avLst/>
          </a:prstGeom>
          <a:solidFill>
            <a:srgbClr val="9FB7D3"/>
          </a:solid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wrap="none" lIns="72000" rIns="72000" anchor="ctr"/>
          <a:lstStyle/>
          <a:p>
            <a:pPr algn="ctr">
              <a:defRPr/>
            </a:pPr>
            <a:r>
              <a:rPr lang="en-US" sz="1400" b="1" dirty="0">
                <a:solidFill>
                  <a:srgbClr val="FFFFFF"/>
                </a:solidFill>
                <a:cs typeface="Arial" charset="0"/>
              </a:rPr>
              <a:t>Invoice </a:t>
            </a:r>
          </a:p>
          <a:p>
            <a:pPr algn="ctr">
              <a:defRPr/>
            </a:pPr>
            <a:r>
              <a:rPr lang="en-US" sz="1400" b="1" dirty="0">
                <a:solidFill>
                  <a:srgbClr val="FFFFFF"/>
                </a:solidFill>
                <a:cs typeface="Arial" charset="0"/>
              </a:rPr>
              <a:t>Customer</a:t>
            </a:r>
          </a:p>
        </p:txBody>
      </p:sp>
      <p:sp>
        <p:nvSpPr>
          <p:cNvPr id="44" name="Rounded Rectangle 43"/>
          <p:cNvSpPr/>
          <p:nvPr/>
        </p:nvSpPr>
        <p:spPr bwMode="auto">
          <a:xfrm>
            <a:off x="7863261" y="2937929"/>
            <a:ext cx="1260475" cy="725488"/>
          </a:xfrm>
          <a:prstGeom prst="roundRect">
            <a:avLst/>
          </a:prstGeom>
          <a:solidFill>
            <a:schemeClr val="accent6">
              <a:lumMod val="60000"/>
              <a:lumOff val="40000"/>
            </a:schemeClr>
          </a:solidFill>
          <a:ln w="381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wrap="none" lIns="72000" rIns="72000" anchor="ctr"/>
          <a:lstStyle/>
          <a:p>
            <a:pPr algn="ctr">
              <a:defRPr/>
            </a:pPr>
            <a:r>
              <a:rPr lang="en-US" sz="1400" b="1" dirty="0">
                <a:solidFill>
                  <a:srgbClr val="FFFFFF"/>
                </a:solidFill>
                <a:cs typeface="Arial" charset="0"/>
              </a:rPr>
              <a:t>Postpone</a:t>
            </a:r>
          </a:p>
          <a:p>
            <a:pPr algn="ctr">
              <a:defRPr/>
            </a:pPr>
            <a:r>
              <a:rPr lang="en-US" sz="1400" b="1" dirty="0">
                <a:solidFill>
                  <a:srgbClr val="FFFFFF"/>
                </a:solidFill>
                <a:cs typeface="Arial" charset="0"/>
              </a:rPr>
              <a:t>CR</a:t>
            </a:r>
          </a:p>
        </p:txBody>
      </p:sp>
      <p:sp>
        <p:nvSpPr>
          <p:cNvPr id="45" name="TextBox 44"/>
          <p:cNvSpPr txBox="1"/>
          <p:nvPr/>
        </p:nvSpPr>
        <p:spPr>
          <a:xfrm>
            <a:off x="4992498" y="3994889"/>
            <a:ext cx="3015519" cy="584775"/>
          </a:xfrm>
          <a:prstGeom prst="rect">
            <a:avLst/>
          </a:prstGeom>
          <a:solidFill>
            <a:srgbClr val="FFFF00"/>
          </a:solidFill>
        </p:spPr>
        <p:txBody>
          <a:bodyPr wrap="square" rtlCol="0">
            <a:spAutoFit/>
          </a:bodyPr>
          <a:lstStyle/>
          <a:p>
            <a:pPr algn="ctr"/>
            <a:r>
              <a:rPr lang="en-US" sz="1600" i="1" dirty="0">
                <a:solidFill>
                  <a:srgbClr val="00285E"/>
                </a:solidFill>
                <a:effectLst>
                  <a:outerShdw blurRad="38100" dist="38100" dir="2700000" algn="tl">
                    <a:srgbClr val="000000">
                      <a:alpha val="43137"/>
                    </a:srgbClr>
                  </a:outerShdw>
                </a:effectLst>
              </a:rPr>
              <a:t>Supporting Tool: </a:t>
            </a:r>
          </a:p>
          <a:p>
            <a:pPr algn="ctr"/>
            <a:r>
              <a:rPr lang="en-US" sz="1600" i="1" dirty="0">
                <a:solidFill>
                  <a:srgbClr val="00285E"/>
                </a:solidFill>
                <a:effectLst>
                  <a:outerShdw blurRad="38100" dist="38100" dir="2700000" algn="tl">
                    <a:srgbClr val="000000">
                      <a:alpha val="43137"/>
                    </a:srgbClr>
                  </a:outerShdw>
                </a:effectLst>
              </a:rPr>
              <a:t>Global Chronos (mandatory)</a:t>
            </a:r>
          </a:p>
        </p:txBody>
      </p:sp>
    </p:spTree>
    <p:extLst>
      <p:ext uri="{BB962C8B-B14F-4D97-AF65-F5344CB8AC3E}">
        <p14:creationId xmlns:p14="http://schemas.microsoft.com/office/powerpoint/2010/main" val="1829822800"/>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EC1F47-E604-42E1-BABE-0F523AB72B1E}"/>
              </a:ext>
            </a:extLst>
          </p:cNvPr>
          <p:cNvSpPr>
            <a:spLocks noGrp="1"/>
          </p:cNvSpPr>
          <p:nvPr>
            <p:ph type="title"/>
          </p:nvPr>
        </p:nvSpPr>
        <p:spPr>
          <a:xfrm>
            <a:off x="1338960" y="1934523"/>
            <a:ext cx="8353425" cy="2975227"/>
          </a:xfrm>
        </p:spPr>
        <p:txBody>
          <a:bodyPr/>
          <a:lstStyle/>
          <a:p>
            <a:r>
              <a:rPr lang="en-US" sz="7200" dirty="0"/>
              <a:t>The </a:t>
            </a:r>
            <a:r>
              <a:rPr lang="en-US" sz="7200" dirty="0">
                <a:solidFill>
                  <a:schemeClr val="accent5"/>
                </a:solidFill>
              </a:rPr>
              <a:t>Change Control Board </a:t>
            </a:r>
            <a:r>
              <a:rPr lang="en-US" sz="7200" dirty="0">
                <a:latin typeface="Hilda Light" panose="00000400000000000000" pitchFamily="2" charset="0"/>
                <a:cs typeface="Segoe UI Semilight" panose="020B0402040204020203" pitchFamily="34" charset="0"/>
              </a:rPr>
              <a:t>guide</a:t>
            </a:r>
            <a:endParaRPr lang="en-US" sz="7200" dirty="0"/>
          </a:p>
        </p:txBody>
      </p:sp>
      <p:grpSp>
        <p:nvGrpSpPr>
          <p:cNvPr id="3" name="Group 2">
            <a:extLst>
              <a:ext uri="{FF2B5EF4-FFF2-40B4-BE49-F238E27FC236}">
                <a16:creationId xmlns:a16="http://schemas.microsoft.com/office/drawing/2014/main" id="{D9FD6A0C-F60F-4EB5-8B79-FB7EA6725E81}"/>
              </a:ext>
            </a:extLst>
          </p:cNvPr>
          <p:cNvGrpSpPr/>
          <p:nvPr/>
        </p:nvGrpSpPr>
        <p:grpSpPr>
          <a:xfrm>
            <a:off x="7795816" y="3140336"/>
            <a:ext cx="3902971" cy="3375884"/>
            <a:chOff x="8088999" y="2603260"/>
            <a:chExt cx="3902971" cy="3375884"/>
          </a:xfrm>
        </p:grpSpPr>
        <p:sp>
          <p:nvSpPr>
            <p:cNvPr id="5" name="Oval 4">
              <a:extLst>
                <a:ext uri="{FF2B5EF4-FFF2-40B4-BE49-F238E27FC236}">
                  <a16:creationId xmlns:a16="http://schemas.microsoft.com/office/drawing/2014/main" id="{C50A30CB-2576-4C6A-93AD-13D1A676B293}"/>
                </a:ext>
              </a:extLst>
            </p:cNvPr>
            <p:cNvSpPr/>
            <p:nvPr/>
          </p:nvSpPr>
          <p:spPr bwMode="auto">
            <a:xfrm>
              <a:off x="9855878" y="4125098"/>
              <a:ext cx="274320" cy="274320"/>
            </a:xfrm>
            <a:prstGeom prst="ellips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6" name="Straight Connector 5">
              <a:extLst>
                <a:ext uri="{FF2B5EF4-FFF2-40B4-BE49-F238E27FC236}">
                  <a16:creationId xmlns:a16="http://schemas.microsoft.com/office/drawing/2014/main" id="{7E1E186B-A3DC-48B4-9B52-EB0D3E2936A5}"/>
                </a:ext>
              </a:extLst>
            </p:cNvPr>
            <p:cNvCxnSpPr/>
            <p:nvPr/>
          </p:nvCxnSpPr>
          <p:spPr bwMode="auto">
            <a:xfrm flipV="1">
              <a:off x="9636804" y="4381794"/>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7" name="Straight Connector 6">
              <a:extLst>
                <a:ext uri="{FF2B5EF4-FFF2-40B4-BE49-F238E27FC236}">
                  <a16:creationId xmlns:a16="http://schemas.microsoft.com/office/drawing/2014/main" id="{DCF1B09F-FB99-44BA-A815-2DB6AB04BBC3}"/>
                </a:ext>
              </a:extLst>
            </p:cNvPr>
            <p:cNvCxnSpPr/>
            <p:nvPr/>
          </p:nvCxnSpPr>
          <p:spPr bwMode="auto">
            <a:xfrm flipV="1">
              <a:off x="10198778" y="4065277"/>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8" name="Straight Connector 7">
              <a:extLst>
                <a:ext uri="{FF2B5EF4-FFF2-40B4-BE49-F238E27FC236}">
                  <a16:creationId xmlns:a16="http://schemas.microsoft.com/office/drawing/2014/main" id="{170C5DC2-810C-42DE-AE74-244C50B9E618}"/>
                </a:ext>
              </a:extLst>
            </p:cNvPr>
            <p:cNvCxnSpPr/>
            <p:nvPr/>
          </p:nvCxnSpPr>
          <p:spPr bwMode="auto">
            <a:xfrm flipV="1">
              <a:off x="9993038" y="4484714"/>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9" name="Straight Connector 8">
              <a:extLst>
                <a:ext uri="{FF2B5EF4-FFF2-40B4-BE49-F238E27FC236}">
                  <a16:creationId xmlns:a16="http://schemas.microsoft.com/office/drawing/2014/main" id="{57901A57-FF44-43D0-937C-0E902E712688}"/>
                </a:ext>
              </a:extLst>
            </p:cNvPr>
            <p:cNvCxnSpPr/>
            <p:nvPr/>
          </p:nvCxnSpPr>
          <p:spPr bwMode="auto">
            <a:xfrm flipV="1">
              <a:off x="9993038" y="3875210"/>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10" name="Straight Connector 9">
              <a:extLst>
                <a:ext uri="{FF2B5EF4-FFF2-40B4-BE49-F238E27FC236}">
                  <a16:creationId xmlns:a16="http://schemas.microsoft.com/office/drawing/2014/main" id="{54CC9003-3B41-408F-877C-BE689BAE05DD}"/>
                </a:ext>
              </a:extLst>
            </p:cNvPr>
            <p:cNvCxnSpPr/>
            <p:nvPr/>
          </p:nvCxnSpPr>
          <p:spPr bwMode="auto">
            <a:xfrm>
              <a:off x="9636804" y="4063189"/>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11" name="Straight Connector 10">
              <a:extLst>
                <a:ext uri="{FF2B5EF4-FFF2-40B4-BE49-F238E27FC236}">
                  <a16:creationId xmlns:a16="http://schemas.microsoft.com/office/drawing/2014/main" id="{401302EE-50CE-4B1E-A9E3-AAF077018127}"/>
                </a:ext>
              </a:extLst>
            </p:cNvPr>
            <p:cNvCxnSpPr/>
            <p:nvPr/>
          </p:nvCxnSpPr>
          <p:spPr bwMode="auto">
            <a:xfrm>
              <a:off x="10198778" y="4379706"/>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sp>
          <p:nvSpPr>
            <p:cNvPr id="12" name="Oval 11">
              <a:extLst>
                <a:ext uri="{FF2B5EF4-FFF2-40B4-BE49-F238E27FC236}">
                  <a16:creationId xmlns:a16="http://schemas.microsoft.com/office/drawing/2014/main" id="{58198F47-FDBB-4503-8BE1-B1C3D9E2C046}"/>
                </a:ext>
              </a:extLst>
            </p:cNvPr>
            <p:cNvSpPr>
              <a:spLocks noChangeAspect="1"/>
            </p:cNvSpPr>
            <p:nvPr/>
          </p:nvSpPr>
          <p:spPr bwMode="auto">
            <a:xfrm>
              <a:off x="8873481" y="3488923"/>
              <a:ext cx="731520" cy="731520"/>
            </a:xfrm>
            <a:prstGeom prst="ellipse">
              <a:avLst/>
            </a:prstGeom>
            <a:solidFill>
              <a:schemeClr val="tx1">
                <a:lumMod val="90000"/>
                <a:lumOff val="10000"/>
              </a:schemeClr>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 name="Oval 12">
              <a:extLst>
                <a:ext uri="{FF2B5EF4-FFF2-40B4-BE49-F238E27FC236}">
                  <a16:creationId xmlns:a16="http://schemas.microsoft.com/office/drawing/2014/main" id="{22BB87EE-9326-4E9C-8938-CFBA81B1A459}"/>
                </a:ext>
              </a:extLst>
            </p:cNvPr>
            <p:cNvSpPr>
              <a:spLocks noChangeAspect="1"/>
            </p:cNvSpPr>
            <p:nvPr/>
          </p:nvSpPr>
          <p:spPr bwMode="auto">
            <a:xfrm>
              <a:off x="9627278" y="3058393"/>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4" name="Oval 13">
              <a:extLst>
                <a:ext uri="{FF2B5EF4-FFF2-40B4-BE49-F238E27FC236}">
                  <a16:creationId xmlns:a16="http://schemas.microsoft.com/office/drawing/2014/main" id="{8FC459F5-42F2-4BF9-846B-03718A1D4130}"/>
                </a:ext>
              </a:extLst>
            </p:cNvPr>
            <p:cNvSpPr>
              <a:spLocks noChangeAspect="1"/>
            </p:cNvSpPr>
            <p:nvPr/>
          </p:nvSpPr>
          <p:spPr bwMode="auto">
            <a:xfrm>
              <a:off x="8873481" y="4298834"/>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5" name="Oval 14">
              <a:extLst>
                <a:ext uri="{FF2B5EF4-FFF2-40B4-BE49-F238E27FC236}">
                  <a16:creationId xmlns:a16="http://schemas.microsoft.com/office/drawing/2014/main" id="{3DE81876-A405-4B87-972F-E29E323540CF}"/>
                </a:ext>
              </a:extLst>
            </p:cNvPr>
            <p:cNvSpPr>
              <a:spLocks noChangeAspect="1"/>
            </p:cNvSpPr>
            <p:nvPr/>
          </p:nvSpPr>
          <p:spPr bwMode="auto">
            <a:xfrm>
              <a:off x="10378432" y="3488923"/>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6" name="Oval 15">
              <a:extLst>
                <a:ext uri="{FF2B5EF4-FFF2-40B4-BE49-F238E27FC236}">
                  <a16:creationId xmlns:a16="http://schemas.microsoft.com/office/drawing/2014/main" id="{59E57DCB-0FB9-49A2-B457-C2B0B322EDB5}"/>
                </a:ext>
              </a:extLst>
            </p:cNvPr>
            <p:cNvSpPr>
              <a:spLocks noChangeAspect="1"/>
            </p:cNvSpPr>
            <p:nvPr/>
          </p:nvSpPr>
          <p:spPr bwMode="auto">
            <a:xfrm>
              <a:off x="10378432" y="4298834"/>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7" name="Oval 16">
              <a:extLst>
                <a:ext uri="{FF2B5EF4-FFF2-40B4-BE49-F238E27FC236}">
                  <a16:creationId xmlns:a16="http://schemas.microsoft.com/office/drawing/2014/main" id="{6407FCFE-A439-4A79-8D75-CE8D661FFC74}"/>
                </a:ext>
              </a:extLst>
            </p:cNvPr>
            <p:cNvSpPr>
              <a:spLocks noChangeAspect="1"/>
            </p:cNvSpPr>
            <p:nvPr/>
          </p:nvSpPr>
          <p:spPr bwMode="auto">
            <a:xfrm>
              <a:off x="9629659" y="4734603"/>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 name="Freeform 3">
              <a:extLst>
                <a:ext uri="{FF2B5EF4-FFF2-40B4-BE49-F238E27FC236}">
                  <a16:creationId xmlns:a16="http://schemas.microsoft.com/office/drawing/2014/main" id="{5D803329-C302-4C88-AB27-2A33121154F5}"/>
                </a:ext>
              </a:extLst>
            </p:cNvPr>
            <p:cNvSpPr>
              <a:spLocks noChangeAspect="1" noEditPoints="1"/>
            </p:cNvSpPr>
            <p:nvPr/>
          </p:nvSpPr>
          <p:spPr bwMode="auto">
            <a:xfrm>
              <a:off x="10502625" y="3671803"/>
              <a:ext cx="483134" cy="365760"/>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3">
              <a:extLst>
                <a:ext uri="{FF2B5EF4-FFF2-40B4-BE49-F238E27FC236}">
                  <a16:creationId xmlns:a16="http://schemas.microsoft.com/office/drawing/2014/main" id="{2C3F4269-4B17-4DFD-BA53-F968AD11D938}"/>
                </a:ext>
              </a:extLst>
            </p:cNvPr>
            <p:cNvSpPr>
              <a:spLocks noChangeAspect="1" noEditPoints="1"/>
            </p:cNvSpPr>
            <p:nvPr/>
          </p:nvSpPr>
          <p:spPr bwMode="auto">
            <a:xfrm>
              <a:off x="9759415" y="3119353"/>
              <a:ext cx="467247" cy="548640"/>
            </a:xfrm>
            <a:custGeom>
              <a:avLst/>
              <a:gdLst>
                <a:gd name="T0" fmla="*/ 2147483647 w 384"/>
                <a:gd name="T1" fmla="*/ 2147483647 h 451"/>
                <a:gd name="T2" fmla="*/ 2147483647 w 384"/>
                <a:gd name="T3" fmla="*/ 2147483647 h 451"/>
                <a:gd name="T4" fmla="*/ 2147483647 w 384"/>
                <a:gd name="T5" fmla="*/ 2147483647 h 451"/>
                <a:gd name="T6" fmla="*/ 2147483647 w 384"/>
                <a:gd name="T7" fmla="*/ 2147483647 h 451"/>
                <a:gd name="T8" fmla="*/ 2147483647 w 384"/>
                <a:gd name="T9" fmla="*/ 2147483647 h 451"/>
                <a:gd name="T10" fmla="*/ 2147483647 w 384"/>
                <a:gd name="T11" fmla="*/ 2147483647 h 451"/>
                <a:gd name="T12" fmla="*/ 2147483647 w 384"/>
                <a:gd name="T13" fmla="*/ 2147483647 h 451"/>
                <a:gd name="T14" fmla="*/ 2147483647 w 384"/>
                <a:gd name="T15" fmla="*/ 2147483647 h 451"/>
                <a:gd name="T16" fmla="*/ 2147483647 w 384"/>
                <a:gd name="T17" fmla="*/ 2147483647 h 451"/>
                <a:gd name="T18" fmla="*/ 2147483647 w 384"/>
                <a:gd name="T19" fmla="*/ 2147483647 h 451"/>
                <a:gd name="T20" fmla="*/ 2147483647 w 384"/>
                <a:gd name="T21" fmla="*/ 2147483647 h 451"/>
                <a:gd name="T22" fmla="*/ 0 w 384"/>
                <a:gd name="T23" fmla="*/ 2147483647 h 451"/>
                <a:gd name="T24" fmla="*/ 0 w 384"/>
                <a:gd name="T25" fmla="*/ 2147483647 h 451"/>
                <a:gd name="T26" fmla="*/ 2147483647 w 384"/>
                <a:gd name="T27" fmla="*/ 2147483647 h 451"/>
                <a:gd name="T28" fmla="*/ 2147483647 w 384"/>
                <a:gd name="T29" fmla="*/ 2147483647 h 451"/>
                <a:gd name="T30" fmla="*/ 2147483647 w 384"/>
                <a:gd name="T31" fmla="*/ 2147483647 h 451"/>
                <a:gd name="T32" fmla="*/ 2147483647 w 384"/>
                <a:gd name="T33" fmla="*/ 2147483647 h 451"/>
                <a:gd name="T34" fmla="*/ 2147483647 w 384"/>
                <a:gd name="T35" fmla="*/ 2147483647 h 451"/>
                <a:gd name="T36" fmla="*/ 2147483647 w 384"/>
                <a:gd name="T37" fmla="*/ 2147483647 h 451"/>
                <a:gd name="T38" fmla="*/ 2147483647 w 384"/>
                <a:gd name="T39" fmla="*/ 2147483647 h 451"/>
                <a:gd name="T40" fmla="*/ 2147483647 w 384"/>
                <a:gd name="T41" fmla="*/ 2147483647 h 451"/>
                <a:gd name="T42" fmla="*/ 2147483647 w 384"/>
                <a:gd name="T43" fmla="*/ 2147483647 h 451"/>
                <a:gd name="T44" fmla="*/ 2147483647 w 384"/>
                <a:gd name="T45" fmla="*/ 2147483647 h 451"/>
                <a:gd name="T46" fmla="*/ 2147483647 w 384"/>
                <a:gd name="T47" fmla="*/ 2147483647 h 451"/>
                <a:gd name="T48" fmla="*/ 2147483647 w 384"/>
                <a:gd name="T49" fmla="*/ 2147483647 h 451"/>
                <a:gd name="T50" fmla="*/ 2147483647 w 384"/>
                <a:gd name="T51" fmla="*/ 2147483647 h 451"/>
                <a:gd name="T52" fmla="*/ 2147483647 w 384"/>
                <a:gd name="T53" fmla="*/ 2147483647 h 451"/>
                <a:gd name="T54" fmla="*/ 2147483647 w 384"/>
                <a:gd name="T55" fmla="*/ 2147483647 h 451"/>
                <a:gd name="T56" fmla="*/ 2147483647 w 384"/>
                <a:gd name="T57" fmla="*/ 2147483647 h 451"/>
                <a:gd name="T58" fmla="*/ 2147483647 w 384"/>
                <a:gd name="T59" fmla="*/ 2147483647 h 451"/>
                <a:gd name="T60" fmla="*/ 2147483647 w 384"/>
                <a:gd name="T61" fmla="*/ 2147483647 h 451"/>
                <a:gd name="T62" fmla="*/ 2147483647 w 384"/>
                <a:gd name="T63" fmla="*/ 2147483647 h 451"/>
                <a:gd name="T64" fmla="*/ 2147483647 w 384"/>
                <a:gd name="T65" fmla="*/ 2147483647 h 451"/>
                <a:gd name="T66" fmla="*/ 2147483647 w 384"/>
                <a:gd name="T67" fmla="*/ 2147483647 h 451"/>
                <a:gd name="T68" fmla="*/ 2147483647 w 384"/>
                <a:gd name="T69" fmla="*/ 2147483647 h 451"/>
                <a:gd name="T70" fmla="*/ 2147483647 w 384"/>
                <a:gd name="T71" fmla="*/ 2147483647 h 451"/>
                <a:gd name="T72" fmla="*/ 2147483647 w 384"/>
                <a:gd name="T73" fmla="*/ 2147483647 h 451"/>
                <a:gd name="T74" fmla="*/ 2147483647 w 384"/>
                <a:gd name="T75" fmla="*/ 2147483647 h 451"/>
                <a:gd name="T76" fmla="*/ 2147483647 w 384"/>
                <a:gd name="T77" fmla="*/ 2147483647 h 451"/>
                <a:gd name="T78" fmla="*/ 2147483647 w 384"/>
                <a:gd name="T79" fmla="*/ 2147483647 h 451"/>
                <a:gd name="T80" fmla="*/ 2147483647 w 384"/>
                <a:gd name="T81" fmla="*/ 2147483647 h 451"/>
                <a:gd name="T82" fmla="*/ 2147483647 w 384"/>
                <a:gd name="T83" fmla="*/ 2147483647 h 451"/>
                <a:gd name="T84" fmla="*/ 2147483647 w 384"/>
                <a:gd name="T85" fmla="*/ 2147483647 h 451"/>
                <a:gd name="T86" fmla="*/ 2147483647 w 384"/>
                <a:gd name="T87" fmla="*/ 2147483647 h 451"/>
                <a:gd name="T88" fmla="*/ 2147483647 w 384"/>
                <a:gd name="T89" fmla="*/ 2147483647 h 451"/>
                <a:gd name="T90" fmla="*/ 2147483647 w 384"/>
                <a:gd name="T91" fmla="*/ 2147483647 h 451"/>
                <a:gd name="T92" fmla="*/ 2147483647 w 384"/>
                <a:gd name="T93" fmla="*/ 2147483647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84" h="451">
                  <a:moveTo>
                    <a:pt x="240" y="101"/>
                  </a:moveTo>
                  <a:cubicBezTo>
                    <a:pt x="236" y="101"/>
                    <a:pt x="232" y="104"/>
                    <a:pt x="232" y="109"/>
                  </a:cubicBezTo>
                  <a:cubicBezTo>
                    <a:pt x="231" y="113"/>
                    <a:pt x="235" y="117"/>
                    <a:pt x="239" y="117"/>
                  </a:cubicBezTo>
                  <a:cubicBezTo>
                    <a:pt x="303" y="122"/>
                    <a:pt x="368" y="172"/>
                    <a:pt x="368" y="259"/>
                  </a:cubicBezTo>
                  <a:cubicBezTo>
                    <a:pt x="368" y="275"/>
                    <a:pt x="366" y="290"/>
                    <a:pt x="362" y="305"/>
                  </a:cubicBezTo>
                  <a:cubicBezTo>
                    <a:pt x="361" y="291"/>
                    <a:pt x="351" y="279"/>
                    <a:pt x="341" y="274"/>
                  </a:cubicBezTo>
                  <a:cubicBezTo>
                    <a:pt x="347" y="267"/>
                    <a:pt x="350" y="258"/>
                    <a:pt x="350" y="248"/>
                  </a:cubicBezTo>
                  <a:cubicBezTo>
                    <a:pt x="350" y="225"/>
                    <a:pt x="331" y="207"/>
                    <a:pt x="309" y="207"/>
                  </a:cubicBezTo>
                  <a:cubicBezTo>
                    <a:pt x="286" y="207"/>
                    <a:pt x="267" y="225"/>
                    <a:pt x="267" y="248"/>
                  </a:cubicBezTo>
                  <a:cubicBezTo>
                    <a:pt x="267" y="258"/>
                    <a:pt x="271" y="267"/>
                    <a:pt x="277" y="275"/>
                  </a:cubicBezTo>
                  <a:cubicBezTo>
                    <a:pt x="269" y="279"/>
                    <a:pt x="260" y="287"/>
                    <a:pt x="258" y="301"/>
                  </a:cubicBezTo>
                  <a:cubicBezTo>
                    <a:pt x="252" y="294"/>
                    <a:pt x="245" y="289"/>
                    <a:pt x="239" y="286"/>
                  </a:cubicBezTo>
                  <a:cubicBezTo>
                    <a:pt x="249" y="274"/>
                    <a:pt x="256" y="259"/>
                    <a:pt x="256" y="243"/>
                  </a:cubicBezTo>
                  <a:cubicBezTo>
                    <a:pt x="256" y="208"/>
                    <a:pt x="227" y="180"/>
                    <a:pt x="192" y="180"/>
                  </a:cubicBezTo>
                  <a:cubicBezTo>
                    <a:pt x="158" y="180"/>
                    <a:pt x="129" y="208"/>
                    <a:pt x="129" y="243"/>
                  </a:cubicBezTo>
                  <a:cubicBezTo>
                    <a:pt x="129" y="259"/>
                    <a:pt x="136" y="274"/>
                    <a:pt x="146" y="286"/>
                  </a:cubicBezTo>
                  <a:cubicBezTo>
                    <a:pt x="140" y="289"/>
                    <a:pt x="133" y="294"/>
                    <a:pt x="127" y="301"/>
                  </a:cubicBezTo>
                  <a:cubicBezTo>
                    <a:pt x="125" y="287"/>
                    <a:pt x="116" y="279"/>
                    <a:pt x="108" y="275"/>
                  </a:cubicBezTo>
                  <a:cubicBezTo>
                    <a:pt x="114" y="267"/>
                    <a:pt x="118" y="258"/>
                    <a:pt x="118" y="248"/>
                  </a:cubicBezTo>
                  <a:cubicBezTo>
                    <a:pt x="118" y="225"/>
                    <a:pt x="99" y="207"/>
                    <a:pt x="76" y="207"/>
                  </a:cubicBezTo>
                  <a:cubicBezTo>
                    <a:pt x="54" y="207"/>
                    <a:pt x="35" y="225"/>
                    <a:pt x="35" y="248"/>
                  </a:cubicBezTo>
                  <a:cubicBezTo>
                    <a:pt x="35" y="258"/>
                    <a:pt x="38" y="267"/>
                    <a:pt x="44" y="274"/>
                  </a:cubicBezTo>
                  <a:cubicBezTo>
                    <a:pt x="34" y="279"/>
                    <a:pt x="24" y="292"/>
                    <a:pt x="23" y="307"/>
                  </a:cubicBezTo>
                  <a:cubicBezTo>
                    <a:pt x="18" y="292"/>
                    <a:pt x="16" y="276"/>
                    <a:pt x="16" y="260"/>
                  </a:cubicBezTo>
                  <a:cubicBezTo>
                    <a:pt x="16" y="124"/>
                    <a:pt x="106" y="90"/>
                    <a:pt x="162" y="83"/>
                  </a:cubicBezTo>
                  <a:cubicBezTo>
                    <a:pt x="166" y="99"/>
                    <a:pt x="166" y="99"/>
                    <a:pt x="166" y="99"/>
                  </a:cubicBezTo>
                  <a:cubicBezTo>
                    <a:pt x="167" y="102"/>
                    <a:pt x="169" y="104"/>
                    <a:pt x="172" y="105"/>
                  </a:cubicBezTo>
                  <a:cubicBezTo>
                    <a:pt x="175" y="106"/>
                    <a:pt x="178" y="104"/>
                    <a:pt x="180" y="102"/>
                  </a:cubicBezTo>
                  <a:cubicBezTo>
                    <a:pt x="225" y="43"/>
                    <a:pt x="225" y="43"/>
                    <a:pt x="225" y="43"/>
                  </a:cubicBezTo>
                  <a:cubicBezTo>
                    <a:pt x="226" y="41"/>
                    <a:pt x="227" y="38"/>
                    <a:pt x="226" y="36"/>
                  </a:cubicBezTo>
                  <a:cubicBezTo>
                    <a:pt x="226" y="34"/>
                    <a:pt x="224" y="32"/>
                    <a:pt x="222" y="31"/>
                  </a:cubicBezTo>
                  <a:cubicBezTo>
                    <a:pt x="154" y="1"/>
                    <a:pt x="154" y="1"/>
                    <a:pt x="154" y="1"/>
                  </a:cubicBezTo>
                  <a:cubicBezTo>
                    <a:pt x="151" y="0"/>
                    <a:pt x="148" y="1"/>
                    <a:pt x="145" y="3"/>
                  </a:cubicBezTo>
                  <a:cubicBezTo>
                    <a:pt x="143" y="5"/>
                    <a:pt x="142" y="8"/>
                    <a:pt x="143" y="11"/>
                  </a:cubicBezTo>
                  <a:cubicBezTo>
                    <a:pt x="147" y="26"/>
                    <a:pt x="147" y="26"/>
                    <a:pt x="147" y="26"/>
                  </a:cubicBezTo>
                  <a:cubicBezTo>
                    <a:pt x="108" y="38"/>
                    <a:pt x="1" y="115"/>
                    <a:pt x="0" y="258"/>
                  </a:cubicBezTo>
                  <a:cubicBezTo>
                    <a:pt x="0" y="259"/>
                    <a:pt x="0" y="259"/>
                    <a:pt x="0" y="259"/>
                  </a:cubicBezTo>
                  <a:cubicBezTo>
                    <a:pt x="0" y="259"/>
                    <a:pt x="0" y="259"/>
                    <a:pt x="0" y="259"/>
                  </a:cubicBezTo>
                  <a:cubicBezTo>
                    <a:pt x="0" y="259"/>
                    <a:pt x="0" y="259"/>
                    <a:pt x="0" y="259"/>
                  </a:cubicBezTo>
                  <a:cubicBezTo>
                    <a:pt x="0" y="259"/>
                    <a:pt x="0" y="259"/>
                    <a:pt x="0" y="259"/>
                  </a:cubicBezTo>
                  <a:cubicBezTo>
                    <a:pt x="0" y="365"/>
                    <a:pt x="86" y="451"/>
                    <a:pt x="192" y="451"/>
                  </a:cubicBezTo>
                  <a:cubicBezTo>
                    <a:pt x="298" y="451"/>
                    <a:pt x="384" y="365"/>
                    <a:pt x="384" y="259"/>
                  </a:cubicBezTo>
                  <a:cubicBezTo>
                    <a:pt x="384" y="162"/>
                    <a:pt x="312" y="107"/>
                    <a:pt x="240" y="101"/>
                  </a:cubicBezTo>
                  <a:close/>
                  <a:moveTo>
                    <a:pt x="159" y="39"/>
                  </a:moveTo>
                  <a:cubicBezTo>
                    <a:pt x="161" y="39"/>
                    <a:pt x="163" y="37"/>
                    <a:pt x="164" y="35"/>
                  </a:cubicBezTo>
                  <a:cubicBezTo>
                    <a:pt x="165" y="34"/>
                    <a:pt x="165" y="31"/>
                    <a:pt x="165" y="29"/>
                  </a:cubicBezTo>
                  <a:cubicBezTo>
                    <a:pt x="163" y="23"/>
                    <a:pt x="163" y="23"/>
                    <a:pt x="163" y="23"/>
                  </a:cubicBezTo>
                  <a:cubicBezTo>
                    <a:pt x="206" y="41"/>
                    <a:pt x="206" y="41"/>
                    <a:pt x="206" y="41"/>
                  </a:cubicBezTo>
                  <a:cubicBezTo>
                    <a:pt x="177" y="79"/>
                    <a:pt x="177" y="79"/>
                    <a:pt x="177" y="79"/>
                  </a:cubicBezTo>
                  <a:cubicBezTo>
                    <a:pt x="176" y="74"/>
                    <a:pt x="176" y="74"/>
                    <a:pt x="176" y="74"/>
                  </a:cubicBezTo>
                  <a:cubicBezTo>
                    <a:pt x="175" y="71"/>
                    <a:pt x="172" y="68"/>
                    <a:pt x="169" y="68"/>
                  </a:cubicBezTo>
                  <a:cubicBezTo>
                    <a:pt x="169" y="68"/>
                    <a:pt x="168" y="68"/>
                    <a:pt x="167" y="68"/>
                  </a:cubicBezTo>
                  <a:cubicBezTo>
                    <a:pt x="163" y="69"/>
                    <a:pt x="163" y="69"/>
                    <a:pt x="163" y="69"/>
                  </a:cubicBezTo>
                  <a:cubicBezTo>
                    <a:pt x="143" y="71"/>
                    <a:pt x="106" y="75"/>
                    <a:pt x="75" y="99"/>
                  </a:cubicBezTo>
                  <a:cubicBezTo>
                    <a:pt x="110" y="51"/>
                    <a:pt x="158" y="39"/>
                    <a:pt x="159" y="39"/>
                  </a:cubicBezTo>
                  <a:close/>
                  <a:moveTo>
                    <a:pt x="76" y="223"/>
                  </a:moveTo>
                  <a:cubicBezTo>
                    <a:pt x="90" y="223"/>
                    <a:pt x="102" y="234"/>
                    <a:pt x="102" y="248"/>
                  </a:cubicBezTo>
                  <a:cubicBezTo>
                    <a:pt x="102" y="262"/>
                    <a:pt x="90" y="273"/>
                    <a:pt x="76" y="273"/>
                  </a:cubicBezTo>
                  <a:cubicBezTo>
                    <a:pt x="62" y="273"/>
                    <a:pt x="51" y="262"/>
                    <a:pt x="51" y="248"/>
                  </a:cubicBezTo>
                  <a:cubicBezTo>
                    <a:pt x="51" y="234"/>
                    <a:pt x="62" y="223"/>
                    <a:pt x="76" y="223"/>
                  </a:cubicBezTo>
                  <a:close/>
                  <a:moveTo>
                    <a:pt x="112" y="415"/>
                  </a:moveTo>
                  <a:cubicBezTo>
                    <a:pt x="111" y="415"/>
                    <a:pt x="111" y="415"/>
                    <a:pt x="111" y="415"/>
                  </a:cubicBezTo>
                  <a:cubicBezTo>
                    <a:pt x="109" y="414"/>
                    <a:pt x="107" y="413"/>
                    <a:pt x="106" y="412"/>
                  </a:cubicBezTo>
                  <a:cubicBezTo>
                    <a:pt x="105" y="412"/>
                    <a:pt x="104" y="411"/>
                    <a:pt x="103" y="410"/>
                  </a:cubicBezTo>
                  <a:cubicBezTo>
                    <a:pt x="100" y="409"/>
                    <a:pt x="98" y="407"/>
                    <a:pt x="95" y="406"/>
                  </a:cubicBezTo>
                  <a:cubicBezTo>
                    <a:pt x="94" y="405"/>
                    <a:pt x="93" y="404"/>
                    <a:pt x="91" y="403"/>
                  </a:cubicBezTo>
                  <a:cubicBezTo>
                    <a:pt x="89" y="402"/>
                    <a:pt x="88" y="401"/>
                    <a:pt x="86" y="399"/>
                  </a:cubicBezTo>
                  <a:cubicBezTo>
                    <a:pt x="84" y="398"/>
                    <a:pt x="83" y="397"/>
                    <a:pt x="81" y="395"/>
                  </a:cubicBezTo>
                  <a:cubicBezTo>
                    <a:pt x="80" y="395"/>
                    <a:pt x="80" y="394"/>
                    <a:pt x="79" y="394"/>
                  </a:cubicBezTo>
                  <a:cubicBezTo>
                    <a:pt x="63" y="380"/>
                    <a:pt x="49" y="364"/>
                    <a:pt x="39" y="345"/>
                  </a:cubicBezTo>
                  <a:cubicBezTo>
                    <a:pt x="39" y="309"/>
                    <a:pt x="39" y="309"/>
                    <a:pt x="39" y="309"/>
                  </a:cubicBezTo>
                  <a:cubicBezTo>
                    <a:pt x="39" y="297"/>
                    <a:pt x="50" y="287"/>
                    <a:pt x="55" y="286"/>
                  </a:cubicBezTo>
                  <a:cubicBezTo>
                    <a:pt x="56" y="286"/>
                    <a:pt x="57" y="285"/>
                    <a:pt x="58" y="285"/>
                  </a:cubicBezTo>
                  <a:cubicBezTo>
                    <a:pt x="63" y="288"/>
                    <a:pt x="70" y="289"/>
                    <a:pt x="76" y="289"/>
                  </a:cubicBezTo>
                  <a:cubicBezTo>
                    <a:pt x="83" y="289"/>
                    <a:pt x="88" y="288"/>
                    <a:pt x="94" y="286"/>
                  </a:cubicBezTo>
                  <a:cubicBezTo>
                    <a:pt x="94" y="286"/>
                    <a:pt x="94" y="286"/>
                    <a:pt x="94" y="286"/>
                  </a:cubicBezTo>
                  <a:cubicBezTo>
                    <a:pt x="104" y="290"/>
                    <a:pt x="112" y="294"/>
                    <a:pt x="112" y="308"/>
                  </a:cubicBezTo>
                  <a:lnTo>
                    <a:pt x="112" y="415"/>
                  </a:lnTo>
                  <a:close/>
                  <a:moveTo>
                    <a:pt x="145" y="243"/>
                  </a:moveTo>
                  <a:cubicBezTo>
                    <a:pt x="145" y="217"/>
                    <a:pt x="167" y="196"/>
                    <a:pt x="192" y="196"/>
                  </a:cubicBezTo>
                  <a:cubicBezTo>
                    <a:pt x="218" y="196"/>
                    <a:pt x="240" y="217"/>
                    <a:pt x="240" y="243"/>
                  </a:cubicBezTo>
                  <a:cubicBezTo>
                    <a:pt x="240" y="269"/>
                    <a:pt x="218" y="290"/>
                    <a:pt x="192" y="290"/>
                  </a:cubicBezTo>
                  <a:cubicBezTo>
                    <a:pt x="167" y="290"/>
                    <a:pt x="145" y="269"/>
                    <a:pt x="145" y="243"/>
                  </a:cubicBezTo>
                  <a:close/>
                  <a:moveTo>
                    <a:pt x="257" y="422"/>
                  </a:moveTo>
                  <a:cubicBezTo>
                    <a:pt x="256" y="423"/>
                    <a:pt x="255" y="423"/>
                    <a:pt x="253" y="424"/>
                  </a:cubicBezTo>
                  <a:cubicBezTo>
                    <a:pt x="253" y="424"/>
                    <a:pt x="252" y="424"/>
                    <a:pt x="252" y="424"/>
                  </a:cubicBezTo>
                  <a:cubicBezTo>
                    <a:pt x="250" y="425"/>
                    <a:pt x="248" y="426"/>
                    <a:pt x="247" y="426"/>
                  </a:cubicBezTo>
                  <a:cubicBezTo>
                    <a:pt x="245" y="427"/>
                    <a:pt x="244" y="427"/>
                    <a:pt x="243" y="427"/>
                  </a:cubicBezTo>
                  <a:cubicBezTo>
                    <a:pt x="242" y="428"/>
                    <a:pt x="241" y="428"/>
                    <a:pt x="240" y="428"/>
                  </a:cubicBezTo>
                  <a:cubicBezTo>
                    <a:pt x="238" y="429"/>
                    <a:pt x="236" y="429"/>
                    <a:pt x="234" y="430"/>
                  </a:cubicBezTo>
                  <a:cubicBezTo>
                    <a:pt x="234" y="430"/>
                    <a:pt x="233" y="430"/>
                    <a:pt x="233" y="430"/>
                  </a:cubicBezTo>
                  <a:cubicBezTo>
                    <a:pt x="218" y="434"/>
                    <a:pt x="202" y="435"/>
                    <a:pt x="186" y="435"/>
                  </a:cubicBezTo>
                  <a:cubicBezTo>
                    <a:pt x="186" y="435"/>
                    <a:pt x="185" y="435"/>
                    <a:pt x="185" y="435"/>
                  </a:cubicBezTo>
                  <a:cubicBezTo>
                    <a:pt x="183" y="435"/>
                    <a:pt x="180" y="434"/>
                    <a:pt x="178" y="434"/>
                  </a:cubicBezTo>
                  <a:cubicBezTo>
                    <a:pt x="178" y="434"/>
                    <a:pt x="177" y="434"/>
                    <a:pt x="176" y="434"/>
                  </a:cubicBezTo>
                  <a:cubicBezTo>
                    <a:pt x="174" y="434"/>
                    <a:pt x="172" y="434"/>
                    <a:pt x="170" y="433"/>
                  </a:cubicBezTo>
                  <a:cubicBezTo>
                    <a:pt x="169" y="433"/>
                    <a:pt x="168" y="433"/>
                    <a:pt x="168" y="433"/>
                  </a:cubicBezTo>
                  <a:cubicBezTo>
                    <a:pt x="166" y="433"/>
                    <a:pt x="163" y="433"/>
                    <a:pt x="161" y="432"/>
                  </a:cubicBezTo>
                  <a:cubicBezTo>
                    <a:pt x="161" y="432"/>
                    <a:pt x="160" y="432"/>
                    <a:pt x="159" y="432"/>
                  </a:cubicBezTo>
                  <a:cubicBezTo>
                    <a:pt x="157" y="431"/>
                    <a:pt x="155" y="431"/>
                    <a:pt x="153" y="430"/>
                  </a:cubicBezTo>
                  <a:cubicBezTo>
                    <a:pt x="152" y="430"/>
                    <a:pt x="152" y="430"/>
                    <a:pt x="151" y="430"/>
                  </a:cubicBezTo>
                  <a:cubicBezTo>
                    <a:pt x="149" y="430"/>
                    <a:pt x="147" y="429"/>
                    <a:pt x="145" y="428"/>
                  </a:cubicBezTo>
                  <a:cubicBezTo>
                    <a:pt x="144" y="428"/>
                    <a:pt x="144" y="428"/>
                    <a:pt x="143" y="428"/>
                  </a:cubicBezTo>
                  <a:cubicBezTo>
                    <a:pt x="141" y="427"/>
                    <a:pt x="139" y="427"/>
                    <a:pt x="136" y="426"/>
                  </a:cubicBezTo>
                  <a:cubicBezTo>
                    <a:pt x="136" y="426"/>
                    <a:pt x="136" y="426"/>
                    <a:pt x="135" y="425"/>
                  </a:cubicBezTo>
                  <a:cubicBezTo>
                    <a:pt x="133" y="425"/>
                    <a:pt x="131" y="424"/>
                    <a:pt x="128" y="423"/>
                  </a:cubicBezTo>
                  <a:cubicBezTo>
                    <a:pt x="128" y="423"/>
                    <a:pt x="128" y="423"/>
                    <a:pt x="128" y="423"/>
                  </a:cubicBezTo>
                  <a:cubicBezTo>
                    <a:pt x="128" y="340"/>
                    <a:pt x="128" y="340"/>
                    <a:pt x="128" y="340"/>
                  </a:cubicBezTo>
                  <a:cubicBezTo>
                    <a:pt x="128" y="316"/>
                    <a:pt x="147" y="303"/>
                    <a:pt x="160" y="297"/>
                  </a:cubicBezTo>
                  <a:cubicBezTo>
                    <a:pt x="169" y="302"/>
                    <a:pt x="181" y="306"/>
                    <a:pt x="192" y="306"/>
                  </a:cubicBezTo>
                  <a:cubicBezTo>
                    <a:pt x="204" y="306"/>
                    <a:pt x="216" y="302"/>
                    <a:pt x="225" y="297"/>
                  </a:cubicBezTo>
                  <a:cubicBezTo>
                    <a:pt x="238" y="303"/>
                    <a:pt x="257" y="316"/>
                    <a:pt x="257" y="340"/>
                  </a:cubicBezTo>
                  <a:lnTo>
                    <a:pt x="257" y="422"/>
                  </a:lnTo>
                  <a:close/>
                  <a:moveTo>
                    <a:pt x="309" y="223"/>
                  </a:moveTo>
                  <a:cubicBezTo>
                    <a:pt x="323" y="223"/>
                    <a:pt x="334" y="234"/>
                    <a:pt x="334" y="248"/>
                  </a:cubicBezTo>
                  <a:cubicBezTo>
                    <a:pt x="334" y="262"/>
                    <a:pt x="323" y="273"/>
                    <a:pt x="309" y="273"/>
                  </a:cubicBezTo>
                  <a:cubicBezTo>
                    <a:pt x="295" y="273"/>
                    <a:pt x="283" y="262"/>
                    <a:pt x="283" y="248"/>
                  </a:cubicBezTo>
                  <a:cubicBezTo>
                    <a:pt x="283" y="234"/>
                    <a:pt x="295" y="223"/>
                    <a:pt x="309" y="223"/>
                  </a:cubicBezTo>
                  <a:close/>
                  <a:moveTo>
                    <a:pt x="346" y="344"/>
                  </a:moveTo>
                  <a:cubicBezTo>
                    <a:pt x="330" y="374"/>
                    <a:pt x="304" y="399"/>
                    <a:pt x="273" y="415"/>
                  </a:cubicBezTo>
                  <a:cubicBezTo>
                    <a:pt x="273" y="308"/>
                    <a:pt x="273" y="308"/>
                    <a:pt x="273" y="308"/>
                  </a:cubicBezTo>
                  <a:cubicBezTo>
                    <a:pt x="273" y="294"/>
                    <a:pt x="281" y="290"/>
                    <a:pt x="291" y="286"/>
                  </a:cubicBezTo>
                  <a:cubicBezTo>
                    <a:pt x="291" y="286"/>
                    <a:pt x="291" y="286"/>
                    <a:pt x="291" y="286"/>
                  </a:cubicBezTo>
                  <a:cubicBezTo>
                    <a:pt x="297" y="288"/>
                    <a:pt x="302" y="289"/>
                    <a:pt x="309" y="289"/>
                  </a:cubicBezTo>
                  <a:cubicBezTo>
                    <a:pt x="315" y="289"/>
                    <a:pt x="322" y="288"/>
                    <a:pt x="327" y="285"/>
                  </a:cubicBezTo>
                  <a:cubicBezTo>
                    <a:pt x="328" y="285"/>
                    <a:pt x="329" y="286"/>
                    <a:pt x="330" y="286"/>
                  </a:cubicBezTo>
                  <a:cubicBezTo>
                    <a:pt x="335" y="287"/>
                    <a:pt x="346" y="297"/>
                    <a:pt x="346" y="309"/>
                  </a:cubicBezTo>
                  <a:lnTo>
                    <a:pt x="346" y="344"/>
                  </a:lnTo>
                  <a:close/>
                  <a:moveTo>
                    <a:pt x="231" y="326"/>
                  </a:moveTo>
                  <a:cubicBezTo>
                    <a:pt x="227" y="326"/>
                    <a:pt x="223" y="330"/>
                    <a:pt x="223" y="334"/>
                  </a:cubicBezTo>
                  <a:cubicBezTo>
                    <a:pt x="223" y="406"/>
                    <a:pt x="223" y="406"/>
                    <a:pt x="223" y="406"/>
                  </a:cubicBezTo>
                  <a:cubicBezTo>
                    <a:pt x="223" y="410"/>
                    <a:pt x="227" y="414"/>
                    <a:pt x="231" y="414"/>
                  </a:cubicBezTo>
                  <a:cubicBezTo>
                    <a:pt x="236" y="414"/>
                    <a:pt x="239" y="410"/>
                    <a:pt x="239" y="406"/>
                  </a:cubicBezTo>
                  <a:cubicBezTo>
                    <a:pt x="239" y="334"/>
                    <a:pt x="239" y="334"/>
                    <a:pt x="239" y="334"/>
                  </a:cubicBezTo>
                  <a:cubicBezTo>
                    <a:pt x="239" y="330"/>
                    <a:pt x="236" y="326"/>
                    <a:pt x="231" y="326"/>
                  </a:cubicBezTo>
                  <a:close/>
                  <a:moveTo>
                    <a:pt x="153" y="326"/>
                  </a:moveTo>
                  <a:cubicBezTo>
                    <a:pt x="149" y="326"/>
                    <a:pt x="145" y="330"/>
                    <a:pt x="145" y="334"/>
                  </a:cubicBezTo>
                  <a:cubicBezTo>
                    <a:pt x="145" y="406"/>
                    <a:pt x="145" y="406"/>
                    <a:pt x="145" y="406"/>
                  </a:cubicBezTo>
                  <a:cubicBezTo>
                    <a:pt x="145" y="410"/>
                    <a:pt x="149" y="414"/>
                    <a:pt x="153" y="414"/>
                  </a:cubicBezTo>
                  <a:cubicBezTo>
                    <a:pt x="158" y="414"/>
                    <a:pt x="161" y="410"/>
                    <a:pt x="161" y="406"/>
                  </a:cubicBezTo>
                  <a:cubicBezTo>
                    <a:pt x="161" y="334"/>
                    <a:pt x="161" y="334"/>
                    <a:pt x="161" y="334"/>
                  </a:cubicBezTo>
                  <a:cubicBezTo>
                    <a:pt x="161" y="330"/>
                    <a:pt x="158" y="326"/>
                    <a:pt x="153" y="3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3">
              <a:extLst>
                <a:ext uri="{FF2B5EF4-FFF2-40B4-BE49-F238E27FC236}">
                  <a16:creationId xmlns:a16="http://schemas.microsoft.com/office/drawing/2014/main" id="{881371EC-FF1E-4DF7-A2B8-08757DDAB939}"/>
                </a:ext>
              </a:extLst>
            </p:cNvPr>
            <p:cNvSpPr>
              <a:spLocks noChangeAspect="1" noEditPoints="1"/>
            </p:cNvSpPr>
            <p:nvPr/>
          </p:nvSpPr>
          <p:spPr bwMode="auto">
            <a:xfrm>
              <a:off x="8978298" y="3708379"/>
              <a:ext cx="521886" cy="292608"/>
            </a:xfrm>
            <a:custGeom>
              <a:avLst/>
              <a:gdLst>
                <a:gd name="T0" fmla="*/ 2147483647 w 478"/>
                <a:gd name="T1" fmla="*/ 2147483647 h 268"/>
                <a:gd name="T2" fmla="*/ 2147483647 w 478"/>
                <a:gd name="T3" fmla="*/ 2147483647 h 268"/>
                <a:gd name="T4" fmla="*/ 2147483647 w 478"/>
                <a:gd name="T5" fmla="*/ 2147483647 h 268"/>
                <a:gd name="T6" fmla="*/ 2147483647 w 478"/>
                <a:gd name="T7" fmla="*/ 2147483647 h 268"/>
                <a:gd name="T8" fmla="*/ 2147483647 w 478"/>
                <a:gd name="T9" fmla="*/ 2147483647 h 268"/>
                <a:gd name="T10" fmla="*/ 2147483647 w 478"/>
                <a:gd name="T11" fmla="*/ 2147483647 h 268"/>
                <a:gd name="T12" fmla="*/ 2147483647 w 478"/>
                <a:gd name="T13" fmla="*/ 2147483647 h 268"/>
                <a:gd name="T14" fmla="*/ 2147483647 w 478"/>
                <a:gd name="T15" fmla="*/ 2147483647 h 268"/>
                <a:gd name="T16" fmla="*/ 2147483647 w 478"/>
                <a:gd name="T17" fmla="*/ 2147483647 h 268"/>
                <a:gd name="T18" fmla="*/ 2147483647 w 478"/>
                <a:gd name="T19" fmla="*/ 2147483647 h 268"/>
                <a:gd name="T20" fmla="*/ 2147483647 w 478"/>
                <a:gd name="T21" fmla="*/ 2147483647 h 268"/>
                <a:gd name="T22" fmla="*/ 2147483647 w 478"/>
                <a:gd name="T23" fmla="*/ 2147483647 h 268"/>
                <a:gd name="T24" fmla="*/ 2147483647 w 478"/>
                <a:gd name="T25" fmla="*/ 2147483647 h 268"/>
                <a:gd name="T26" fmla="*/ 2147483647 w 478"/>
                <a:gd name="T27" fmla="*/ 2147483647 h 268"/>
                <a:gd name="T28" fmla="*/ 2147483647 w 478"/>
                <a:gd name="T29" fmla="*/ 2147483647 h 268"/>
                <a:gd name="T30" fmla="*/ 2147483647 w 478"/>
                <a:gd name="T31" fmla="*/ 2147483647 h 268"/>
                <a:gd name="T32" fmla="*/ 2147483647 w 478"/>
                <a:gd name="T33" fmla="*/ 0 h 268"/>
                <a:gd name="T34" fmla="*/ 2147483647 w 478"/>
                <a:gd name="T35" fmla="*/ 2147483647 h 268"/>
                <a:gd name="T36" fmla="*/ 2147483647 w 478"/>
                <a:gd name="T37" fmla="*/ 2147483647 h 268"/>
                <a:gd name="T38" fmla="*/ 2147483647 w 478"/>
                <a:gd name="T39" fmla="*/ 2147483647 h 268"/>
                <a:gd name="T40" fmla="*/ 2147483647 w 478"/>
                <a:gd name="T41" fmla="*/ 2147483647 h 268"/>
                <a:gd name="T42" fmla="*/ 0 w 478"/>
                <a:gd name="T43" fmla="*/ 2147483647 h 268"/>
                <a:gd name="T44" fmla="*/ 2147483647 w 478"/>
                <a:gd name="T45" fmla="*/ 2147483647 h 268"/>
                <a:gd name="T46" fmla="*/ 2147483647 w 478"/>
                <a:gd name="T47" fmla="*/ 2147483647 h 268"/>
                <a:gd name="T48" fmla="*/ 2147483647 w 478"/>
                <a:gd name="T49" fmla="*/ 2147483647 h 268"/>
                <a:gd name="T50" fmla="*/ 2147483647 w 478"/>
                <a:gd name="T51" fmla="*/ 2147483647 h 268"/>
                <a:gd name="T52" fmla="*/ 2147483647 w 478"/>
                <a:gd name="T53" fmla="*/ 2147483647 h 268"/>
                <a:gd name="T54" fmla="*/ 2147483647 w 478"/>
                <a:gd name="T55" fmla="*/ 2147483647 h 268"/>
                <a:gd name="T56" fmla="*/ 2147483647 w 478"/>
                <a:gd name="T57" fmla="*/ 2147483647 h 268"/>
                <a:gd name="T58" fmla="*/ 2147483647 w 478"/>
                <a:gd name="T59" fmla="*/ 2147483647 h 268"/>
                <a:gd name="T60" fmla="*/ 2147483647 w 478"/>
                <a:gd name="T61" fmla="*/ 2147483647 h 268"/>
                <a:gd name="T62" fmla="*/ 2147483647 w 478"/>
                <a:gd name="T63" fmla="*/ 2147483647 h 268"/>
                <a:gd name="T64" fmla="*/ 2147483647 w 478"/>
                <a:gd name="T65" fmla="*/ 2147483647 h 268"/>
                <a:gd name="T66" fmla="*/ 2147483647 w 478"/>
                <a:gd name="T67" fmla="*/ 2147483647 h 268"/>
                <a:gd name="T68" fmla="*/ 2147483647 w 478"/>
                <a:gd name="T69" fmla="*/ 2147483647 h 268"/>
                <a:gd name="T70" fmla="*/ 2147483647 w 478"/>
                <a:gd name="T71" fmla="*/ 2147483647 h 268"/>
                <a:gd name="T72" fmla="*/ 2147483647 w 478"/>
                <a:gd name="T73" fmla="*/ 2147483647 h 268"/>
                <a:gd name="T74" fmla="*/ 2147483647 w 478"/>
                <a:gd name="T75" fmla="*/ 2147483647 h 268"/>
                <a:gd name="T76" fmla="*/ 2147483647 w 478"/>
                <a:gd name="T77" fmla="*/ 2147483647 h 268"/>
                <a:gd name="T78" fmla="*/ 2147483647 w 478"/>
                <a:gd name="T79" fmla="*/ 2147483647 h 268"/>
                <a:gd name="T80" fmla="*/ 2147483647 w 478"/>
                <a:gd name="T81" fmla="*/ 2147483647 h 268"/>
                <a:gd name="T82" fmla="*/ 2147483647 w 478"/>
                <a:gd name="T83" fmla="*/ 2147483647 h 268"/>
                <a:gd name="T84" fmla="*/ 2147483647 w 478"/>
                <a:gd name="T85" fmla="*/ 2147483647 h 268"/>
                <a:gd name="T86" fmla="*/ 2147483647 w 478"/>
                <a:gd name="T87" fmla="*/ 2147483647 h 268"/>
                <a:gd name="T88" fmla="*/ 2147483647 w 478"/>
                <a:gd name="T89" fmla="*/ 2147483647 h 268"/>
                <a:gd name="T90" fmla="*/ 2147483647 w 478"/>
                <a:gd name="T91" fmla="*/ 2147483647 h 268"/>
                <a:gd name="T92" fmla="*/ 2147483647 w 478"/>
                <a:gd name="T93" fmla="*/ 2147483647 h 268"/>
                <a:gd name="T94" fmla="*/ 2147483647 w 478"/>
                <a:gd name="T95" fmla="*/ 2147483647 h 268"/>
                <a:gd name="T96" fmla="*/ 2147483647 w 478"/>
                <a:gd name="T97" fmla="*/ 2147483647 h 268"/>
                <a:gd name="T98" fmla="*/ 2147483647 w 478"/>
                <a:gd name="T99" fmla="*/ 2147483647 h 268"/>
                <a:gd name="T100" fmla="*/ 2147483647 w 478"/>
                <a:gd name="T101" fmla="*/ 2147483647 h 268"/>
                <a:gd name="T102" fmla="*/ 2147483647 w 478"/>
                <a:gd name="T103" fmla="*/ 2147483647 h 268"/>
                <a:gd name="T104" fmla="*/ 2147483647 w 478"/>
                <a:gd name="T105" fmla="*/ 2147483647 h 268"/>
                <a:gd name="T106" fmla="*/ 2147483647 w 478"/>
                <a:gd name="T107" fmla="*/ 2147483647 h 268"/>
                <a:gd name="T108" fmla="*/ 2147483647 w 478"/>
                <a:gd name="T109" fmla="*/ 2147483647 h 268"/>
                <a:gd name="T110" fmla="*/ 2147483647 w 478"/>
                <a:gd name="T111" fmla="*/ 2147483647 h 268"/>
                <a:gd name="T112" fmla="*/ 2147483647 w 478"/>
                <a:gd name="T113" fmla="*/ 2147483647 h 268"/>
                <a:gd name="T114" fmla="*/ 2147483647 w 478"/>
                <a:gd name="T115" fmla="*/ 2147483647 h 268"/>
                <a:gd name="T116" fmla="*/ 2147483647 w 478"/>
                <a:gd name="T117" fmla="*/ 2147483647 h 268"/>
                <a:gd name="T118" fmla="*/ 2147483647 w 478"/>
                <a:gd name="T119" fmla="*/ 2147483647 h 268"/>
                <a:gd name="T120" fmla="*/ 2147483647 w 478"/>
                <a:gd name="T121" fmla="*/ 2147483647 h 268"/>
                <a:gd name="T122" fmla="*/ 2147483647 w 478"/>
                <a:gd name="T123" fmla="*/ 2147483647 h 2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8" h="268">
                  <a:moveTo>
                    <a:pt x="312" y="106"/>
                  </a:moveTo>
                  <a:cubicBezTo>
                    <a:pt x="312" y="101"/>
                    <a:pt x="308" y="98"/>
                    <a:pt x="304" y="98"/>
                  </a:cubicBezTo>
                  <a:cubicBezTo>
                    <a:pt x="68" y="98"/>
                    <a:pt x="68" y="98"/>
                    <a:pt x="68" y="98"/>
                  </a:cubicBezTo>
                  <a:cubicBezTo>
                    <a:pt x="64" y="98"/>
                    <a:pt x="60" y="101"/>
                    <a:pt x="60" y="106"/>
                  </a:cubicBezTo>
                  <a:cubicBezTo>
                    <a:pt x="60" y="110"/>
                    <a:pt x="64" y="114"/>
                    <a:pt x="68" y="114"/>
                  </a:cubicBezTo>
                  <a:cubicBezTo>
                    <a:pt x="304" y="114"/>
                    <a:pt x="304" y="114"/>
                    <a:pt x="304" y="114"/>
                  </a:cubicBezTo>
                  <a:cubicBezTo>
                    <a:pt x="308" y="114"/>
                    <a:pt x="312" y="110"/>
                    <a:pt x="312" y="106"/>
                  </a:cubicBezTo>
                  <a:close/>
                  <a:moveTo>
                    <a:pt x="312" y="50"/>
                  </a:moveTo>
                  <a:cubicBezTo>
                    <a:pt x="312" y="42"/>
                    <a:pt x="312" y="35"/>
                    <a:pt x="312" y="30"/>
                  </a:cubicBezTo>
                  <a:cubicBezTo>
                    <a:pt x="312" y="23"/>
                    <a:pt x="313" y="20"/>
                    <a:pt x="315" y="18"/>
                  </a:cubicBezTo>
                  <a:cubicBezTo>
                    <a:pt x="316" y="16"/>
                    <a:pt x="317" y="16"/>
                    <a:pt x="319" y="16"/>
                  </a:cubicBezTo>
                  <a:cubicBezTo>
                    <a:pt x="321" y="16"/>
                    <a:pt x="325" y="17"/>
                    <a:pt x="329" y="21"/>
                  </a:cubicBezTo>
                  <a:cubicBezTo>
                    <a:pt x="334" y="25"/>
                    <a:pt x="343" y="32"/>
                    <a:pt x="352" y="39"/>
                  </a:cubicBezTo>
                  <a:cubicBezTo>
                    <a:pt x="356" y="42"/>
                    <a:pt x="361" y="41"/>
                    <a:pt x="364" y="38"/>
                  </a:cubicBezTo>
                  <a:cubicBezTo>
                    <a:pt x="366" y="34"/>
                    <a:pt x="366" y="29"/>
                    <a:pt x="362" y="27"/>
                  </a:cubicBezTo>
                  <a:cubicBezTo>
                    <a:pt x="353" y="19"/>
                    <a:pt x="344" y="12"/>
                    <a:pt x="339" y="8"/>
                  </a:cubicBezTo>
                  <a:cubicBezTo>
                    <a:pt x="333" y="3"/>
                    <a:pt x="326" y="0"/>
                    <a:pt x="319" y="0"/>
                  </a:cubicBezTo>
                  <a:cubicBezTo>
                    <a:pt x="312" y="0"/>
                    <a:pt x="306" y="3"/>
                    <a:pt x="302" y="8"/>
                  </a:cubicBezTo>
                  <a:cubicBezTo>
                    <a:pt x="298" y="14"/>
                    <a:pt x="296" y="21"/>
                    <a:pt x="296" y="30"/>
                  </a:cubicBezTo>
                  <a:cubicBezTo>
                    <a:pt x="296" y="33"/>
                    <a:pt x="296" y="37"/>
                    <a:pt x="296" y="42"/>
                  </a:cubicBezTo>
                  <a:cubicBezTo>
                    <a:pt x="8" y="42"/>
                    <a:pt x="8" y="42"/>
                    <a:pt x="8" y="42"/>
                  </a:cubicBezTo>
                  <a:cubicBezTo>
                    <a:pt x="4" y="42"/>
                    <a:pt x="0" y="46"/>
                    <a:pt x="0" y="50"/>
                  </a:cubicBezTo>
                  <a:cubicBezTo>
                    <a:pt x="0" y="54"/>
                    <a:pt x="4" y="58"/>
                    <a:pt x="8" y="58"/>
                  </a:cubicBezTo>
                  <a:cubicBezTo>
                    <a:pt x="304" y="58"/>
                    <a:pt x="304" y="58"/>
                    <a:pt x="304" y="58"/>
                  </a:cubicBezTo>
                  <a:cubicBezTo>
                    <a:pt x="308" y="58"/>
                    <a:pt x="312" y="54"/>
                    <a:pt x="312" y="50"/>
                  </a:cubicBezTo>
                  <a:close/>
                  <a:moveTo>
                    <a:pt x="312" y="162"/>
                  </a:moveTo>
                  <a:cubicBezTo>
                    <a:pt x="312" y="157"/>
                    <a:pt x="308" y="154"/>
                    <a:pt x="304" y="154"/>
                  </a:cubicBezTo>
                  <a:cubicBezTo>
                    <a:pt x="130" y="154"/>
                    <a:pt x="130" y="154"/>
                    <a:pt x="130" y="154"/>
                  </a:cubicBezTo>
                  <a:cubicBezTo>
                    <a:pt x="126" y="154"/>
                    <a:pt x="122" y="157"/>
                    <a:pt x="122" y="162"/>
                  </a:cubicBezTo>
                  <a:cubicBezTo>
                    <a:pt x="122" y="166"/>
                    <a:pt x="126" y="170"/>
                    <a:pt x="130" y="170"/>
                  </a:cubicBezTo>
                  <a:cubicBezTo>
                    <a:pt x="304" y="170"/>
                    <a:pt x="304" y="170"/>
                    <a:pt x="304" y="170"/>
                  </a:cubicBezTo>
                  <a:cubicBezTo>
                    <a:pt x="308" y="170"/>
                    <a:pt x="312" y="166"/>
                    <a:pt x="312" y="162"/>
                  </a:cubicBezTo>
                  <a:close/>
                  <a:moveTo>
                    <a:pt x="464" y="107"/>
                  </a:moveTo>
                  <a:cubicBezTo>
                    <a:pt x="451" y="96"/>
                    <a:pt x="399" y="56"/>
                    <a:pt x="399" y="56"/>
                  </a:cubicBezTo>
                  <a:cubicBezTo>
                    <a:pt x="399" y="56"/>
                    <a:pt x="395" y="52"/>
                    <a:pt x="388" y="47"/>
                  </a:cubicBezTo>
                  <a:cubicBezTo>
                    <a:pt x="384" y="44"/>
                    <a:pt x="379" y="45"/>
                    <a:pt x="377" y="48"/>
                  </a:cubicBezTo>
                  <a:cubicBezTo>
                    <a:pt x="374" y="52"/>
                    <a:pt x="374" y="57"/>
                    <a:pt x="378" y="59"/>
                  </a:cubicBezTo>
                  <a:cubicBezTo>
                    <a:pt x="378" y="59"/>
                    <a:pt x="378" y="59"/>
                    <a:pt x="378" y="59"/>
                  </a:cubicBezTo>
                  <a:cubicBezTo>
                    <a:pt x="385" y="65"/>
                    <a:pt x="389" y="68"/>
                    <a:pt x="389" y="68"/>
                  </a:cubicBezTo>
                  <a:cubicBezTo>
                    <a:pt x="389" y="68"/>
                    <a:pt x="441" y="109"/>
                    <a:pt x="454" y="120"/>
                  </a:cubicBezTo>
                  <a:cubicBezTo>
                    <a:pt x="460" y="125"/>
                    <a:pt x="462" y="128"/>
                    <a:pt x="462" y="134"/>
                  </a:cubicBezTo>
                  <a:cubicBezTo>
                    <a:pt x="462" y="139"/>
                    <a:pt x="460" y="142"/>
                    <a:pt x="454" y="147"/>
                  </a:cubicBezTo>
                  <a:cubicBezTo>
                    <a:pt x="441" y="158"/>
                    <a:pt x="389" y="199"/>
                    <a:pt x="389" y="199"/>
                  </a:cubicBezTo>
                  <a:cubicBezTo>
                    <a:pt x="389" y="199"/>
                    <a:pt x="345" y="234"/>
                    <a:pt x="329" y="247"/>
                  </a:cubicBezTo>
                  <a:cubicBezTo>
                    <a:pt x="324" y="251"/>
                    <a:pt x="320" y="252"/>
                    <a:pt x="318" y="252"/>
                  </a:cubicBezTo>
                  <a:cubicBezTo>
                    <a:pt x="317" y="252"/>
                    <a:pt x="316" y="252"/>
                    <a:pt x="315" y="250"/>
                  </a:cubicBezTo>
                  <a:cubicBezTo>
                    <a:pt x="313" y="248"/>
                    <a:pt x="312" y="244"/>
                    <a:pt x="312" y="237"/>
                  </a:cubicBezTo>
                  <a:cubicBezTo>
                    <a:pt x="312" y="232"/>
                    <a:pt x="312" y="226"/>
                    <a:pt x="312" y="218"/>
                  </a:cubicBezTo>
                  <a:cubicBezTo>
                    <a:pt x="312" y="213"/>
                    <a:pt x="308" y="210"/>
                    <a:pt x="304" y="210"/>
                  </a:cubicBezTo>
                  <a:cubicBezTo>
                    <a:pt x="176" y="210"/>
                    <a:pt x="176" y="210"/>
                    <a:pt x="176" y="210"/>
                  </a:cubicBezTo>
                  <a:cubicBezTo>
                    <a:pt x="172" y="210"/>
                    <a:pt x="168" y="213"/>
                    <a:pt x="168" y="218"/>
                  </a:cubicBezTo>
                  <a:cubicBezTo>
                    <a:pt x="168" y="222"/>
                    <a:pt x="172" y="226"/>
                    <a:pt x="176" y="226"/>
                  </a:cubicBezTo>
                  <a:cubicBezTo>
                    <a:pt x="296" y="226"/>
                    <a:pt x="296" y="226"/>
                    <a:pt x="296" y="226"/>
                  </a:cubicBezTo>
                  <a:cubicBezTo>
                    <a:pt x="296" y="230"/>
                    <a:pt x="296" y="234"/>
                    <a:pt x="296" y="237"/>
                  </a:cubicBezTo>
                  <a:cubicBezTo>
                    <a:pt x="296" y="246"/>
                    <a:pt x="298" y="253"/>
                    <a:pt x="302" y="259"/>
                  </a:cubicBezTo>
                  <a:cubicBezTo>
                    <a:pt x="305" y="264"/>
                    <a:pt x="312" y="268"/>
                    <a:pt x="318" y="268"/>
                  </a:cubicBezTo>
                  <a:cubicBezTo>
                    <a:pt x="318" y="268"/>
                    <a:pt x="318" y="268"/>
                    <a:pt x="318" y="268"/>
                  </a:cubicBezTo>
                  <a:cubicBezTo>
                    <a:pt x="326" y="268"/>
                    <a:pt x="333" y="264"/>
                    <a:pt x="339" y="259"/>
                  </a:cubicBezTo>
                  <a:cubicBezTo>
                    <a:pt x="354" y="246"/>
                    <a:pt x="399" y="212"/>
                    <a:pt x="399" y="211"/>
                  </a:cubicBezTo>
                  <a:cubicBezTo>
                    <a:pt x="399" y="211"/>
                    <a:pt x="451" y="171"/>
                    <a:pt x="464" y="160"/>
                  </a:cubicBezTo>
                  <a:cubicBezTo>
                    <a:pt x="472" y="153"/>
                    <a:pt x="478" y="144"/>
                    <a:pt x="478" y="134"/>
                  </a:cubicBezTo>
                  <a:cubicBezTo>
                    <a:pt x="478" y="123"/>
                    <a:pt x="472" y="114"/>
                    <a:pt x="46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3">
              <a:extLst>
                <a:ext uri="{FF2B5EF4-FFF2-40B4-BE49-F238E27FC236}">
                  <a16:creationId xmlns:a16="http://schemas.microsoft.com/office/drawing/2014/main" id="{E36CF3DC-D291-47E1-8C50-5DC14CECD5AA}"/>
                </a:ext>
              </a:extLst>
            </p:cNvPr>
            <p:cNvSpPr>
              <a:spLocks noChangeAspect="1" noEditPoints="1"/>
            </p:cNvSpPr>
            <p:nvPr/>
          </p:nvSpPr>
          <p:spPr bwMode="auto">
            <a:xfrm>
              <a:off x="8964921" y="4500910"/>
              <a:ext cx="548640" cy="327368"/>
            </a:xfrm>
            <a:custGeom>
              <a:avLst/>
              <a:gdLst>
                <a:gd name="T0" fmla="*/ 2147483647 w 486"/>
                <a:gd name="T1" fmla="*/ 2147483647 h 290"/>
                <a:gd name="T2" fmla="*/ 2147483647 w 486"/>
                <a:gd name="T3" fmla="*/ 2147483647 h 290"/>
                <a:gd name="T4" fmla="*/ 2147483647 w 486"/>
                <a:gd name="T5" fmla="*/ 2147483647 h 290"/>
                <a:gd name="T6" fmla="*/ 2147483647 w 486"/>
                <a:gd name="T7" fmla="*/ 2147483647 h 290"/>
                <a:gd name="T8" fmla="*/ 2147483647 w 486"/>
                <a:gd name="T9" fmla="*/ 2147483647 h 290"/>
                <a:gd name="T10" fmla="*/ 2147483647 w 486"/>
                <a:gd name="T11" fmla="*/ 2147483647 h 290"/>
                <a:gd name="T12" fmla="*/ 2147483647 w 486"/>
                <a:gd name="T13" fmla="*/ 2147483647 h 290"/>
                <a:gd name="T14" fmla="*/ 2147483647 w 486"/>
                <a:gd name="T15" fmla="*/ 2147483647 h 290"/>
                <a:gd name="T16" fmla="*/ 2147483647 w 486"/>
                <a:gd name="T17" fmla="*/ 2147483647 h 290"/>
                <a:gd name="T18" fmla="*/ 2147483647 w 486"/>
                <a:gd name="T19" fmla="*/ 2147483647 h 290"/>
                <a:gd name="T20" fmla="*/ 2147483647 w 486"/>
                <a:gd name="T21" fmla="*/ 2147483647 h 290"/>
                <a:gd name="T22" fmla="*/ 2147483647 w 486"/>
                <a:gd name="T23" fmla="*/ 2147483647 h 290"/>
                <a:gd name="T24" fmla="*/ 2147483647 w 486"/>
                <a:gd name="T25" fmla="*/ 2147483647 h 290"/>
                <a:gd name="T26" fmla="*/ 2147483647 w 486"/>
                <a:gd name="T27" fmla="*/ 2147483647 h 290"/>
                <a:gd name="T28" fmla="*/ 2147483647 w 486"/>
                <a:gd name="T29" fmla="*/ 2147483647 h 290"/>
                <a:gd name="T30" fmla="*/ 2147483647 w 486"/>
                <a:gd name="T31" fmla="*/ 2147483647 h 290"/>
                <a:gd name="T32" fmla="*/ 2147483647 w 486"/>
                <a:gd name="T33" fmla="*/ 2147483647 h 290"/>
                <a:gd name="T34" fmla="*/ 2147483647 w 486"/>
                <a:gd name="T35" fmla="*/ 2147483647 h 290"/>
                <a:gd name="T36" fmla="*/ 2147483647 w 486"/>
                <a:gd name="T37" fmla="*/ 2147483647 h 290"/>
                <a:gd name="T38" fmla="*/ 2147483647 w 486"/>
                <a:gd name="T39" fmla="*/ 2147483647 h 290"/>
                <a:gd name="T40" fmla="*/ 2147483647 w 486"/>
                <a:gd name="T41" fmla="*/ 2147483647 h 290"/>
                <a:gd name="T42" fmla="*/ 2147483647 w 486"/>
                <a:gd name="T43" fmla="*/ 2147483647 h 290"/>
                <a:gd name="T44" fmla="*/ 2147483647 w 486"/>
                <a:gd name="T45" fmla="*/ 2147483647 h 290"/>
                <a:gd name="T46" fmla="*/ 2147483647 w 486"/>
                <a:gd name="T47" fmla="*/ 2147483647 h 290"/>
                <a:gd name="T48" fmla="*/ 2147483647 w 486"/>
                <a:gd name="T49" fmla="*/ 2147483647 h 290"/>
                <a:gd name="T50" fmla="*/ 2147483647 w 486"/>
                <a:gd name="T51" fmla="*/ 2147483647 h 290"/>
                <a:gd name="T52" fmla="*/ 2147483647 w 486"/>
                <a:gd name="T53" fmla="*/ 2147483647 h 290"/>
                <a:gd name="T54" fmla="*/ 2147483647 w 486"/>
                <a:gd name="T55" fmla="*/ 2147483647 h 290"/>
                <a:gd name="T56" fmla="*/ 2147483647 w 486"/>
                <a:gd name="T57" fmla="*/ 2147483647 h 290"/>
                <a:gd name="T58" fmla="*/ 2147483647 w 486"/>
                <a:gd name="T59" fmla="*/ 2147483647 h 290"/>
                <a:gd name="T60" fmla="*/ 2147483647 w 486"/>
                <a:gd name="T61" fmla="*/ 2147483647 h 290"/>
                <a:gd name="T62" fmla="*/ 2147483647 w 486"/>
                <a:gd name="T63" fmla="*/ 2147483647 h 290"/>
                <a:gd name="T64" fmla="*/ 2147483647 w 486"/>
                <a:gd name="T65" fmla="*/ 2147483647 h 290"/>
                <a:gd name="T66" fmla="*/ 2147483647 w 486"/>
                <a:gd name="T67" fmla="*/ 2147483647 h 290"/>
                <a:gd name="T68" fmla="*/ 2147483647 w 486"/>
                <a:gd name="T69" fmla="*/ 2147483647 h 290"/>
                <a:gd name="T70" fmla="*/ 2147483647 w 486"/>
                <a:gd name="T71" fmla="*/ 2147483647 h 290"/>
                <a:gd name="T72" fmla="*/ 2147483647 w 486"/>
                <a:gd name="T73" fmla="*/ 2147483647 h 290"/>
                <a:gd name="T74" fmla="*/ 2147483647 w 486"/>
                <a:gd name="T75" fmla="*/ 2147483647 h 290"/>
                <a:gd name="T76" fmla="*/ 2147483647 w 486"/>
                <a:gd name="T77" fmla="*/ 2147483647 h 290"/>
                <a:gd name="T78" fmla="*/ 2147483647 w 486"/>
                <a:gd name="T79" fmla="*/ 2147483647 h 290"/>
                <a:gd name="T80" fmla="*/ 2147483647 w 486"/>
                <a:gd name="T81" fmla="*/ 2147483647 h 290"/>
                <a:gd name="T82" fmla="*/ 2147483647 w 486"/>
                <a:gd name="T83" fmla="*/ 2147483647 h 290"/>
                <a:gd name="T84" fmla="*/ 2147483647 w 486"/>
                <a:gd name="T85" fmla="*/ 2147483647 h 290"/>
                <a:gd name="T86" fmla="*/ 2147483647 w 486"/>
                <a:gd name="T87" fmla="*/ 2147483647 h 290"/>
                <a:gd name="T88" fmla="*/ 2147483647 w 486"/>
                <a:gd name="T89" fmla="*/ 2147483647 h 290"/>
                <a:gd name="T90" fmla="*/ 2147483647 w 486"/>
                <a:gd name="T91" fmla="*/ 2147483647 h 290"/>
                <a:gd name="T92" fmla="*/ 2147483647 w 486"/>
                <a:gd name="T93" fmla="*/ 2147483647 h 290"/>
                <a:gd name="T94" fmla="*/ 2147483647 w 486"/>
                <a:gd name="T95" fmla="*/ 2147483647 h 290"/>
                <a:gd name="T96" fmla="*/ 2147483647 w 486"/>
                <a:gd name="T97" fmla="*/ 2147483647 h 290"/>
                <a:gd name="T98" fmla="*/ 2147483647 w 486"/>
                <a:gd name="T99" fmla="*/ 2147483647 h 290"/>
                <a:gd name="T100" fmla="*/ 2147483647 w 486"/>
                <a:gd name="T101" fmla="*/ 2147483647 h 290"/>
                <a:gd name="T102" fmla="*/ 2147483647 w 486"/>
                <a:gd name="T103" fmla="*/ 2147483647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86" h="290">
                  <a:moveTo>
                    <a:pt x="408" y="62"/>
                  </a:moveTo>
                  <a:cubicBezTo>
                    <a:pt x="414" y="65"/>
                    <a:pt x="421" y="66"/>
                    <a:pt x="426" y="66"/>
                  </a:cubicBezTo>
                  <a:cubicBezTo>
                    <a:pt x="478" y="66"/>
                    <a:pt x="478" y="66"/>
                    <a:pt x="478" y="66"/>
                  </a:cubicBezTo>
                  <a:cubicBezTo>
                    <a:pt x="483" y="66"/>
                    <a:pt x="486" y="63"/>
                    <a:pt x="486" y="58"/>
                  </a:cubicBezTo>
                  <a:cubicBezTo>
                    <a:pt x="486" y="54"/>
                    <a:pt x="483" y="50"/>
                    <a:pt x="478" y="50"/>
                  </a:cubicBezTo>
                  <a:cubicBezTo>
                    <a:pt x="426" y="50"/>
                    <a:pt x="426" y="50"/>
                    <a:pt x="426" y="50"/>
                  </a:cubicBezTo>
                  <a:cubicBezTo>
                    <a:pt x="424" y="50"/>
                    <a:pt x="418" y="49"/>
                    <a:pt x="413" y="47"/>
                  </a:cubicBezTo>
                  <a:cubicBezTo>
                    <a:pt x="409" y="46"/>
                    <a:pt x="405" y="48"/>
                    <a:pt x="403" y="52"/>
                  </a:cubicBezTo>
                  <a:cubicBezTo>
                    <a:pt x="402" y="56"/>
                    <a:pt x="404" y="61"/>
                    <a:pt x="408" y="62"/>
                  </a:cubicBezTo>
                  <a:close/>
                  <a:moveTo>
                    <a:pt x="478" y="189"/>
                  </a:moveTo>
                  <a:cubicBezTo>
                    <a:pt x="424" y="189"/>
                    <a:pt x="424" y="189"/>
                    <a:pt x="424" y="189"/>
                  </a:cubicBezTo>
                  <a:cubicBezTo>
                    <a:pt x="408" y="173"/>
                    <a:pt x="344" y="106"/>
                    <a:pt x="327" y="91"/>
                  </a:cubicBezTo>
                  <a:cubicBezTo>
                    <a:pt x="311" y="76"/>
                    <a:pt x="276" y="71"/>
                    <a:pt x="245" y="66"/>
                  </a:cubicBezTo>
                  <a:cubicBezTo>
                    <a:pt x="235" y="64"/>
                    <a:pt x="225" y="62"/>
                    <a:pt x="218" y="61"/>
                  </a:cubicBezTo>
                  <a:cubicBezTo>
                    <a:pt x="196" y="56"/>
                    <a:pt x="184" y="68"/>
                    <a:pt x="178" y="74"/>
                  </a:cubicBezTo>
                  <a:cubicBezTo>
                    <a:pt x="177" y="75"/>
                    <a:pt x="176" y="76"/>
                    <a:pt x="176" y="76"/>
                  </a:cubicBezTo>
                  <a:cubicBezTo>
                    <a:pt x="175" y="77"/>
                    <a:pt x="174" y="77"/>
                    <a:pt x="174" y="78"/>
                  </a:cubicBezTo>
                  <a:cubicBezTo>
                    <a:pt x="167" y="83"/>
                    <a:pt x="151" y="98"/>
                    <a:pt x="130" y="99"/>
                  </a:cubicBezTo>
                  <a:cubicBezTo>
                    <a:pt x="126" y="100"/>
                    <a:pt x="118" y="99"/>
                    <a:pt x="117" y="95"/>
                  </a:cubicBezTo>
                  <a:cubicBezTo>
                    <a:pt x="115" y="92"/>
                    <a:pt x="117" y="88"/>
                    <a:pt x="117" y="87"/>
                  </a:cubicBezTo>
                  <a:cubicBezTo>
                    <a:pt x="119" y="86"/>
                    <a:pt x="125" y="82"/>
                    <a:pt x="131" y="78"/>
                  </a:cubicBezTo>
                  <a:cubicBezTo>
                    <a:pt x="140" y="71"/>
                    <a:pt x="154" y="62"/>
                    <a:pt x="164" y="54"/>
                  </a:cubicBezTo>
                  <a:cubicBezTo>
                    <a:pt x="179" y="42"/>
                    <a:pt x="212" y="23"/>
                    <a:pt x="222" y="19"/>
                  </a:cubicBezTo>
                  <a:cubicBezTo>
                    <a:pt x="228" y="17"/>
                    <a:pt x="267" y="19"/>
                    <a:pt x="299" y="22"/>
                  </a:cubicBezTo>
                  <a:cubicBezTo>
                    <a:pt x="313" y="23"/>
                    <a:pt x="329" y="25"/>
                    <a:pt x="332" y="26"/>
                  </a:cubicBezTo>
                  <a:cubicBezTo>
                    <a:pt x="337" y="28"/>
                    <a:pt x="375" y="46"/>
                    <a:pt x="377" y="47"/>
                  </a:cubicBezTo>
                  <a:cubicBezTo>
                    <a:pt x="378" y="48"/>
                    <a:pt x="379" y="48"/>
                    <a:pt x="380" y="48"/>
                  </a:cubicBezTo>
                  <a:cubicBezTo>
                    <a:pt x="385" y="48"/>
                    <a:pt x="388" y="44"/>
                    <a:pt x="388" y="40"/>
                  </a:cubicBezTo>
                  <a:cubicBezTo>
                    <a:pt x="388" y="37"/>
                    <a:pt x="387" y="35"/>
                    <a:pt x="384" y="33"/>
                  </a:cubicBezTo>
                  <a:cubicBezTo>
                    <a:pt x="384" y="33"/>
                    <a:pt x="384" y="33"/>
                    <a:pt x="384" y="33"/>
                  </a:cubicBezTo>
                  <a:cubicBezTo>
                    <a:pt x="384" y="33"/>
                    <a:pt x="384" y="33"/>
                    <a:pt x="384" y="33"/>
                  </a:cubicBezTo>
                  <a:cubicBezTo>
                    <a:pt x="383" y="33"/>
                    <a:pt x="383" y="33"/>
                    <a:pt x="383" y="33"/>
                  </a:cubicBezTo>
                  <a:cubicBezTo>
                    <a:pt x="377" y="30"/>
                    <a:pt x="342" y="13"/>
                    <a:pt x="339" y="11"/>
                  </a:cubicBezTo>
                  <a:cubicBezTo>
                    <a:pt x="337" y="11"/>
                    <a:pt x="333" y="9"/>
                    <a:pt x="301" y="6"/>
                  </a:cubicBezTo>
                  <a:cubicBezTo>
                    <a:pt x="284" y="4"/>
                    <a:pt x="228" y="0"/>
                    <a:pt x="217" y="4"/>
                  </a:cubicBezTo>
                  <a:cubicBezTo>
                    <a:pt x="204" y="9"/>
                    <a:pt x="170" y="29"/>
                    <a:pt x="154" y="42"/>
                  </a:cubicBezTo>
                  <a:cubicBezTo>
                    <a:pt x="151" y="44"/>
                    <a:pt x="148" y="46"/>
                    <a:pt x="145" y="49"/>
                  </a:cubicBezTo>
                  <a:cubicBezTo>
                    <a:pt x="123" y="49"/>
                    <a:pt x="105" y="56"/>
                    <a:pt x="87" y="63"/>
                  </a:cubicBezTo>
                  <a:cubicBezTo>
                    <a:pt x="68" y="71"/>
                    <a:pt x="52" y="77"/>
                    <a:pt x="37" y="77"/>
                  </a:cubicBezTo>
                  <a:cubicBezTo>
                    <a:pt x="8" y="77"/>
                    <a:pt x="8" y="77"/>
                    <a:pt x="8" y="77"/>
                  </a:cubicBezTo>
                  <a:cubicBezTo>
                    <a:pt x="3" y="77"/>
                    <a:pt x="0" y="81"/>
                    <a:pt x="0" y="85"/>
                  </a:cubicBezTo>
                  <a:cubicBezTo>
                    <a:pt x="0" y="90"/>
                    <a:pt x="3" y="93"/>
                    <a:pt x="8" y="93"/>
                  </a:cubicBezTo>
                  <a:cubicBezTo>
                    <a:pt x="37" y="93"/>
                    <a:pt x="37" y="93"/>
                    <a:pt x="37" y="93"/>
                  </a:cubicBezTo>
                  <a:cubicBezTo>
                    <a:pt x="56" y="93"/>
                    <a:pt x="75" y="85"/>
                    <a:pt x="93" y="78"/>
                  </a:cubicBezTo>
                  <a:cubicBezTo>
                    <a:pt x="99" y="75"/>
                    <a:pt x="110" y="70"/>
                    <a:pt x="117" y="68"/>
                  </a:cubicBezTo>
                  <a:cubicBezTo>
                    <a:pt x="112" y="72"/>
                    <a:pt x="108" y="74"/>
                    <a:pt x="107" y="75"/>
                  </a:cubicBezTo>
                  <a:cubicBezTo>
                    <a:pt x="101" y="80"/>
                    <a:pt x="98" y="92"/>
                    <a:pt x="102" y="101"/>
                  </a:cubicBezTo>
                  <a:cubicBezTo>
                    <a:pt x="104" y="106"/>
                    <a:pt x="110" y="117"/>
                    <a:pt x="131" y="115"/>
                  </a:cubicBezTo>
                  <a:cubicBezTo>
                    <a:pt x="158" y="113"/>
                    <a:pt x="177" y="96"/>
                    <a:pt x="184" y="90"/>
                  </a:cubicBezTo>
                  <a:cubicBezTo>
                    <a:pt x="185" y="89"/>
                    <a:pt x="185" y="89"/>
                    <a:pt x="186" y="88"/>
                  </a:cubicBezTo>
                  <a:cubicBezTo>
                    <a:pt x="187" y="88"/>
                    <a:pt x="188" y="87"/>
                    <a:pt x="189" y="86"/>
                  </a:cubicBezTo>
                  <a:cubicBezTo>
                    <a:pt x="194" y="81"/>
                    <a:pt x="201" y="74"/>
                    <a:pt x="214" y="76"/>
                  </a:cubicBezTo>
                  <a:cubicBezTo>
                    <a:pt x="222" y="78"/>
                    <a:pt x="232" y="80"/>
                    <a:pt x="242" y="81"/>
                  </a:cubicBezTo>
                  <a:cubicBezTo>
                    <a:pt x="270" y="86"/>
                    <a:pt x="304" y="91"/>
                    <a:pt x="316" y="103"/>
                  </a:cubicBezTo>
                  <a:cubicBezTo>
                    <a:pt x="332" y="117"/>
                    <a:pt x="395" y="182"/>
                    <a:pt x="412" y="200"/>
                  </a:cubicBezTo>
                  <a:cubicBezTo>
                    <a:pt x="412" y="200"/>
                    <a:pt x="412" y="200"/>
                    <a:pt x="412" y="200"/>
                  </a:cubicBezTo>
                  <a:cubicBezTo>
                    <a:pt x="414" y="202"/>
                    <a:pt x="416" y="204"/>
                    <a:pt x="416" y="204"/>
                  </a:cubicBezTo>
                  <a:cubicBezTo>
                    <a:pt x="418" y="206"/>
                    <a:pt x="420" y="210"/>
                    <a:pt x="420" y="212"/>
                  </a:cubicBezTo>
                  <a:cubicBezTo>
                    <a:pt x="420" y="215"/>
                    <a:pt x="419" y="218"/>
                    <a:pt x="417" y="220"/>
                  </a:cubicBezTo>
                  <a:cubicBezTo>
                    <a:pt x="415" y="222"/>
                    <a:pt x="412" y="223"/>
                    <a:pt x="410" y="223"/>
                  </a:cubicBezTo>
                  <a:cubicBezTo>
                    <a:pt x="407" y="223"/>
                    <a:pt x="404" y="222"/>
                    <a:pt x="402" y="220"/>
                  </a:cubicBezTo>
                  <a:cubicBezTo>
                    <a:pt x="360" y="178"/>
                    <a:pt x="360" y="178"/>
                    <a:pt x="360" y="178"/>
                  </a:cubicBezTo>
                  <a:cubicBezTo>
                    <a:pt x="357" y="175"/>
                    <a:pt x="352" y="175"/>
                    <a:pt x="349" y="178"/>
                  </a:cubicBezTo>
                  <a:cubicBezTo>
                    <a:pt x="347" y="179"/>
                    <a:pt x="347" y="182"/>
                    <a:pt x="347" y="184"/>
                  </a:cubicBezTo>
                  <a:cubicBezTo>
                    <a:pt x="347" y="186"/>
                    <a:pt x="347" y="188"/>
                    <a:pt x="349" y="189"/>
                  </a:cubicBezTo>
                  <a:cubicBezTo>
                    <a:pt x="387" y="227"/>
                    <a:pt x="387" y="227"/>
                    <a:pt x="387" y="227"/>
                  </a:cubicBezTo>
                  <a:cubicBezTo>
                    <a:pt x="389" y="229"/>
                    <a:pt x="390" y="232"/>
                    <a:pt x="390" y="235"/>
                  </a:cubicBezTo>
                  <a:cubicBezTo>
                    <a:pt x="390" y="237"/>
                    <a:pt x="389" y="240"/>
                    <a:pt x="387" y="242"/>
                  </a:cubicBezTo>
                  <a:cubicBezTo>
                    <a:pt x="385" y="244"/>
                    <a:pt x="382" y="245"/>
                    <a:pt x="379" y="245"/>
                  </a:cubicBezTo>
                  <a:cubicBezTo>
                    <a:pt x="377" y="245"/>
                    <a:pt x="374" y="244"/>
                    <a:pt x="372" y="242"/>
                  </a:cubicBezTo>
                  <a:cubicBezTo>
                    <a:pt x="327" y="197"/>
                    <a:pt x="327" y="197"/>
                    <a:pt x="327" y="197"/>
                  </a:cubicBezTo>
                  <a:cubicBezTo>
                    <a:pt x="324" y="194"/>
                    <a:pt x="319" y="194"/>
                    <a:pt x="316" y="197"/>
                  </a:cubicBezTo>
                  <a:cubicBezTo>
                    <a:pt x="315" y="199"/>
                    <a:pt x="314" y="201"/>
                    <a:pt x="314" y="203"/>
                  </a:cubicBezTo>
                  <a:cubicBezTo>
                    <a:pt x="314" y="205"/>
                    <a:pt x="315" y="207"/>
                    <a:pt x="316" y="209"/>
                  </a:cubicBezTo>
                  <a:cubicBezTo>
                    <a:pt x="353" y="246"/>
                    <a:pt x="353" y="246"/>
                    <a:pt x="353" y="246"/>
                  </a:cubicBezTo>
                  <a:cubicBezTo>
                    <a:pt x="355" y="248"/>
                    <a:pt x="356" y="251"/>
                    <a:pt x="356" y="253"/>
                  </a:cubicBezTo>
                  <a:cubicBezTo>
                    <a:pt x="356" y="256"/>
                    <a:pt x="355" y="259"/>
                    <a:pt x="353" y="261"/>
                  </a:cubicBezTo>
                  <a:cubicBezTo>
                    <a:pt x="351" y="263"/>
                    <a:pt x="348" y="264"/>
                    <a:pt x="346" y="264"/>
                  </a:cubicBezTo>
                  <a:cubicBezTo>
                    <a:pt x="343" y="264"/>
                    <a:pt x="340" y="263"/>
                    <a:pt x="338" y="261"/>
                  </a:cubicBezTo>
                  <a:cubicBezTo>
                    <a:pt x="305" y="227"/>
                    <a:pt x="305" y="227"/>
                    <a:pt x="305" y="227"/>
                  </a:cubicBezTo>
                  <a:cubicBezTo>
                    <a:pt x="301" y="224"/>
                    <a:pt x="296" y="224"/>
                    <a:pt x="293" y="227"/>
                  </a:cubicBezTo>
                  <a:cubicBezTo>
                    <a:pt x="292" y="229"/>
                    <a:pt x="291" y="231"/>
                    <a:pt x="291" y="233"/>
                  </a:cubicBezTo>
                  <a:cubicBezTo>
                    <a:pt x="291" y="235"/>
                    <a:pt x="292" y="237"/>
                    <a:pt x="293" y="238"/>
                  </a:cubicBezTo>
                  <a:cubicBezTo>
                    <a:pt x="313" y="258"/>
                    <a:pt x="313" y="258"/>
                    <a:pt x="313" y="258"/>
                  </a:cubicBezTo>
                  <a:cubicBezTo>
                    <a:pt x="314" y="259"/>
                    <a:pt x="314" y="261"/>
                    <a:pt x="314" y="263"/>
                  </a:cubicBezTo>
                  <a:cubicBezTo>
                    <a:pt x="314" y="266"/>
                    <a:pt x="313" y="269"/>
                    <a:pt x="311" y="271"/>
                  </a:cubicBezTo>
                  <a:cubicBezTo>
                    <a:pt x="309" y="273"/>
                    <a:pt x="306" y="274"/>
                    <a:pt x="304" y="274"/>
                  </a:cubicBezTo>
                  <a:cubicBezTo>
                    <a:pt x="301" y="274"/>
                    <a:pt x="298" y="273"/>
                    <a:pt x="296" y="271"/>
                  </a:cubicBezTo>
                  <a:cubicBezTo>
                    <a:pt x="283" y="258"/>
                    <a:pt x="283" y="258"/>
                    <a:pt x="283" y="258"/>
                  </a:cubicBezTo>
                  <a:cubicBezTo>
                    <a:pt x="283" y="258"/>
                    <a:pt x="280" y="255"/>
                    <a:pt x="274" y="251"/>
                  </a:cubicBezTo>
                  <a:cubicBezTo>
                    <a:pt x="278" y="247"/>
                    <a:pt x="278" y="247"/>
                    <a:pt x="278" y="247"/>
                  </a:cubicBezTo>
                  <a:cubicBezTo>
                    <a:pt x="283" y="242"/>
                    <a:pt x="286" y="235"/>
                    <a:pt x="286" y="228"/>
                  </a:cubicBezTo>
                  <a:cubicBezTo>
                    <a:pt x="286" y="221"/>
                    <a:pt x="283" y="213"/>
                    <a:pt x="278" y="208"/>
                  </a:cubicBezTo>
                  <a:cubicBezTo>
                    <a:pt x="272" y="203"/>
                    <a:pt x="265" y="200"/>
                    <a:pt x="258" y="200"/>
                  </a:cubicBezTo>
                  <a:cubicBezTo>
                    <a:pt x="258" y="200"/>
                    <a:pt x="258" y="200"/>
                    <a:pt x="258" y="200"/>
                  </a:cubicBezTo>
                  <a:cubicBezTo>
                    <a:pt x="258" y="200"/>
                    <a:pt x="258" y="200"/>
                    <a:pt x="258" y="200"/>
                  </a:cubicBezTo>
                  <a:cubicBezTo>
                    <a:pt x="258" y="193"/>
                    <a:pt x="255" y="185"/>
                    <a:pt x="249" y="180"/>
                  </a:cubicBezTo>
                  <a:cubicBezTo>
                    <a:pt x="244" y="175"/>
                    <a:pt x="237" y="172"/>
                    <a:pt x="230" y="172"/>
                  </a:cubicBezTo>
                  <a:cubicBezTo>
                    <a:pt x="226" y="172"/>
                    <a:pt x="223" y="173"/>
                    <a:pt x="219" y="174"/>
                  </a:cubicBezTo>
                  <a:cubicBezTo>
                    <a:pt x="218" y="169"/>
                    <a:pt x="216" y="165"/>
                    <a:pt x="212" y="161"/>
                  </a:cubicBezTo>
                  <a:cubicBezTo>
                    <a:pt x="207" y="156"/>
                    <a:pt x="199" y="153"/>
                    <a:pt x="192" y="153"/>
                  </a:cubicBezTo>
                  <a:cubicBezTo>
                    <a:pt x="185" y="153"/>
                    <a:pt x="178" y="156"/>
                    <a:pt x="173" y="161"/>
                  </a:cubicBezTo>
                  <a:cubicBezTo>
                    <a:pt x="142" y="192"/>
                    <a:pt x="142" y="192"/>
                    <a:pt x="142" y="192"/>
                  </a:cubicBezTo>
                  <a:cubicBezTo>
                    <a:pt x="140" y="188"/>
                    <a:pt x="138" y="185"/>
                    <a:pt x="135" y="182"/>
                  </a:cubicBezTo>
                  <a:cubicBezTo>
                    <a:pt x="130" y="176"/>
                    <a:pt x="123" y="173"/>
                    <a:pt x="116" y="173"/>
                  </a:cubicBezTo>
                  <a:cubicBezTo>
                    <a:pt x="108" y="173"/>
                    <a:pt x="101" y="176"/>
                    <a:pt x="96" y="182"/>
                  </a:cubicBezTo>
                  <a:cubicBezTo>
                    <a:pt x="70" y="208"/>
                    <a:pt x="70" y="208"/>
                    <a:pt x="70" y="208"/>
                  </a:cubicBezTo>
                  <a:cubicBezTo>
                    <a:pt x="65" y="213"/>
                    <a:pt x="62" y="218"/>
                    <a:pt x="62" y="224"/>
                  </a:cubicBezTo>
                  <a:cubicBezTo>
                    <a:pt x="8" y="224"/>
                    <a:pt x="8" y="224"/>
                    <a:pt x="8" y="224"/>
                  </a:cubicBezTo>
                  <a:cubicBezTo>
                    <a:pt x="3" y="224"/>
                    <a:pt x="0" y="228"/>
                    <a:pt x="0" y="232"/>
                  </a:cubicBezTo>
                  <a:cubicBezTo>
                    <a:pt x="0" y="237"/>
                    <a:pt x="3" y="240"/>
                    <a:pt x="8" y="240"/>
                  </a:cubicBezTo>
                  <a:cubicBezTo>
                    <a:pt x="64" y="240"/>
                    <a:pt x="64" y="240"/>
                    <a:pt x="64" y="240"/>
                  </a:cubicBezTo>
                  <a:cubicBezTo>
                    <a:pt x="66" y="243"/>
                    <a:pt x="67" y="245"/>
                    <a:pt x="70" y="247"/>
                  </a:cubicBezTo>
                  <a:cubicBezTo>
                    <a:pt x="75" y="253"/>
                    <a:pt x="82" y="256"/>
                    <a:pt x="89" y="256"/>
                  </a:cubicBezTo>
                  <a:cubicBezTo>
                    <a:pt x="89" y="256"/>
                    <a:pt x="89" y="256"/>
                    <a:pt x="89" y="256"/>
                  </a:cubicBezTo>
                  <a:cubicBezTo>
                    <a:pt x="96" y="256"/>
                    <a:pt x="104" y="253"/>
                    <a:pt x="109" y="247"/>
                  </a:cubicBezTo>
                  <a:cubicBezTo>
                    <a:pt x="109" y="247"/>
                    <a:pt x="109" y="247"/>
                    <a:pt x="109" y="247"/>
                  </a:cubicBezTo>
                  <a:cubicBezTo>
                    <a:pt x="111" y="246"/>
                    <a:pt x="111" y="246"/>
                    <a:pt x="111" y="246"/>
                  </a:cubicBezTo>
                  <a:cubicBezTo>
                    <a:pt x="112" y="249"/>
                    <a:pt x="114" y="253"/>
                    <a:pt x="117" y="256"/>
                  </a:cubicBezTo>
                  <a:cubicBezTo>
                    <a:pt x="123" y="261"/>
                    <a:pt x="130" y="264"/>
                    <a:pt x="137" y="264"/>
                  </a:cubicBezTo>
                  <a:cubicBezTo>
                    <a:pt x="137" y="264"/>
                    <a:pt x="137" y="264"/>
                    <a:pt x="137" y="264"/>
                  </a:cubicBezTo>
                  <a:cubicBezTo>
                    <a:pt x="144" y="264"/>
                    <a:pt x="151" y="261"/>
                    <a:pt x="157" y="256"/>
                  </a:cubicBezTo>
                  <a:cubicBezTo>
                    <a:pt x="159" y="254"/>
                    <a:pt x="159" y="254"/>
                    <a:pt x="159" y="254"/>
                  </a:cubicBezTo>
                  <a:cubicBezTo>
                    <a:pt x="160" y="257"/>
                    <a:pt x="162" y="261"/>
                    <a:pt x="165" y="264"/>
                  </a:cubicBezTo>
                  <a:cubicBezTo>
                    <a:pt x="171" y="269"/>
                    <a:pt x="178" y="272"/>
                    <a:pt x="185" y="272"/>
                  </a:cubicBezTo>
                  <a:cubicBezTo>
                    <a:pt x="185" y="272"/>
                    <a:pt x="185" y="272"/>
                    <a:pt x="185" y="272"/>
                  </a:cubicBezTo>
                  <a:cubicBezTo>
                    <a:pt x="192" y="272"/>
                    <a:pt x="199" y="269"/>
                    <a:pt x="205" y="264"/>
                  </a:cubicBezTo>
                  <a:cubicBezTo>
                    <a:pt x="205" y="264"/>
                    <a:pt x="205" y="264"/>
                    <a:pt x="205" y="264"/>
                  </a:cubicBezTo>
                  <a:cubicBezTo>
                    <a:pt x="205" y="263"/>
                    <a:pt x="205" y="263"/>
                    <a:pt x="205" y="263"/>
                  </a:cubicBezTo>
                  <a:cubicBezTo>
                    <a:pt x="207" y="267"/>
                    <a:pt x="209" y="271"/>
                    <a:pt x="212" y="274"/>
                  </a:cubicBezTo>
                  <a:cubicBezTo>
                    <a:pt x="217" y="279"/>
                    <a:pt x="224" y="282"/>
                    <a:pt x="232" y="282"/>
                  </a:cubicBezTo>
                  <a:cubicBezTo>
                    <a:pt x="232" y="282"/>
                    <a:pt x="232" y="282"/>
                    <a:pt x="232" y="282"/>
                  </a:cubicBezTo>
                  <a:cubicBezTo>
                    <a:pt x="239" y="282"/>
                    <a:pt x="246" y="279"/>
                    <a:pt x="251" y="274"/>
                  </a:cubicBezTo>
                  <a:cubicBezTo>
                    <a:pt x="251" y="274"/>
                    <a:pt x="251" y="274"/>
                    <a:pt x="251" y="274"/>
                  </a:cubicBezTo>
                  <a:cubicBezTo>
                    <a:pt x="263" y="262"/>
                    <a:pt x="263" y="262"/>
                    <a:pt x="263" y="262"/>
                  </a:cubicBezTo>
                  <a:cubicBezTo>
                    <a:pt x="266" y="264"/>
                    <a:pt x="268" y="266"/>
                    <a:pt x="269" y="267"/>
                  </a:cubicBezTo>
                  <a:cubicBezTo>
                    <a:pt x="271" y="269"/>
                    <a:pt x="272" y="270"/>
                    <a:pt x="272" y="270"/>
                  </a:cubicBezTo>
                  <a:cubicBezTo>
                    <a:pt x="285" y="282"/>
                    <a:pt x="285" y="282"/>
                    <a:pt x="285" y="282"/>
                  </a:cubicBezTo>
                  <a:cubicBezTo>
                    <a:pt x="290" y="287"/>
                    <a:pt x="297" y="290"/>
                    <a:pt x="304" y="290"/>
                  </a:cubicBezTo>
                  <a:cubicBezTo>
                    <a:pt x="304" y="290"/>
                    <a:pt x="304" y="290"/>
                    <a:pt x="304" y="290"/>
                  </a:cubicBezTo>
                  <a:cubicBezTo>
                    <a:pt x="310" y="290"/>
                    <a:pt x="317" y="287"/>
                    <a:pt x="322" y="282"/>
                  </a:cubicBezTo>
                  <a:cubicBezTo>
                    <a:pt x="325" y="280"/>
                    <a:pt x="327" y="277"/>
                    <a:pt x="328" y="273"/>
                  </a:cubicBezTo>
                  <a:cubicBezTo>
                    <a:pt x="333" y="278"/>
                    <a:pt x="340" y="280"/>
                    <a:pt x="346" y="280"/>
                  </a:cubicBezTo>
                  <a:cubicBezTo>
                    <a:pt x="353" y="280"/>
                    <a:pt x="359" y="277"/>
                    <a:pt x="365" y="272"/>
                  </a:cubicBezTo>
                  <a:cubicBezTo>
                    <a:pt x="368" y="269"/>
                    <a:pt x="370" y="264"/>
                    <a:pt x="371" y="260"/>
                  </a:cubicBezTo>
                  <a:cubicBezTo>
                    <a:pt x="374" y="261"/>
                    <a:pt x="377" y="261"/>
                    <a:pt x="379" y="261"/>
                  </a:cubicBezTo>
                  <a:cubicBezTo>
                    <a:pt x="386" y="261"/>
                    <a:pt x="393" y="258"/>
                    <a:pt x="398" y="253"/>
                  </a:cubicBezTo>
                  <a:cubicBezTo>
                    <a:pt x="402" y="249"/>
                    <a:pt x="405" y="244"/>
                    <a:pt x="406" y="239"/>
                  </a:cubicBezTo>
                  <a:cubicBezTo>
                    <a:pt x="407" y="239"/>
                    <a:pt x="408" y="239"/>
                    <a:pt x="410" y="239"/>
                  </a:cubicBezTo>
                  <a:cubicBezTo>
                    <a:pt x="416" y="239"/>
                    <a:pt x="423" y="236"/>
                    <a:pt x="428" y="231"/>
                  </a:cubicBezTo>
                  <a:cubicBezTo>
                    <a:pt x="434" y="226"/>
                    <a:pt x="436" y="219"/>
                    <a:pt x="436" y="212"/>
                  </a:cubicBezTo>
                  <a:cubicBezTo>
                    <a:pt x="436" y="210"/>
                    <a:pt x="436" y="208"/>
                    <a:pt x="435" y="205"/>
                  </a:cubicBezTo>
                  <a:cubicBezTo>
                    <a:pt x="478" y="205"/>
                    <a:pt x="478" y="205"/>
                    <a:pt x="478" y="205"/>
                  </a:cubicBezTo>
                  <a:cubicBezTo>
                    <a:pt x="483" y="205"/>
                    <a:pt x="486" y="202"/>
                    <a:pt x="486" y="197"/>
                  </a:cubicBezTo>
                  <a:cubicBezTo>
                    <a:pt x="486" y="193"/>
                    <a:pt x="483" y="189"/>
                    <a:pt x="478" y="189"/>
                  </a:cubicBezTo>
                  <a:close/>
                  <a:moveTo>
                    <a:pt x="98" y="236"/>
                  </a:moveTo>
                  <a:cubicBezTo>
                    <a:pt x="98" y="236"/>
                    <a:pt x="98" y="236"/>
                    <a:pt x="98" y="236"/>
                  </a:cubicBezTo>
                  <a:cubicBezTo>
                    <a:pt x="95" y="238"/>
                    <a:pt x="92" y="240"/>
                    <a:pt x="89" y="240"/>
                  </a:cubicBezTo>
                  <a:cubicBezTo>
                    <a:pt x="86" y="240"/>
                    <a:pt x="83" y="238"/>
                    <a:pt x="81" y="236"/>
                  </a:cubicBezTo>
                  <a:cubicBezTo>
                    <a:pt x="78" y="234"/>
                    <a:pt x="77" y="231"/>
                    <a:pt x="77" y="228"/>
                  </a:cubicBezTo>
                  <a:cubicBezTo>
                    <a:pt x="77" y="225"/>
                    <a:pt x="78" y="222"/>
                    <a:pt x="81" y="219"/>
                  </a:cubicBezTo>
                  <a:cubicBezTo>
                    <a:pt x="107" y="193"/>
                    <a:pt x="107" y="193"/>
                    <a:pt x="107" y="193"/>
                  </a:cubicBezTo>
                  <a:cubicBezTo>
                    <a:pt x="109" y="191"/>
                    <a:pt x="112" y="189"/>
                    <a:pt x="116" y="189"/>
                  </a:cubicBezTo>
                  <a:cubicBezTo>
                    <a:pt x="119" y="189"/>
                    <a:pt x="122" y="191"/>
                    <a:pt x="124" y="193"/>
                  </a:cubicBezTo>
                  <a:cubicBezTo>
                    <a:pt x="126" y="195"/>
                    <a:pt x="127" y="198"/>
                    <a:pt x="127" y="201"/>
                  </a:cubicBezTo>
                  <a:cubicBezTo>
                    <a:pt x="127" y="204"/>
                    <a:pt x="126" y="207"/>
                    <a:pt x="124" y="210"/>
                  </a:cubicBezTo>
                  <a:lnTo>
                    <a:pt x="98" y="236"/>
                  </a:lnTo>
                  <a:close/>
                  <a:moveTo>
                    <a:pt x="165" y="225"/>
                  </a:moveTo>
                  <a:cubicBezTo>
                    <a:pt x="145" y="245"/>
                    <a:pt x="145" y="245"/>
                    <a:pt x="145" y="245"/>
                  </a:cubicBezTo>
                  <a:cubicBezTo>
                    <a:pt x="143" y="247"/>
                    <a:pt x="140" y="248"/>
                    <a:pt x="137" y="248"/>
                  </a:cubicBezTo>
                  <a:cubicBezTo>
                    <a:pt x="134" y="248"/>
                    <a:pt x="131" y="247"/>
                    <a:pt x="129" y="245"/>
                  </a:cubicBezTo>
                  <a:cubicBezTo>
                    <a:pt x="126" y="242"/>
                    <a:pt x="125" y="239"/>
                    <a:pt x="125" y="236"/>
                  </a:cubicBezTo>
                  <a:cubicBezTo>
                    <a:pt x="125" y="233"/>
                    <a:pt x="126" y="230"/>
                    <a:pt x="129" y="228"/>
                  </a:cubicBezTo>
                  <a:cubicBezTo>
                    <a:pt x="184" y="172"/>
                    <a:pt x="184" y="172"/>
                    <a:pt x="184" y="172"/>
                  </a:cubicBezTo>
                  <a:cubicBezTo>
                    <a:pt x="186" y="170"/>
                    <a:pt x="189" y="169"/>
                    <a:pt x="192" y="169"/>
                  </a:cubicBezTo>
                  <a:cubicBezTo>
                    <a:pt x="195" y="169"/>
                    <a:pt x="198" y="170"/>
                    <a:pt x="201" y="172"/>
                  </a:cubicBezTo>
                  <a:cubicBezTo>
                    <a:pt x="203" y="175"/>
                    <a:pt x="204" y="178"/>
                    <a:pt x="204" y="181"/>
                  </a:cubicBezTo>
                  <a:cubicBezTo>
                    <a:pt x="204" y="184"/>
                    <a:pt x="203" y="187"/>
                    <a:pt x="201" y="189"/>
                  </a:cubicBezTo>
                  <a:cubicBezTo>
                    <a:pt x="165" y="224"/>
                    <a:pt x="165" y="224"/>
                    <a:pt x="165" y="224"/>
                  </a:cubicBezTo>
                  <a:cubicBezTo>
                    <a:pt x="165" y="224"/>
                    <a:pt x="165" y="225"/>
                    <a:pt x="165" y="225"/>
                  </a:cubicBezTo>
                  <a:close/>
                  <a:moveTo>
                    <a:pt x="212" y="234"/>
                  </a:moveTo>
                  <a:cubicBezTo>
                    <a:pt x="194" y="253"/>
                    <a:pt x="194" y="253"/>
                    <a:pt x="194" y="253"/>
                  </a:cubicBezTo>
                  <a:cubicBezTo>
                    <a:pt x="194" y="253"/>
                    <a:pt x="194" y="253"/>
                    <a:pt x="194" y="253"/>
                  </a:cubicBezTo>
                  <a:cubicBezTo>
                    <a:pt x="191" y="255"/>
                    <a:pt x="188" y="256"/>
                    <a:pt x="185" y="256"/>
                  </a:cubicBezTo>
                  <a:cubicBezTo>
                    <a:pt x="182" y="256"/>
                    <a:pt x="179" y="255"/>
                    <a:pt x="177" y="253"/>
                  </a:cubicBezTo>
                  <a:cubicBezTo>
                    <a:pt x="174" y="250"/>
                    <a:pt x="173" y="247"/>
                    <a:pt x="173" y="244"/>
                  </a:cubicBezTo>
                  <a:cubicBezTo>
                    <a:pt x="173" y="241"/>
                    <a:pt x="174" y="238"/>
                    <a:pt x="177" y="236"/>
                  </a:cubicBezTo>
                  <a:cubicBezTo>
                    <a:pt x="212" y="201"/>
                    <a:pt x="212" y="201"/>
                    <a:pt x="212" y="201"/>
                  </a:cubicBezTo>
                  <a:cubicBezTo>
                    <a:pt x="212" y="200"/>
                    <a:pt x="212" y="200"/>
                    <a:pt x="212" y="200"/>
                  </a:cubicBezTo>
                  <a:cubicBezTo>
                    <a:pt x="221" y="191"/>
                    <a:pt x="221" y="191"/>
                    <a:pt x="221" y="191"/>
                  </a:cubicBezTo>
                  <a:cubicBezTo>
                    <a:pt x="224" y="189"/>
                    <a:pt x="227" y="188"/>
                    <a:pt x="230" y="188"/>
                  </a:cubicBezTo>
                  <a:cubicBezTo>
                    <a:pt x="233" y="188"/>
                    <a:pt x="236" y="189"/>
                    <a:pt x="238" y="191"/>
                  </a:cubicBezTo>
                  <a:cubicBezTo>
                    <a:pt x="240" y="194"/>
                    <a:pt x="242" y="197"/>
                    <a:pt x="242" y="200"/>
                  </a:cubicBezTo>
                  <a:cubicBezTo>
                    <a:pt x="242" y="203"/>
                    <a:pt x="240" y="206"/>
                    <a:pt x="238" y="208"/>
                  </a:cubicBezTo>
                  <a:cubicBezTo>
                    <a:pt x="212" y="234"/>
                    <a:pt x="212" y="234"/>
                    <a:pt x="212" y="234"/>
                  </a:cubicBezTo>
                  <a:cubicBezTo>
                    <a:pt x="212" y="234"/>
                    <a:pt x="212" y="234"/>
                    <a:pt x="212" y="234"/>
                  </a:cubicBezTo>
                  <a:close/>
                  <a:moveTo>
                    <a:pt x="266" y="236"/>
                  </a:moveTo>
                  <a:cubicBezTo>
                    <a:pt x="240" y="262"/>
                    <a:pt x="240" y="262"/>
                    <a:pt x="240" y="262"/>
                  </a:cubicBezTo>
                  <a:cubicBezTo>
                    <a:pt x="238" y="265"/>
                    <a:pt x="235" y="266"/>
                    <a:pt x="232" y="266"/>
                  </a:cubicBezTo>
                  <a:cubicBezTo>
                    <a:pt x="229" y="266"/>
                    <a:pt x="226" y="265"/>
                    <a:pt x="223" y="262"/>
                  </a:cubicBezTo>
                  <a:cubicBezTo>
                    <a:pt x="221" y="260"/>
                    <a:pt x="220" y="257"/>
                    <a:pt x="220" y="254"/>
                  </a:cubicBezTo>
                  <a:cubicBezTo>
                    <a:pt x="220" y="251"/>
                    <a:pt x="221" y="248"/>
                    <a:pt x="223" y="246"/>
                  </a:cubicBezTo>
                  <a:cubicBezTo>
                    <a:pt x="249" y="219"/>
                    <a:pt x="249" y="219"/>
                    <a:pt x="249" y="219"/>
                  </a:cubicBezTo>
                  <a:cubicBezTo>
                    <a:pt x="249" y="219"/>
                    <a:pt x="249" y="219"/>
                    <a:pt x="249" y="219"/>
                  </a:cubicBezTo>
                  <a:cubicBezTo>
                    <a:pt x="250" y="219"/>
                    <a:pt x="250" y="219"/>
                    <a:pt x="250" y="219"/>
                  </a:cubicBezTo>
                  <a:cubicBezTo>
                    <a:pt x="252" y="217"/>
                    <a:pt x="255" y="216"/>
                    <a:pt x="258" y="216"/>
                  </a:cubicBezTo>
                  <a:cubicBezTo>
                    <a:pt x="261" y="216"/>
                    <a:pt x="264" y="217"/>
                    <a:pt x="266" y="219"/>
                  </a:cubicBezTo>
                  <a:cubicBezTo>
                    <a:pt x="269" y="222"/>
                    <a:pt x="270" y="225"/>
                    <a:pt x="270" y="228"/>
                  </a:cubicBezTo>
                  <a:cubicBezTo>
                    <a:pt x="270" y="231"/>
                    <a:pt x="269" y="234"/>
                    <a:pt x="266" y="2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3">
              <a:extLst>
                <a:ext uri="{FF2B5EF4-FFF2-40B4-BE49-F238E27FC236}">
                  <a16:creationId xmlns:a16="http://schemas.microsoft.com/office/drawing/2014/main" id="{638F9BF2-EF25-45F5-97BB-8F2C8DB75621}"/>
                </a:ext>
              </a:extLst>
            </p:cNvPr>
            <p:cNvSpPr>
              <a:spLocks noChangeAspect="1" noEditPoints="1"/>
            </p:cNvSpPr>
            <p:nvPr/>
          </p:nvSpPr>
          <p:spPr bwMode="auto">
            <a:xfrm>
              <a:off x="9795446" y="4868652"/>
              <a:ext cx="399946" cy="463422"/>
            </a:xfrm>
            <a:custGeom>
              <a:avLst/>
              <a:gdLst>
                <a:gd name="T0" fmla="*/ 2147483647 w 355"/>
                <a:gd name="T1" fmla="*/ 2147483647 h 411"/>
                <a:gd name="T2" fmla="*/ 2147483647 w 355"/>
                <a:gd name="T3" fmla="*/ 2147483647 h 411"/>
                <a:gd name="T4" fmla="*/ 2147483647 w 355"/>
                <a:gd name="T5" fmla="*/ 2147483647 h 411"/>
                <a:gd name="T6" fmla="*/ 2147483647 w 355"/>
                <a:gd name="T7" fmla="*/ 2147483647 h 411"/>
                <a:gd name="T8" fmla="*/ 2147483647 w 355"/>
                <a:gd name="T9" fmla="*/ 2147483647 h 411"/>
                <a:gd name="T10" fmla="*/ 2147483647 w 355"/>
                <a:gd name="T11" fmla="*/ 2147483647 h 411"/>
                <a:gd name="T12" fmla="*/ 2147483647 w 355"/>
                <a:gd name="T13" fmla="*/ 2147483647 h 411"/>
                <a:gd name="T14" fmla="*/ 2147483647 w 355"/>
                <a:gd name="T15" fmla="*/ 2147483647 h 411"/>
                <a:gd name="T16" fmla="*/ 2147483647 w 355"/>
                <a:gd name="T17" fmla="*/ 2147483647 h 411"/>
                <a:gd name="T18" fmla="*/ 2147483647 w 355"/>
                <a:gd name="T19" fmla="*/ 2147483647 h 411"/>
                <a:gd name="T20" fmla="*/ 2147483647 w 355"/>
                <a:gd name="T21" fmla="*/ 2147483647 h 411"/>
                <a:gd name="T22" fmla="*/ 2147483647 w 355"/>
                <a:gd name="T23" fmla="*/ 2147483647 h 411"/>
                <a:gd name="T24" fmla="*/ 2147483647 w 355"/>
                <a:gd name="T25" fmla="*/ 2147483647 h 411"/>
                <a:gd name="T26" fmla="*/ 2147483647 w 355"/>
                <a:gd name="T27" fmla="*/ 2147483647 h 411"/>
                <a:gd name="T28" fmla="*/ 2147483647 w 355"/>
                <a:gd name="T29" fmla="*/ 2147483647 h 411"/>
                <a:gd name="T30" fmla="*/ 2147483647 w 355"/>
                <a:gd name="T31" fmla="*/ 2147483647 h 411"/>
                <a:gd name="T32" fmla="*/ 2147483647 w 355"/>
                <a:gd name="T33" fmla="*/ 2147483647 h 411"/>
                <a:gd name="T34" fmla="*/ 2147483647 w 355"/>
                <a:gd name="T35" fmla="*/ 2147483647 h 411"/>
                <a:gd name="T36" fmla="*/ 2147483647 w 355"/>
                <a:gd name="T37" fmla="*/ 2147483647 h 411"/>
                <a:gd name="T38" fmla="*/ 2147483647 w 355"/>
                <a:gd name="T39" fmla="*/ 2147483647 h 411"/>
                <a:gd name="T40" fmla="*/ 2147483647 w 355"/>
                <a:gd name="T41" fmla="*/ 2147483647 h 411"/>
                <a:gd name="T42" fmla="*/ 2147483647 w 355"/>
                <a:gd name="T43" fmla="*/ 2147483647 h 411"/>
                <a:gd name="T44" fmla="*/ 2147483647 w 355"/>
                <a:gd name="T45" fmla="*/ 2147483647 h 411"/>
                <a:gd name="T46" fmla="*/ 2147483647 w 355"/>
                <a:gd name="T47" fmla="*/ 2147483647 h 411"/>
                <a:gd name="T48" fmla="*/ 2147483647 w 355"/>
                <a:gd name="T49" fmla="*/ 2147483647 h 411"/>
                <a:gd name="T50" fmla="*/ 2147483647 w 355"/>
                <a:gd name="T51" fmla="*/ 2147483647 h 411"/>
                <a:gd name="T52" fmla="*/ 2147483647 w 355"/>
                <a:gd name="T53" fmla="*/ 2147483647 h 411"/>
                <a:gd name="T54" fmla="*/ 2147483647 w 355"/>
                <a:gd name="T55" fmla="*/ 2147483647 h 411"/>
                <a:gd name="T56" fmla="*/ 2147483647 w 355"/>
                <a:gd name="T57" fmla="*/ 2147483647 h 411"/>
                <a:gd name="T58" fmla="*/ 2147483647 w 355"/>
                <a:gd name="T59" fmla="*/ 2147483647 h 411"/>
                <a:gd name="T60" fmla="*/ 2147483647 w 355"/>
                <a:gd name="T61" fmla="*/ 2147483647 h 411"/>
                <a:gd name="T62" fmla="*/ 2147483647 w 355"/>
                <a:gd name="T63" fmla="*/ 2147483647 h 411"/>
                <a:gd name="T64" fmla="*/ 2147483647 w 355"/>
                <a:gd name="T65" fmla="*/ 2147483647 h 411"/>
                <a:gd name="T66" fmla="*/ 2147483647 w 355"/>
                <a:gd name="T67" fmla="*/ 2147483647 h 411"/>
                <a:gd name="T68" fmla="*/ 2147483647 w 355"/>
                <a:gd name="T69" fmla="*/ 2147483647 h 411"/>
                <a:gd name="T70" fmla="*/ 2147483647 w 355"/>
                <a:gd name="T71" fmla="*/ 2147483647 h 411"/>
                <a:gd name="T72" fmla="*/ 2147483647 w 355"/>
                <a:gd name="T73" fmla="*/ 2147483647 h 411"/>
                <a:gd name="T74" fmla="*/ 2147483647 w 355"/>
                <a:gd name="T75" fmla="*/ 2147483647 h 411"/>
                <a:gd name="T76" fmla="*/ 2147483647 w 355"/>
                <a:gd name="T77" fmla="*/ 2147483647 h 411"/>
                <a:gd name="T78" fmla="*/ 2147483647 w 355"/>
                <a:gd name="T79" fmla="*/ 2147483647 h 411"/>
                <a:gd name="T80" fmla="*/ 2147483647 w 355"/>
                <a:gd name="T81" fmla="*/ 2147483647 h 411"/>
                <a:gd name="T82" fmla="*/ 2147483647 w 355"/>
                <a:gd name="T83" fmla="*/ 2147483647 h 411"/>
                <a:gd name="T84" fmla="*/ 2147483647 w 355"/>
                <a:gd name="T85" fmla="*/ 2147483647 h 411"/>
                <a:gd name="T86" fmla="*/ 2147483647 w 355"/>
                <a:gd name="T87" fmla="*/ 2147483647 h 411"/>
                <a:gd name="T88" fmla="*/ 2147483647 w 355"/>
                <a:gd name="T89" fmla="*/ 2147483647 h 411"/>
                <a:gd name="T90" fmla="*/ 2147483647 w 355"/>
                <a:gd name="T91" fmla="*/ 2147483647 h 411"/>
                <a:gd name="T92" fmla="*/ 2147483647 w 355"/>
                <a:gd name="T93" fmla="*/ 2147483647 h 411"/>
                <a:gd name="T94" fmla="*/ 2147483647 w 355"/>
                <a:gd name="T95" fmla="*/ 2147483647 h 411"/>
                <a:gd name="T96" fmla="*/ 2147483647 w 355"/>
                <a:gd name="T97" fmla="*/ 2147483647 h 411"/>
                <a:gd name="T98" fmla="*/ 2147483647 w 355"/>
                <a:gd name="T99" fmla="*/ 2147483647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r>
                <a:rPr lang="en-US" dirty="0"/>
                <a:t>  </a:t>
              </a:r>
            </a:p>
          </p:txBody>
        </p:sp>
        <p:sp>
          <p:nvSpPr>
            <p:cNvPr id="23" name="Freeform 3">
              <a:extLst>
                <a:ext uri="{FF2B5EF4-FFF2-40B4-BE49-F238E27FC236}">
                  <a16:creationId xmlns:a16="http://schemas.microsoft.com/office/drawing/2014/main" id="{DBCD9E93-27F7-4F14-AD53-BC20FBF16657}"/>
                </a:ext>
              </a:extLst>
            </p:cNvPr>
            <p:cNvSpPr>
              <a:spLocks noChangeAspect="1"/>
            </p:cNvSpPr>
            <p:nvPr/>
          </p:nvSpPr>
          <p:spPr bwMode="auto">
            <a:xfrm>
              <a:off x="10538452" y="4458854"/>
              <a:ext cx="411480" cy="411480"/>
            </a:xfrm>
            <a:custGeom>
              <a:avLst/>
              <a:gdLst>
                <a:gd name="T0" fmla="*/ 2147483647 w 349"/>
                <a:gd name="T1" fmla="*/ 2147483647 h 349"/>
                <a:gd name="T2" fmla="*/ 2147483647 w 349"/>
                <a:gd name="T3" fmla="*/ 2147483647 h 349"/>
                <a:gd name="T4" fmla="*/ 2147483647 w 349"/>
                <a:gd name="T5" fmla="*/ 2147483647 h 349"/>
                <a:gd name="T6" fmla="*/ 2147483647 w 349"/>
                <a:gd name="T7" fmla="*/ 2147483647 h 349"/>
                <a:gd name="T8" fmla="*/ 2147483647 w 349"/>
                <a:gd name="T9" fmla="*/ 2147483647 h 349"/>
                <a:gd name="T10" fmla="*/ 2147483647 w 349"/>
                <a:gd name="T11" fmla="*/ 2147483647 h 349"/>
                <a:gd name="T12" fmla="*/ 2147483647 w 349"/>
                <a:gd name="T13" fmla="*/ 2147483647 h 349"/>
                <a:gd name="T14" fmla="*/ 2147483647 w 349"/>
                <a:gd name="T15" fmla="*/ 2147483647 h 349"/>
                <a:gd name="T16" fmla="*/ 2147483647 w 349"/>
                <a:gd name="T17" fmla="*/ 2147483647 h 349"/>
                <a:gd name="T18" fmla="*/ 2147483647 w 349"/>
                <a:gd name="T19" fmla="*/ 2147483647 h 349"/>
                <a:gd name="T20" fmla="*/ 2147483647 w 349"/>
                <a:gd name="T21" fmla="*/ 2147483647 h 349"/>
                <a:gd name="T22" fmla="*/ 2147483647 w 349"/>
                <a:gd name="T23" fmla="*/ 2147483647 h 349"/>
                <a:gd name="T24" fmla="*/ 2147483647 w 349"/>
                <a:gd name="T25" fmla="*/ 2147483647 h 349"/>
                <a:gd name="T26" fmla="*/ 2147483647 w 349"/>
                <a:gd name="T27" fmla="*/ 2147483647 h 349"/>
                <a:gd name="T28" fmla="*/ 2147483647 w 349"/>
                <a:gd name="T29" fmla="*/ 2147483647 h 349"/>
                <a:gd name="T30" fmla="*/ 2147483647 w 349"/>
                <a:gd name="T31" fmla="*/ 2147483647 h 349"/>
                <a:gd name="T32" fmla="*/ 2147483647 w 349"/>
                <a:gd name="T33" fmla="*/ 2147483647 h 349"/>
                <a:gd name="T34" fmla="*/ 2147483647 w 349"/>
                <a:gd name="T35" fmla="*/ 2147483647 h 349"/>
                <a:gd name="T36" fmla="*/ 2147483647 w 349"/>
                <a:gd name="T37" fmla="*/ 2147483647 h 349"/>
                <a:gd name="T38" fmla="*/ 2147483647 w 349"/>
                <a:gd name="T39" fmla="*/ 2147483647 h 349"/>
                <a:gd name="T40" fmla="*/ 2147483647 w 349"/>
                <a:gd name="T41" fmla="*/ 2147483647 h 349"/>
                <a:gd name="T42" fmla="*/ 2147483647 w 349"/>
                <a:gd name="T43" fmla="*/ 2147483647 h 349"/>
                <a:gd name="T44" fmla="*/ 2147483647 w 349"/>
                <a:gd name="T45" fmla="*/ 2147483647 h 349"/>
                <a:gd name="T46" fmla="*/ 2147483647 w 349"/>
                <a:gd name="T47" fmla="*/ 2147483647 h 349"/>
                <a:gd name="T48" fmla="*/ 2147483647 w 349"/>
                <a:gd name="T49" fmla="*/ 2147483647 h 349"/>
                <a:gd name="T50" fmla="*/ 2147483647 w 349"/>
                <a:gd name="T51" fmla="*/ 2147483647 h 349"/>
                <a:gd name="T52" fmla="*/ 2147483647 w 349"/>
                <a:gd name="T53" fmla="*/ 2147483647 h 349"/>
                <a:gd name="T54" fmla="*/ 2147483647 w 349"/>
                <a:gd name="T55" fmla="*/ 2147483647 h 349"/>
                <a:gd name="T56" fmla="*/ 2147483647 w 349"/>
                <a:gd name="T57" fmla="*/ 2147483647 h 349"/>
                <a:gd name="T58" fmla="*/ 2147483647 w 349"/>
                <a:gd name="T59" fmla="*/ 2147483647 h 349"/>
                <a:gd name="T60" fmla="*/ 2147483647 w 349"/>
                <a:gd name="T61" fmla="*/ 2147483647 h 349"/>
                <a:gd name="T62" fmla="*/ 2147483647 w 349"/>
                <a:gd name="T63" fmla="*/ 2147483647 h 349"/>
                <a:gd name="T64" fmla="*/ 2147483647 w 349"/>
                <a:gd name="T65" fmla="*/ 2147483647 h 349"/>
                <a:gd name="T66" fmla="*/ 2147483647 w 349"/>
                <a:gd name="T67" fmla="*/ 2147483647 h 349"/>
                <a:gd name="T68" fmla="*/ 2147483647 w 349"/>
                <a:gd name="T69" fmla="*/ 2147483647 h 349"/>
                <a:gd name="T70" fmla="*/ 2147483647 w 349"/>
                <a:gd name="T71" fmla="*/ 2147483647 h 349"/>
                <a:gd name="T72" fmla="*/ 2147483647 w 349"/>
                <a:gd name="T73" fmla="*/ 2147483647 h 349"/>
                <a:gd name="T74" fmla="*/ 2147483647 w 349"/>
                <a:gd name="T75" fmla="*/ 2147483647 h 349"/>
                <a:gd name="T76" fmla="*/ 2147483647 w 349"/>
                <a:gd name="T77" fmla="*/ 0 h 349"/>
                <a:gd name="T78" fmla="*/ 2147483647 w 349"/>
                <a:gd name="T79" fmla="*/ 2147483647 h 349"/>
                <a:gd name="T80" fmla="*/ 2147483647 w 349"/>
                <a:gd name="T81" fmla="*/ 2147483647 h 349"/>
                <a:gd name="T82" fmla="*/ 2147483647 w 349"/>
                <a:gd name="T83" fmla="*/ 2147483647 h 349"/>
                <a:gd name="T84" fmla="*/ 2147483647 w 349"/>
                <a:gd name="T85" fmla="*/ 2147483647 h 349"/>
                <a:gd name="T86" fmla="*/ 2147483647 w 349"/>
                <a:gd name="T87" fmla="*/ 2147483647 h 349"/>
                <a:gd name="T88" fmla="*/ 0 w 349"/>
                <a:gd name="T89" fmla="*/ 2147483647 h 349"/>
                <a:gd name="T90" fmla="*/ 2147483647 w 349"/>
                <a:gd name="T91" fmla="*/ 2147483647 h 349"/>
                <a:gd name="T92" fmla="*/ 2147483647 w 349"/>
                <a:gd name="T93" fmla="*/ 2147483647 h 349"/>
                <a:gd name="T94" fmla="*/ 2147483647 w 349"/>
                <a:gd name="T95" fmla="*/ 2147483647 h 349"/>
                <a:gd name="T96" fmla="*/ 2147483647 w 349"/>
                <a:gd name="T97" fmla="*/ 2147483647 h 349"/>
                <a:gd name="T98" fmla="*/ 0 w 349"/>
                <a:gd name="T99" fmla="*/ 2147483647 h 349"/>
                <a:gd name="T100" fmla="*/ 2147483647 w 349"/>
                <a:gd name="T101" fmla="*/ 2147483647 h 349"/>
                <a:gd name="T102" fmla="*/ 2147483647 w 349"/>
                <a:gd name="T103" fmla="*/ 2147483647 h 349"/>
                <a:gd name="T104" fmla="*/ 2147483647 w 349"/>
                <a:gd name="T105" fmla="*/ 2147483647 h 349"/>
                <a:gd name="T106" fmla="*/ 2147483647 w 349"/>
                <a:gd name="T107" fmla="*/ 2147483647 h 349"/>
                <a:gd name="T108" fmla="*/ 2147483647 w 349"/>
                <a:gd name="T109" fmla="*/ 2147483647 h 349"/>
                <a:gd name="T110" fmla="*/ 2147483647 w 349"/>
                <a:gd name="T111" fmla="*/ 2147483647 h 349"/>
                <a:gd name="T112" fmla="*/ 2147483647 w 349"/>
                <a:gd name="T113" fmla="*/ 2147483647 h 3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49" h="349">
                  <a:moveTo>
                    <a:pt x="348" y="327"/>
                  </a:moveTo>
                  <a:cubicBezTo>
                    <a:pt x="340" y="328"/>
                    <a:pt x="340" y="328"/>
                    <a:pt x="340" y="328"/>
                  </a:cubicBezTo>
                  <a:cubicBezTo>
                    <a:pt x="348" y="327"/>
                    <a:pt x="348" y="327"/>
                    <a:pt x="348" y="327"/>
                  </a:cubicBezTo>
                  <a:cubicBezTo>
                    <a:pt x="348" y="319"/>
                    <a:pt x="340" y="257"/>
                    <a:pt x="340" y="254"/>
                  </a:cubicBezTo>
                  <a:cubicBezTo>
                    <a:pt x="340" y="250"/>
                    <a:pt x="338" y="247"/>
                    <a:pt x="336" y="243"/>
                  </a:cubicBezTo>
                  <a:cubicBezTo>
                    <a:pt x="334" y="240"/>
                    <a:pt x="329" y="238"/>
                    <a:pt x="325" y="238"/>
                  </a:cubicBezTo>
                  <a:cubicBezTo>
                    <a:pt x="320" y="238"/>
                    <a:pt x="315" y="241"/>
                    <a:pt x="311" y="244"/>
                  </a:cubicBezTo>
                  <a:cubicBezTo>
                    <a:pt x="311" y="245"/>
                    <a:pt x="311" y="245"/>
                    <a:pt x="311" y="245"/>
                  </a:cubicBezTo>
                  <a:cubicBezTo>
                    <a:pt x="298" y="233"/>
                    <a:pt x="298" y="233"/>
                    <a:pt x="298" y="233"/>
                  </a:cubicBezTo>
                  <a:cubicBezTo>
                    <a:pt x="306" y="215"/>
                    <a:pt x="311" y="196"/>
                    <a:pt x="311" y="175"/>
                  </a:cubicBezTo>
                  <a:cubicBezTo>
                    <a:pt x="311" y="154"/>
                    <a:pt x="306" y="134"/>
                    <a:pt x="298" y="117"/>
                  </a:cubicBezTo>
                  <a:cubicBezTo>
                    <a:pt x="311" y="104"/>
                    <a:pt x="311" y="104"/>
                    <a:pt x="311" y="104"/>
                  </a:cubicBezTo>
                  <a:cubicBezTo>
                    <a:pt x="311" y="105"/>
                    <a:pt x="311" y="105"/>
                    <a:pt x="311" y="105"/>
                  </a:cubicBezTo>
                  <a:cubicBezTo>
                    <a:pt x="315" y="109"/>
                    <a:pt x="320" y="112"/>
                    <a:pt x="325" y="112"/>
                  </a:cubicBezTo>
                  <a:cubicBezTo>
                    <a:pt x="329" y="112"/>
                    <a:pt x="334" y="109"/>
                    <a:pt x="336" y="106"/>
                  </a:cubicBezTo>
                  <a:cubicBezTo>
                    <a:pt x="338" y="103"/>
                    <a:pt x="339" y="99"/>
                    <a:pt x="340" y="95"/>
                  </a:cubicBezTo>
                  <a:cubicBezTo>
                    <a:pt x="340" y="92"/>
                    <a:pt x="341" y="83"/>
                    <a:pt x="342" y="72"/>
                  </a:cubicBezTo>
                  <a:cubicBezTo>
                    <a:pt x="343" y="68"/>
                    <a:pt x="340" y="64"/>
                    <a:pt x="335" y="63"/>
                  </a:cubicBezTo>
                  <a:cubicBezTo>
                    <a:pt x="331" y="63"/>
                    <a:pt x="327" y="66"/>
                    <a:pt x="327" y="70"/>
                  </a:cubicBezTo>
                  <a:cubicBezTo>
                    <a:pt x="325" y="81"/>
                    <a:pt x="324" y="91"/>
                    <a:pt x="324" y="94"/>
                  </a:cubicBezTo>
                  <a:cubicBezTo>
                    <a:pt x="324" y="94"/>
                    <a:pt x="324" y="95"/>
                    <a:pt x="324" y="95"/>
                  </a:cubicBezTo>
                  <a:cubicBezTo>
                    <a:pt x="323" y="95"/>
                    <a:pt x="323" y="94"/>
                    <a:pt x="323" y="94"/>
                  </a:cubicBezTo>
                  <a:cubicBezTo>
                    <a:pt x="321" y="92"/>
                    <a:pt x="316" y="87"/>
                    <a:pt x="316" y="87"/>
                  </a:cubicBezTo>
                  <a:cubicBezTo>
                    <a:pt x="315" y="86"/>
                    <a:pt x="313" y="85"/>
                    <a:pt x="311" y="85"/>
                  </a:cubicBezTo>
                  <a:cubicBezTo>
                    <a:pt x="308" y="85"/>
                    <a:pt x="306" y="86"/>
                    <a:pt x="305" y="87"/>
                  </a:cubicBezTo>
                  <a:cubicBezTo>
                    <a:pt x="283" y="109"/>
                    <a:pt x="283" y="109"/>
                    <a:pt x="283" y="109"/>
                  </a:cubicBezTo>
                  <a:cubicBezTo>
                    <a:pt x="280" y="112"/>
                    <a:pt x="280" y="115"/>
                    <a:pt x="281" y="119"/>
                  </a:cubicBezTo>
                  <a:cubicBezTo>
                    <a:pt x="281" y="119"/>
                    <a:pt x="281" y="119"/>
                    <a:pt x="281" y="119"/>
                  </a:cubicBezTo>
                  <a:cubicBezTo>
                    <a:pt x="281" y="119"/>
                    <a:pt x="281" y="119"/>
                    <a:pt x="281" y="119"/>
                  </a:cubicBezTo>
                  <a:cubicBezTo>
                    <a:pt x="290" y="136"/>
                    <a:pt x="295" y="155"/>
                    <a:pt x="295" y="175"/>
                  </a:cubicBezTo>
                  <a:cubicBezTo>
                    <a:pt x="295" y="195"/>
                    <a:pt x="290" y="214"/>
                    <a:pt x="281" y="231"/>
                  </a:cubicBezTo>
                  <a:cubicBezTo>
                    <a:pt x="280" y="234"/>
                    <a:pt x="280" y="238"/>
                    <a:pt x="283" y="240"/>
                  </a:cubicBezTo>
                  <a:cubicBezTo>
                    <a:pt x="305" y="262"/>
                    <a:pt x="305" y="262"/>
                    <a:pt x="305" y="262"/>
                  </a:cubicBezTo>
                  <a:cubicBezTo>
                    <a:pt x="306" y="264"/>
                    <a:pt x="308" y="265"/>
                    <a:pt x="311" y="265"/>
                  </a:cubicBezTo>
                  <a:cubicBezTo>
                    <a:pt x="313" y="265"/>
                    <a:pt x="315" y="264"/>
                    <a:pt x="316" y="262"/>
                  </a:cubicBezTo>
                  <a:cubicBezTo>
                    <a:pt x="316" y="262"/>
                    <a:pt x="321" y="257"/>
                    <a:pt x="323" y="256"/>
                  </a:cubicBezTo>
                  <a:cubicBezTo>
                    <a:pt x="323" y="255"/>
                    <a:pt x="324" y="255"/>
                    <a:pt x="324" y="255"/>
                  </a:cubicBezTo>
                  <a:cubicBezTo>
                    <a:pt x="324" y="255"/>
                    <a:pt x="324" y="255"/>
                    <a:pt x="324" y="256"/>
                  </a:cubicBezTo>
                  <a:cubicBezTo>
                    <a:pt x="324" y="259"/>
                    <a:pt x="332" y="320"/>
                    <a:pt x="332" y="329"/>
                  </a:cubicBezTo>
                  <a:cubicBezTo>
                    <a:pt x="333" y="329"/>
                    <a:pt x="333" y="330"/>
                    <a:pt x="333" y="330"/>
                  </a:cubicBezTo>
                  <a:cubicBezTo>
                    <a:pt x="332" y="331"/>
                    <a:pt x="332" y="331"/>
                    <a:pt x="332" y="332"/>
                  </a:cubicBezTo>
                  <a:cubicBezTo>
                    <a:pt x="331" y="333"/>
                    <a:pt x="331" y="333"/>
                    <a:pt x="329" y="333"/>
                  </a:cubicBezTo>
                  <a:cubicBezTo>
                    <a:pt x="329" y="333"/>
                    <a:pt x="329" y="333"/>
                    <a:pt x="328" y="333"/>
                  </a:cubicBezTo>
                  <a:cubicBezTo>
                    <a:pt x="320" y="332"/>
                    <a:pt x="265" y="325"/>
                    <a:pt x="255" y="324"/>
                  </a:cubicBezTo>
                  <a:cubicBezTo>
                    <a:pt x="255" y="324"/>
                    <a:pt x="254" y="324"/>
                    <a:pt x="254" y="324"/>
                  </a:cubicBezTo>
                  <a:cubicBezTo>
                    <a:pt x="254" y="324"/>
                    <a:pt x="255" y="324"/>
                    <a:pt x="255" y="323"/>
                  </a:cubicBezTo>
                  <a:cubicBezTo>
                    <a:pt x="257" y="322"/>
                    <a:pt x="262" y="317"/>
                    <a:pt x="262" y="317"/>
                  </a:cubicBezTo>
                  <a:cubicBezTo>
                    <a:pt x="263" y="315"/>
                    <a:pt x="264" y="313"/>
                    <a:pt x="264" y="311"/>
                  </a:cubicBezTo>
                  <a:cubicBezTo>
                    <a:pt x="264" y="309"/>
                    <a:pt x="263" y="307"/>
                    <a:pt x="262" y="305"/>
                  </a:cubicBezTo>
                  <a:cubicBezTo>
                    <a:pt x="239" y="283"/>
                    <a:pt x="239" y="283"/>
                    <a:pt x="239" y="283"/>
                  </a:cubicBezTo>
                  <a:cubicBezTo>
                    <a:pt x="237" y="281"/>
                    <a:pt x="233" y="280"/>
                    <a:pt x="230" y="282"/>
                  </a:cubicBezTo>
                  <a:cubicBezTo>
                    <a:pt x="213" y="291"/>
                    <a:pt x="194" y="296"/>
                    <a:pt x="174" y="296"/>
                  </a:cubicBezTo>
                  <a:cubicBezTo>
                    <a:pt x="154" y="296"/>
                    <a:pt x="135" y="291"/>
                    <a:pt x="118" y="282"/>
                  </a:cubicBezTo>
                  <a:cubicBezTo>
                    <a:pt x="118" y="282"/>
                    <a:pt x="118" y="282"/>
                    <a:pt x="118" y="282"/>
                  </a:cubicBezTo>
                  <a:cubicBezTo>
                    <a:pt x="115" y="280"/>
                    <a:pt x="111" y="281"/>
                    <a:pt x="109" y="284"/>
                  </a:cubicBezTo>
                  <a:cubicBezTo>
                    <a:pt x="87" y="305"/>
                    <a:pt x="87" y="305"/>
                    <a:pt x="87" y="305"/>
                  </a:cubicBezTo>
                  <a:cubicBezTo>
                    <a:pt x="85" y="307"/>
                    <a:pt x="84" y="309"/>
                    <a:pt x="84" y="311"/>
                  </a:cubicBezTo>
                  <a:cubicBezTo>
                    <a:pt x="84" y="313"/>
                    <a:pt x="85" y="315"/>
                    <a:pt x="87" y="317"/>
                  </a:cubicBezTo>
                  <a:cubicBezTo>
                    <a:pt x="87" y="317"/>
                    <a:pt x="92" y="322"/>
                    <a:pt x="93" y="323"/>
                  </a:cubicBezTo>
                  <a:cubicBezTo>
                    <a:pt x="94" y="324"/>
                    <a:pt x="94" y="324"/>
                    <a:pt x="94" y="325"/>
                  </a:cubicBezTo>
                  <a:cubicBezTo>
                    <a:pt x="94" y="325"/>
                    <a:pt x="94" y="325"/>
                    <a:pt x="93" y="325"/>
                  </a:cubicBezTo>
                  <a:cubicBezTo>
                    <a:pt x="90" y="325"/>
                    <a:pt x="28" y="332"/>
                    <a:pt x="20" y="333"/>
                  </a:cubicBezTo>
                  <a:cubicBezTo>
                    <a:pt x="20" y="333"/>
                    <a:pt x="19" y="333"/>
                    <a:pt x="19" y="333"/>
                  </a:cubicBezTo>
                  <a:cubicBezTo>
                    <a:pt x="18" y="333"/>
                    <a:pt x="18" y="333"/>
                    <a:pt x="17" y="332"/>
                  </a:cubicBezTo>
                  <a:cubicBezTo>
                    <a:pt x="16" y="332"/>
                    <a:pt x="16" y="332"/>
                    <a:pt x="16" y="330"/>
                  </a:cubicBezTo>
                  <a:cubicBezTo>
                    <a:pt x="16" y="330"/>
                    <a:pt x="16" y="329"/>
                    <a:pt x="16" y="329"/>
                  </a:cubicBezTo>
                  <a:cubicBezTo>
                    <a:pt x="17" y="321"/>
                    <a:pt x="24" y="265"/>
                    <a:pt x="25" y="256"/>
                  </a:cubicBezTo>
                  <a:cubicBezTo>
                    <a:pt x="25" y="255"/>
                    <a:pt x="25" y="255"/>
                    <a:pt x="25" y="255"/>
                  </a:cubicBezTo>
                  <a:cubicBezTo>
                    <a:pt x="25" y="255"/>
                    <a:pt x="25" y="255"/>
                    <a:pt x="26" y="256"/>
                  </a:cubicBezTo>
                  <a:cubicBezTo>
                    <a:pt x="27" y="257"/>
                    <a:pt x="32" y="262"/>
                    <a:pt x="32" y="262"/>
                  </a:cubicBezTo>
                  <a:cubicBezTo>
                    <a:pt x="34" y="264"/>
                    <a:pt x="36" y="265"/>
                    <a:pt x="38" y="265"/>
                  </a:cubicBezTo>
                  <a:cubicBezTo>
                    <a:pt x="40" y="265"/>
                    <a:pt x="42" y="264"/>
                    <a:pt x="44" y="262"/>
                  </a:cubicBezTo>
                  <a:cubicBezTo>
                    <a:pt x="66" y="240"/>
                    <a:pt x="66" y="240"/>
                    <a:pt x="66" y="240"/>
                  </a:cubicBezTo>
                  <a:cubicBezTo>
                    <a:pt x="68" y="238"/>
                    <a:pt x="69" y="234"/>
                    <a:pt x="67" y="231"/>
                  </a:cubicBezTo>
                  <a:cubicBezTo>
                    <a:pt x="58" y="214"/>
                    <a:pt x="53" y="195"/>
                    <a:pt x="53" y="175"/>
                  </a:cubicBezTo>
                  <a:cubicBezTo>
                    <a:pt x="53" y="155"/>
                    <a:pt x="58" y="136"/>
                    <a:pt x="67" y="119"/>
                  </a:cubicBezTo>
                  <a:cubicBezTo>
                    <a:pt x="69" y="116"/>
                    <a:pt x="68" y="112"/>
                    <a:pt x="66" y="110"/>
                  </a:cubicBezTo>
                  <a:cubicBezTo>
                    <a:pt x="44" y="87"/>
                    <a:pt x="44" y="87"/>
                    <a:pt x="44" y="87"/>
                  </a:cubicBezTo>
                  <a:cubicBezTo>
                    <a:pt x="42" y="86"/>
                    <a:pt x="40" y="85"/>
                    <a:pt x="38" y="85"/>
                  </a:cubicBezTo>
                  <a:cubicBezTo>
                    <a:pt x="36" y="85"/>
                    <a:pt x="34" y="86"/>
                    <a:pt x="32" y="87"/>
                  </a:cubicBezTo>
                  <a:cubicBezTo>
                    <a:pt x="32" y="87"/>
                    <a:pt x="27" y="92"/>
                    <a:pt x="26" y="94"/>
                  </a:cubicBezTo>
                  <a:cubicBezTo>
                    <a:pt x="25" y="94"/>
                    <a:pt x="25" y="95"/>
                    <a:pt x="25" y="95"/>
                  </a:cubicBezTo>
                  <a:cubicBezTo>
                    <a:pt x="24" y="95"/>
                    <a:pt x="24" y="94"/>
                    <a:pt x="24" y="94"/>
                  </a:cubicBezTo>
                  <a:cubicBezTo>
                    <a:pt x="24" y="91"/>
                    <a:pt x="17" y="29"/>
                    <a:pt x="16" y="21"/>
                  </a:cubicBezTo>
                  <a:cubicBezTo>
                    <a:pt x="16" y="20"/>
                    <a:pt x="16" y="20"/>
                    <a:pt x="16" y="20"/>
                  </a:cubicBezTo>
                  <a:cubicBezTo>
                    <a:pt x="16" y="18"/>
                    <a:pt x="16" y="18"/>
                    <a:pt x="17" y="17"/>
                  </a:cubicBezTo>
                  <a:cubicBezTo>
                    <a:pt x="18" y="17"/>
                    <a:pt x="17" y="17"/>
                    <a:pt x="19" y="17"/>
                  </a:cubicBezTo>
                  <a:cubicBezTo>
                    <a:pt x="19" y="17"/>
                    <a:pt x="20" y="17"/>
                    <a:pt x="20" y="17"/>
                  </a:cubicBezTo>
                  <a:cubicBezTo>
                    <a:pt x="28" y="17"/>
                    <a:pt x="84" y="24"/>
                    <a:pt x="93" y="25"/>
                  </a:cubicBezTo>
                  <a:cubicBezTo>
                    <a:pt x="94" y="25"/>
                    <a:pt x="94" y="25"/>
                    <a:pt x="94" y="25"/>
                  </a:cubicBezTo>
                  <a:cubicBezTo>
                    <a:pt x="94" y="26"/>
                    <a:pt x="94" y="26"/>
                    <a:pt x="93" y="26"/>
                  </a:cubicBezTo>
                  <a:cubicBezTo>
                    <a:pt x="92" y="28"/>
                    <a:pt x="87" y="33"/>
                    <a:pt x="87" y="33"/>
                  </a:cubicBezTo>
                  <a:cubicBezTo>
                    <a:pt x="85" y="34"/>
                    <a:pt x="84" y="36"/>
                    <a:pt x="84" y="38"/>
                  </a:cubicBezTo>
                  <a:cubicBezTo>
                    <a:pt x="84" y="41"/>
                    <a:pt x="85" y="43"/>
                    <a:pt x="87" y="44"/>
                  </a:cubicBezTo>
                  <a:cubicBezTo>
                    <a:pt x="109" y="66"/>
                    <a:pt x="109" y="66"/>
                    <a:pt x="109" y="66"/>
                  </a:cubicBezTo>
                  <a:cubicBezTo>
                    <a:pt x="111" y="69"/>
                    <a:pt x="115" y="69"/>
                    <a:pt x="118" y="68"/>
                  </a:cubicBezTo>
                  <a:cubicBezTo>
                    <a:pt x="135" y="59"/>
                    <a:pt x="154" y="54"/>
                    <a:pt x="174" y="54"/>
                  </a:cubicBezTo>
                  <a:cubicBezTo>
                    <a:pt x="194" y="54"/>
                    <a:pt x="213" y="59"/>
                    <a:pt x="230" y="68"/>
                  </a:cubicBezTo>
                  <a:cubicBezTo>
                    <a:pt x="233" y="69"/>
                    <a:pt x="237" y="69"/>
                    <a:pt x="239" y="66"/>
                  </a:cubicBezTo>
                  <a:cubicBezTo>
                    <a:pt x="262" y="44"/>
                    <a:pt x="262" y="44"/>
                    <a:pt x="262" y="44"/>
                  </a:cubicBezTo>
                  <a:cubicBezTo>
                    <a:pt x="263" y="43"/>
                    <a:pt x="264" y="41"/>
                    <a:pt x="264" y="38"/>
                  </a:cubicBezTo>
                  <a:cubicBezTo>
                    <a:pt x="264" y="36"/>
                    <a:pt x="263" y="34"/>
                    <a:pt x="262" y="33"/>
                  </a:cubicBezTo>
                  <a:cubicBezTo>
                    <a:pt x="262" y="33"/>
                    <a:pt x="257" y="28"/>
                    <a:pt x="255" y="26"/>
                  </a:cubicBezTo>
                  <a:cubicBezTo>
                    <a:pt x="255" y="26"/>
                    <a:pt x="254" y="25"/>
                    <a:pt x="254" y="25"/>
                  </a:cubicBezTo>
                  <a:cubicBezTo>
                    <a:pt x="254" y="25"/>
                    <a:pt x="255" y="25"/>
                    <a:pt x="255" y="25"/>
                  </a:cubicBezTo>
                  <a:cubicBezTo>
                    <a:pt x="258" y="25"/>
                    <a:pt x="320" y="17"/>
                    <a:pt x="328" y="17"/>
                  </a:cubicBezTo>
                  <a:cubicBezTo>
                    <a:pt x="329" y="16"/>
                    <a:pt x="329" y="16"/>
                    <a:pt x="329" y="16"/>
                  </a:cubicBezTo>
                  <a:cubicBezTo>
                    <a:pt x="331" y="17"/>
                    <a:pt x="331" y="17"/>
                    <a:pt x="332" y="17"/>
                  </a:cubicBezTo>
                  <a:cubicBezTo>
                    <a:pt x="332" y="18"/>
                    <a:pt x="332" y="18"/>
                    <a:pt x="332" y="20"/>
                  </a:cubicBezTo>
                  <a:cubicBezTo>
                    <a:pt x="332" y="20"/>
                    <a:pt x="332" y="20"/>
                    <a:pt x="332" y="21"/>
                  </a:cubicBezTo>
                  <a:cubicBezTo>
                    <a:pt x="332" y="23"/>
                    <a:pt x="331" y="30"/>
                    <a:pt x="330" y="39"/>
                  </a:cubicBezTo>
                  <a:cubicBezTo>
                    <a:pt x="330" y="43"/>
                    <a:pt x="333" y="47"/>
                    <a:pt x="337" y="48"/>
                  </a:cubicBezTo>
                  <a:cubicBezTo>
                    <a:pt x="342" y="48"/>
                    <a:pt x="346" y="45"/>
                    <a:pt x="346" y="41"/>
                  </a:cubicBezTo>
                  <a:cubicBezTo>
                    <a:pt x="347" y="32"/>
                    <a:pt x="348" y="25"/>
                    <a:pt x="348" y="22"/>
                  </a:cubicBezTo>
                  <a:cubicBezTo>
                    <a:pt x="348" y="21"/>
                    <a:pt x="348" y="21"/>
                    <a:pt x="348" y="20"/>
                  </a:cubicBezTo>
                  <a:cubicBezTo>
                    <a:pt x="349" y="15"/>
                    <a:pt x="347" y="10"/>
                    <a:pt x="343" y="6"/>
                  </a:cubicBezTo>
                  <a:cubicBezTo>
                    <a:pt x="339" y="2"/>
                    <a:pt x="334" y="0"/>
                    <a:pt x="329" y="0"/>
                  </a:cubicBezTo>
                  <a:cubicBezTo>
                    <a:pt x="328" y="0"/>
                    <a:pt x="327" y="1"/>
                    <a:pt x="326" y="1"/>
                  </a:cubicBezTo>
                  <a:cubicBezTo>
                    <a:pt x="318" y="1"/>
                    <a:pt x="256" y="9"/>
                    <a:pt x="253" y="9"/>
                  </a:cubicBezTo>
                  <a:cubicBezTo>
                    <a:pt x="250" y="9"/>
                    <a:pt x="246" y="11"/>
                    <a:pt x="243" y="13"/>
                  </a:cubicBezTo>
                  <a:cubicBezTo>
                    <a:pt x="240" y="15"/>
                    <a:pt x="237" y="20"/>
                    <a:pt x="237" y="24"/>
                  </a:cubicBezTo>
                  <a:cubicBezTo>
                    <a:pt x="237" y="29"/>
                    <a:pt x="240" y="34"/>
                    <a:pt x="244" y="38"/>
                  </a:cubicBezTo>
                  <a:cubicBezTo>
                    <a:pt x="244" y="38"/>
                    <a:pt x="244" y="38"/>
                    <a:pt x="245" y="38"/>
                  </a:cubicBezTo>
                  <a:cubicBezTo>
                    <a:pt x="232" y="51"/>
                    <a:pt x="232" y="51"/>
                    <a:pt x="232" y="51"/>
                  </a:cubicBezTo>
                  <a:cubicBezTo>
                    <a:pt x="215" y="43"/>
                    <a:pt x="195" y="38"/>
                    <a:pt x="174" y="38"/>
                  </a:cubicBezTo>
                  <a:cubicBezTo>
                    <a:pt x="153" y="38"/>
                    <a:pt x="134" y="43"/>
                    <a:pt x="116" y="51"/>
                  </a:cubicBezTo>
                  <a:cubicBezTo>
                    <a:pt x="104" y="38"/>
                    <a:pt x="104" y="38"/>
                    <a:pt x="104" y="38"/>
                  </a:cubicBezTo>
                  <a:cubicBezTo>
                    <a:pt x="104" y="38"/>
                    <a:pt x="104" y="38"/>
                    <a:pt x="105" y="38"/>
                  </a:cubicBezTo>
                  <a:cubicBezTo>
                    <a:pt x="108" y="34"/>
                    <a:pt x="111" y="29"/>
                    <a:pt x="111" y="24"/>
                  </a:cubicBezTo>
                  <a:cubicBezTo>
                    <a:pt x="111" y="20"/>
                    <a:pt x="109" y="15"/>
                    <a:pt x="106" y="13"/>
                  </a:cubicBezTo>
                  <a:cubicBezTo>
                    <a:pt x="102" y="11"/>
                    <a:pt x="99" y="10"/>
                    <a:pt x="95" y="9"/>
                  </a:cubicBezTo>
                  <a:cubicBezTo>
                    <a:pt x="86" y="8"/>
                    <a:pt x="30" y="2"/>
                    <a:pt x="22" y="1"/>
                  </a:cubicBezTo>
                  <a:cubicBezTo>
                    <a:pt x="21" y="1"/>
                    <a:pt x="20" y="1"/>
                    <a:pt x="19" y="1"/>
                  </a:cubicBezTo>
                  <a:cubicBezTo>
                    <a:pt x="14" y="0"/>
                    <a:pt x="9" y="2"/>
                    <a:pt x="5" y="6"/>
                  </a:cubicBezTo>
                  <a:cubicBezTo>
                    <a:pt x="2" y="10"/>
                    <a:pt x="0" y="15"/>
                    <a:pt x="0" y="20"/>
                  </a:cubicBezTo>
                  <a:cubicBezTo>
                    <a:pt x="0" y="21"/>
                    <a:pt x="0" y="22"/>
                    <a:pt x="0" y="23"/>
                  </a:cubicBezTo>
                  <a:cubicBezTo>
                    <a:pt x="1" y="31"/>
                    <a:pt x="8" y="93"/>
                    <a:pt x="8" y="96"/>
                  </a:cubicBezTo>
                  <a:cubicBezTo>
                    <a:pt x="9" y="99"/>
                    <a:pt x="10" y="103"/>
                    <a:pt x="12" y="106"/>
                  </a:cubicBezTo>
                  <a:cubicBezTo>
                    <a:pt x="15" y="109"/>
                    <a:pt x="19" y="112"/>
                    <a:pt x="23" y="112"/>
                  </a:cubicBezTo>
                  <a:cubicBezTo>
                    <a:pt x="29" y="112"/>
                    <a:pt x="33" y="109"/>
                    <a:pt x="37" y="105"/>
                  </a:cubicBezTo>
                  <a:cubicBezTo>
                    <a:pt x="37" y="105"/>
                    <a:pt x="37" y="105"/>
                    <a:pt x="38" y="104"/>
                  </a:cubicBezTo>
                  <a:cubicBezTo>
                    <a:pt x="50" y="117"/>
                    <a:pt x="50" y="117"/>
                    <a:pt x="50" y="117"/>
                  </a:cubicBezTo>
                  <a:cubicBezTo>
                    <a:pt x="42" y="134"/>
                    <a:pt x="37" y="154"/>
                    <a:pt x="37" y="175"/>
                  </a:cubicBezTo>
                  <a:cubicBezTo>
                    <a:pt x="37" y="196"/>
                    <a:pt x="42" y="215"/>
                    <a:pt x="50" y="233"/>
                  </a:cubicBezTo>
                  <a:cubicBezTo>
                    <a:pt x="38" y="245"/>
                    <a:pt x="38" y="245"/>
                    <a:pt x="38" y="245"/>
                  </a:cubicBezTo>
                  <a:cubicBezTo>
                    <a:pt x="38" y="245"/>
                    <a:pt x="37" y="245"/>
                    <a:pt x="37" y="244"/>
                  </a:cubicBezTo>
                  <a:cubicBezTo>
                    <a:pt x="33" y="241"/>
                    <a:pt x="29" y="238"/>
                    <a:pt x="23" y="238"/>
                  </a:cubicBezTo>
                  <a:cubicBezTo>
                    <a:pt x="19" y="238"/>
                    <a:pt x="15" y="240"/>
                    <a:pt x="12" y="243"/>
                  </a:cubicBezTo>
                  <a:cubicBezTo>
                    <a:pt x="10" y="247"/>
                    <a:pt x="9" y="250"/>
                    <a:pt x="9" y="254"/>
                  </a:cubicBezTo>
                  <a:cubicBezTo>
                    <a:pt x="8" y="263"/>
                    <a:pt x="1" y="319"/>
                    <a:pt x="0" y="327"/>
                  </a:cubicBezTo>
                  <a:cubicBezTo>
                    <a:pt x="0" y="328"/>
                    <a:pt x="0" y="329"/>
                    <a:pt x="0" y="330"/>
                  </a:cubicBezTo>
                  <a:cubicBezTo>
                    <a:pt x="0" y="335"/>
                    <a:pt x="2" y="340"/>
                    <a:pt x="5" y="344"/>
                  </a:cubicBezTo>
                  <a:cubicBezTo>
                    <a:pt x="9" y="347"/>
                    <a:pt x="14" y="349"/>
                    <a:pt x="19" y="349"/>
                  </a:cubicBezTo>
                  <a:cubicBezTo>
                    <a:pt x="19" y="349"/>
                    <a:pt x="19" y="349"/>
                    <a:pt x="19" y="349"/>
                  </a:cubicBezTo>
                  <a:cubicBezTo>
                    <a:pt x="20" y="349"/>
                    <a:pt x="21" y="349"/>
                    <a:pt x="22" y="349"/>
                  </a:cubicBezTo>
                  <a:cubicBezTo>
                    <a:pt x="30" y="348"/>
                    <a:pt x="92" y="341"/>
                    <a:pt x="95" y="341"/>
                  </a:cubicBezTo>
                  <a:cubicBezTo>
                    <a:pt x="99" y="340"/>
                    <a:pt x="102" y="339"/>
                    <a:pt x="106" y="337"/>
                  </a:cubicBezTo>
                  <a:cubicBezTo>
                    <a:pt x="109" y="334"/>
                    <a:pt x="111" y="330"/>
                    <a:pt x="111" y="326"/>
                  </a:cubicBezTo>
                  <a:cubicBezTo>
                    <a:pt x="111" y="320"/>
                    <a:pt x="108" y="316"/>
                    <a:pt x="105" y="312"/>
                  </a:cubicBezTo>
                  <a:cubicBezTo>
                    <a:pt x="104" y="312"/>
                    <a:pt x="104" y="312"/>
                    <a:pt x="104" y="311"/>
                  </a:cubicBezTo>
                  <a:cubicBezTo>
                    <a:pt x="116" y="299"/>
                    <a:pt x="116" y="299"/>
                    <a:pt x="116" y="299"/>
                  </a:cubicBezTo>
                  <a:cubicBezTo>
                    <a:pt x="134" y="307"/>
                    <a:pt x="153" y="312"/>
                    <a:pt x="174" y="312"/>
                  </a:cubicBezTo>
                  <a:cubicBezTo>
                    <a:pt x="195" y="312"/>
                    <a:pt x="215" y="307"/>
                    <a:pt x="232" y="299"/>
                  </a:cubicBezTo>
                  <a:cubicBezTo>
                    <a:pt x="245" y="311"/>
                    <a:pt x="245" y="311"/>
                    <a:pt x="245" y="311"/>
                  </a:cubicBezTo>
                  <a:cubicBezTo>
                    <a:pt x="244" y="312"/>
                    <a:pt x="244" y="312"/>
                    <a:pt x="244" y="312"/>
                  </a:cubicBezTo>
                  <a:cubicBezTo>
                    <a:pt x="240" y="316"/>
                    <a:pt x="237" y="320"/>
                    <a:pt x="237" y="326"/>
                  </a:cubicBezTo>
                  <a:cubicBezTo>
                    <a:pt x="237" y="330"/>
                    <a:pt x="240" y="334"/>
                    <a:pt x="243" y="337"/>
                  </a:cubicBezTo>
                  <a:cubicBezTo>
                    <a:pt x="246" y="339"/>
                    <a:pt x="250" y="340"/>
                    <a:pt x="254" y="340"/>
                  </a:cubicBezTo>
                  <a:cubicBezTo>
                    <a:pt x="262" y="341"/>
                    <a:pt x="318" y="348"/>
                    <a:pt x="327" y="349"/>
                  </a:cubicBezTo>
                  <a:cubicBezTo>
                    <a:pt x="328" y="349"/>
                    <a:pt x="328" y="349"/>
                    <a:pt x="329" y="349"/>
                  </a:cubicBezTo>
                  <a:cubicBezTo>
                    <a:pt x="334" y="349"/>
                    <a:pt x="339" y="347"/>
                    <a:pt x="343" y="344"/>
                  </a:cubicBezTo>
                  <a:cubicBezTo>
                    <a:pt x="347" y="340"/>
                    <a:pt x="349" y="334"/>
                    <a:pt x="349" y="330"/>
                  </a:cubicBezTo>
                  <a:cubicBezTo>
                    <a:pt x="349" y="329"/>
                    <a:pt x="348" y="328"/>
                    <a:pt x="348"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TextBox 23">
              <a:extLst>
                <a:ext uri="{FF2B5EF4-FFF2-40B4-BE49-F238E27FC236}">
                  <a16:creationId xmlns:a16="http://schemas.microsoft.com/office/drawing/2014/main" id="{A3A3F2A7-6105-4199-9384-21FBCBC96D4B}"/>
                </a:ext>
              </a:extLst>
            </p:cNvPr>
            <p:cNvSpPr txBox="1"/>
            <p:nvPr/>
          </p:nvSpPr>
          <p:spPr>
            <a:xfrm>
              <a:off x="9229553" y="2603260"/>
              <a:ext cx="1554480" cy="492443"/>
            </a:xfrm>
            <a:prstGeom prst="rect">
              <a:avLst/>
            </a:prstGeom>
            <a:noFill/>
          </p:spPr>
          <p:txBody>
            <a:bodyPr wrap="square" rtlCol="0" anchor="ctr">
              <a:spAutoFit/>
            </a:bodyPr>
            <a:lstStyle/>
            <a:p>
              <a:pPr algn="ctr"/>
              <a:r>
                <a:rPr lang="en-US" sz="1300" dirty="0"/>
                <a:t>CR analysis &amp; submission </a:t>
              </a:r>
            </a:p>
          </p:txBody>
        </p:sp>
        <p:sp>
          <p:nvSpPr>
            <p:cNvPr id="25" name="TextBox 24">
              <a:extLst>
                <a:ext uri="{FF2B5EF4-FFF2-40B4-BE49-F238E27FC236}">
                  <a16:creationId xmlns:a16="http://schemas.microsoft.com/office/drawing/2014/main" id="{AB266975-78D8-4047-83B5-058B8844180A}"/>
                </a:ext>
              </a:extLst>
            </p:cNvPr>
            <p:cNvSpPr txBox="1"/>
            <p:nvPr/>
          </p:nvSpPr>
          <p:spPr>
            <a:xfrm>
              <a:off x="9229553" y="5454744"/>
              <a:ext cx="1554480" cy="292388"/>
            </a:xfrm>
            <a:prstGeom prst="rect">
              <a:avLst/>
            </a:prstGeom>
            <a:noFill/>
          </p:spPr>
          <p:txBody>
            <a:bodyPr wrap="square" rtlCol="0" anchor="ctr">
              <a:spAutoFit/>
            </a:bodyPr>
            <a:lstStyle/>
            <a:p>
              <a:pPr algn="ctr"/>
              <a:endParaRPr lang="en-US" sz="1300" dirty="0"/>
            </a:p>
          </p:txBody>
        </p:sp>
        <p:sp>
          <p:nvSpPr>
            <p:cNvPr id="26" name="TextBox 25">
              <a:extLst>
                <a:ext uri="{FF2B5EF4-FFF2-40B4-BE49-F238E27FC236}">
                  <a16:creationId xmlns:a16="http://schemas.microsoft.com/office/drawing/2014/main" id="{474E532B-336A-46AF-A65F-630544CE322A}"/>
                </a:ext>
              </a:extLst>
            </p:cNvPr>
            <p:cNvSpPr txBox="1"/>
            <p:nvPr/>
          </p:nvSpPr>
          <p:spPr>
            <a:xfrm>
              <a:off x="10515592" y="3076328"/>
              <a:ext cx="1476378" cy="492443"/>
            </a:xfrm>
            <a:prstGeom prst="rect">
              <a:avLst/>
            </a:prstGeom>
            <a:noFill/>
          </p:spPr>
          <p:txBody>
            <a:bodyPr wrap="square" rtlCol="0" anchor="ctr">
              <a:spAutoFit/>
            </a:bodyPr>
            <a:lstStyle/>
            <a:p>
              <a:pPr algn="ctr"/>
              <a:r>
                <a:rPr lang="en-US" sz="1300" dirty="0"/>
                <a:t>CCB review &amp; decisions</a:t>
              </a:r>
            </a:p>
          </p:txBody>
        </p:sp>
        <p:sp>
          <p:nvSpPr>
            <p:cNvPr id="27" name="TextBox 26">
              <a:extLst>
                <a:ext uri="{FF2B5EF4-FFF2-40B4-BE49-F238E27FC236}">
                  <a16:creationId xmlns:a16="http://schemas.microsoft.com/office/drawing/2014/main" id="{DC56372B-1FB5-4847-9EE7-DEC5452BEDC1}"/>
                </a:ext>
              </a:extLst>
            </p:cNvPr>
            <p:cNvSpPr txBox="1"/>
            <p:nvPr/>
          </p:nvSpPr>
          <p:spPr>
            <a:xfrm>
              <a:off x="8088999" y="3106323"/>
              <a:ext cx="1188720" cy="492443"/>
            </a:xfrm>
            <a:prstGeom prst="rect">
              <a:avLst/>
            </a:prstGeom>
            <a:noFill/>
          </p:spPr>
          <p:txBody>
            <a:bodyPr wrap="square" rtlCol="0" anchor="ctr">
              <a:spAutoFit/>
            </a:bodyPr>
            <a:lstStyle/>
            <a:p>
              <a:pPr algn="ctr"/>
              <a:r>
                <a:rPr lang="en-US" sz="1300" dirty="0"/>
                <a:t>CCB quality audit</a:t>
              </a:r>
            </a:p>
          </p:txBody>
        </p:sp>
        <p:sp>
          <p:nvSpPr>
            <p:cNvPr id="28" name="TextBox 27">
              <a:extLst>
                <a:ext uri="{FF2B5EF4-FFF2-40B4-BE49-F238E27FC236}">
                  <a16:creationId xmlns:a16="http://schemas.microsoft.com/office/drawing/2014/main" id="{8CBA5857-EF3D-4DE0-BEDE-C640AC2368FC}"/>
                </a:ext>
              </a:extLst>
            </p:cNvPr>
            <p:cNvSpPr txBox="1"/>
            <p:nvPr/>
          </p:nvSpPr>
          <p:spPr>
            <a:xfrm>
              <a:off x="10536297" y="5047161"/>
              <a:ext cx="1188720" cy="692497"/>
            </a:xfrm>
            <a:prstGeom prst="rect">
              <a:avLst/>
            </a:prstGeom>
            <a:noFill/>
          </p:spPr>
          <p:txBody>
            <a:bodyPr wrap="square" rtlCol="0" anchor="ctr">
              <a:spAutoFit/>
            </a:bodyPr>
            <a:lstStyle/>
            <a:p>
              <a:pPr algn="ctr"/>
              <a:r>
                <a:rPr lang="en-US" sz="1300" dirty="0"/>
                <a:t>Propose CR to customer &amp; negotiate  </a:t>
              </a:r>
            </a:p>
          </p:txBody>
        </p:sp>
        <p:sp>
          <p:nvSpPr>
            <p:cNvPr id="29" name="TextBox 28">
              <a:extLst>
                <a:ext uri="{FF2B5EF4-FFF2-40B4-BE49-F238E27FC236}">
                  <a16:creationId xmlns:a16="http://schemas.microsoft.com/office/drawing/2014/main" id="{247D52A3-FC2A-4031-B458-AFB63119C099}"/>
                </a:ext>
              </a:extLst>
            </p:cNvPr>
            <p:cNvSpPr txBox="1"/>
            <p:nvPr/>
          </p:nvSpPr>
          <p:spPr>
            <a:xfrm>
              <a:off x="9319760" y="5486701"/>
              <a:ext cx="1306744" cy="492443"/>
            </a:xfrm>
            <a:prstGeom prst="rect">
              <a:avLst/>
            </a:prstGeom>
            <a:noFill/>
          </p:spPr>
          <p:txBody>
            <a:bodyPr wrap="square" rtlCol="0" anchor="ctr">
              <a:spAutoFit/>
            </a:bodyPr>
            <a:lstStyle/>
            <a:p>
              <a:pPr algn="ctr"/>
              <a:r>
                <a:rPr lang="en-US" sz="1300" dirty="0"/>
                <a:t>CR Final Decision</a:t>
              </a:r>
            </a:p>
          </p:txBody>
        </p:sp>
      </p:grpSp>
    </p:spTree>
    <p:extLst>
      <p:ext uri="{BB962C8B-B14F-4D97-AF65-F5344CB8AC3E}">
        <p14:creationId xmlns:p14="http://schemas.microsoft.com/office/powerpoint/2010/main" val="19272381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C8F042-1B2D-4100-A348-0B3B7C297952}"/>
              </a:ext>
            </a:extLst>
          </p:cNvPr>
          <p:cNvSpPr>
            <a:spLocks noGrp="1"/>
          </p:cNvSpPr>
          <p:nvPr>
            <p:ph sz="quarter" idx="12"/>
          </p:nvPr>
        </p:nvSpPr>
        <p:spPr>
          <a:xfrm>
            <a:off x="8435509" y="2196396"/>
            <a:ext cx="2947516" cy="3660996"/>
          </a:xfrm>
        </p:spPr>
        <p:txBody>
          <a:bodyPr/>
          <a:lstStyle/>
          <a:p>
            <a:pPr marL="0" lvl="1" indent="0">
              <a:buNone/>
            </a:pPr>
            <a:endParaRPr lang="en-US" sz="1200" i="1" u="sng" dirty="0">
              <a:solidFill>
                <a:schemeClr val="accent6"/>
              </a:solidFill>
            </a:endParaRPr>
          </a:p>
          <a:p>
            <a:pPr lvl="1">
              <a:buFont typeface="Wingdings" panose="05000000000000000000" pitchFamily="2" charset="2"/>
              <a:buChar char="§"/>
            </a:pPr>
            <a:r>
              <a:rPr lang="en-US" sz="1200" dirty="0"/>
              <a:t>Minutes of Meeting &amp; Checklist</a:t>
            </a:r>
          </a:p>
          <a:p>
            <a:pPr lvl="2">
              <a:buFont typeface="Wingdings" panose="05000000000000000000" pitchFamily="2" charset="2"/>
              <a:buChar char="§"/>
            </a:pPr>
            <a:r>
              <a:rPr lang="en-US" sz="1200" dirty="0"/>
              <a:t>For use in steps B &amp; D.</a:t>
            </a:r>
          </a:p>
          <a:p>
            <a:pPr>
              <a:buFont typeface="Wingdings" panose="05000000000000000000" pitchFamily="2" charset="2"/>
              <a:buChar char="§"/>
            </a:pPr>
            <a:endParaRPr lang="en-US" sz="1200" dirty="0"/>
          </a:p>
          <a:p>
            <a:pPr lvl="1">
              <a:buFont typeface="Wingdings" panose="05000000000000000000" pitchFamily="2" charset="2"/>
              <a:buChar char="§"/>
            </a:pPr>
            <a:r>
              <a:rPr lang="en-US" sz="1200" dirty="0">
                <a:hlinkClick r:id="rId3"/>
              </a:rPr>
              <a:t>Default template for External CRs </a:t>
            </a:r>
            <a:endParaRPr lang="en-US" sz="1200" dirty="0"/>
          </a:p>
          <a:p>
            <a:pPr lvl="2">
              <a:buFont typeface="Wingdings" panose="05000000000000000000" pitchFamily="2" charset="2"/>
              <a:buChar char="§"/>
            </a:pPr>
            <a:r>
              <a:rPr lang="en-US" sz="1200" dirty="0"/>
              <a:t>(to be replaced with standard contractual document if available)</a:t>
            </a:r>
          </a:p>
          <a:p>
            <a:pPr lvl="2">
              <a:buFont typeface="Wingdings" panose="05000000000000000000" pitchFamily="2" charset="2"/>
              <a:buChar char="§"/>
            </a:pPr>
            <a:r>
              <a:rPr lang="en-US" sz="1200" dirty="0"/>
              <a:t>For use in Step C – Propose to Customer</a:t>
            </a:r>
          </a:p>
          <a:p>
            <a:pPr>
              <a:buFont typeface="Wingdings" panose="05000000000000000000" pitchFamily="2" charset="2"/>
              <a:buChar char="§"/>
            </a:pPr>
            <a:endParaRPr lang="en-US" sz="1200" dirty="0"/>
          </a:p>
          <a:p>
            <a:pPr lvl="1">
              <a:buFont typeface="Wingdings" panose="05000000000000000000" pitchFamily="2" charset="2"/>
              <a:buChar char="§"/>
            </a:pPr>
            <a:r>
              <a:rPr lang="en-US" sz="1200" dirty="0">
                <a:hlinkClick r:id="rId4"/>
              </a:rPr>
              <a:t>Risk analysis template </a:t>
            </a:r>
            <a:endParaRPr lang="en-US" sz="1200" dirty="0"/>
          </a:p>
          <a:p>
            <a:pPr lvl="2">
              <a:buFont typeface="Wingdings" panose="05000000000000000000" pitchFamily="2" charset="2"/>
              <a:buChar char="§"/>
            </a:pPr>
            <a:r>
              <a:rPr lang="en-US" sz="1200" dirty="0"/>
              <a:t>Provided by Business Excellence Group for strategic programs </a:t>
            </a:r>
          </a:p>
          <a:p>
            <a:pPr lvl="2">
              <a:buFont typeface="Wingdings" panose="05000000000000000000" pitchFamily="2" charset="2"/>
              <a:buChar char="§"/>
            </a:pPr>
            <a:r>
              <a:rPr lang="en-US" sz="1200" dirty="0"/>
              <a:t>For use in Steps B &amp; D</a:t>
            </a:r>
          </a:p>
          <a:p>
            <a:pPr>
              <a:buFont typeface="Wingdings" panose="05000000000000000000" pitchFamily="2" charset="2"/>
              <a:buChar char="§"/>
            </a:pPr>
            <a:r>
              <a:rPr lang="en-US" sz="1200" dirty="0"/>
              <a:t> </a:t>
            </a:r>
          </a:p>
          <a:p>
            <a:pPr lvl="1">
              <a:buFont typeface="Wingdings" panose="05000000000000000000" pitchFamily="2" charset="2"/>
              <a:buChar char="§"/>
            </a:pPr>
            <a:r>
              <a:rPr lang="en-US" sz="1200" dirty="0">
                <a:hlinkClick r:id="rId5"/>
              </a:rPr>
              <a:t>Financial and Risk Analysis template</a:t>
            </a:r>
            <a:endParaRPr lang="en-US" sz="1200" dirty="0"/>
          </a:p>
          <a:p>
            <a:pPr lvl="1">
              <a:buFont typeface="Wingdings" panose="05000000000000000000" pitchFamily="2" charset="2"/>
              <a:buChar char="§"/>
            </a:pPr>
            <a:endParaRPr lang="en-US" sz="1200" dirty="0"/>
          </a:p>
          <a:p>
            <a:endParaRPr lang="en-US" sz="1200" dirty="0"/>
          </a:p>
        </p:txBody>
      </p:sp>
      <p:pic>
        <p:nvPicPr>
          <p:cNvPr id="10" name="Content Placeholder 9">
            <a:extLst>
              <a:ext uri="{FF2B5EF4-FFF2-40B4-BE49-F238E27FC236}">
                <a16:creationId xmlns:a16="http://schemas.microsoft.com/office/drawing/2014/main" id="{D0C0C768-D42A-47D5-AECA-EB96850CF966}"/>
              </a:ext>
            </a:extLst>
          </p:cNvPr>
          <p:cNvPicPr>
            <a:picLocks noGrp="1" noChangeAspect="1"/>
          </p:cNvPicPr>
          <p:nvPr>
            <p:ph sz="quarter" idx="13"/>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792464" y="3035271"/>
            <a:ext cx="6518074" cy="3660775"/>
          </a:xfrm>
          <a:prstGeom prst="rect">
            <a:avLst/>
          </a:prstGeom>
        </p:spPr>
      </p:pic>
      <p:sp>
        <p:nvSpPr>
          <p:cNvPr id="8" name="Rectangle 7">
            <a:extLst>
              <a:ext uri="{FF2B5EF4-FFF2-40B4-BE49-F238E27FC236}">
                <a16:creationId xmlns:a16="http://schemas.microsoft.com/office/drawing/2014/main" id="{7038179E-46A7-4C95-83C5-D828DA7C87F5}"/>
              </a:ext>
            </a:extLst>
          </p:cNvPr>
          <p:cNvSpPr/>
          <p:nvPr/>
        </p:nvSpPr>
        <p:spPr bwMode="auto">
          <a:xfrm>
            <a:off x="572792" y="1177883"/>
            <a:ext cx="7640846" cy="836865"/>
          </a:xfrm>
          <a:prstGeom prst="rect">
            <a:avLst/>
          </a:prstGeom>
          <a:noFill/>
          <a:ln w="12700" cap="flat" cmpd="sng" algn="ctr">
            <a:solidFill>
              <a:schemeClr val="bg1">
                <a:lumMod val="50000"/>
              </a:schemeClr>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en-US" sz="1000" dirty="0"/>
              <a:t>CCB  is a team built on an account  by account basis</a:t>
            </a:r>
          </a:p>
          <a:p>
            <a:endParaRPr lang="en-US" sz="1000" dirty="0"/>
          </a:p>
          <a:p>
            <a:r>
              <a:rPr lang="en-US" sz="1000" dirty="0"/>
              <a:t>It is an Ericsson internal function described as: </a:t>
            </a:r>
          </a:p>
          <a:p>
            <a:r>
              <a:rPr lang="en-US" sz="1000" dirty="0"/>
              <a:t>	- a decision making board  	- holds regular meetings, working through a set repeatable process</a:t>
            </a:r>
          </a:p>
          <a:p>
            <a:r>
              <a:rPr lang="en-US" sz="1000" dirty="0"/>
              <a:t>	- purpose is to maximize Add-on Sales though efficient processing of Change Requests</a:t>
            </a:r>
          </a:p>
        </p:txBody>
      </p:sp>
      <p:sp>
        <p:nvSpPr>
          <p:cNvPr id="9" name="Rectangle 8">
            <a:extLst>
              <a:ext uri="{FF2B5EF4-FFF2-40B4-BE49-F238E27FC236}">
                <a16:creationId xmlns:a16="http://schemas.microsoft.com/office/drawing/2014/main" id="{A30C7CDB-752F-441A-9B99-4F82F3D80B8C}"/>
              </a:ext>
            </a:extLst>
          </p:cNvPr>
          <p:cNvSpPr/>
          <p:nvPr/>
        </p:nvSpPr>
        <p:spPr bwMode="auto">
          <a:xfrm>
            <a:off x="8345961" y="1163319"/>
            <a:ext cx="2947516" cy="836865"/>
          </a:xfrm>
          <a:prstGeom prst="rect">
            <a:avLst/>
          </a:prstGeom>
          <a:noFill/>
          <a:ln w="12700" cap="flat" cmpd="sng" algn="ctr">
            <a:solidFill>
              <a:schemeClr val="bg1">
                <a:lumMod val="50000"/>
              </a:schemeClr>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fontAlgn="base">
              <a:spcBef>
                <a:spcPct val="50000"/>
              </a:spcBef>
              <a:spcAft>
                <a:spcPct val="0"/>
              </a:spcAft>
            </a:pPr>
            <a:r>
              <a:rPr lang="en-US" sz="1600" dirty="0">
                <a:solidFill>
                  <a:schemeClr val="accent5"/>
                </a:solidFill>
                <a:latin typeface="Ericsson Hilda"/>
              </a:rPr>
              <a:t>Important Links </a:t>
            </a:r>
          </a:p>
        </p:txBody>
      </p:sp>
      <p:pic>
        <p:nvPicPr>
          <p:cNvPr id="11" name="Graphic 10">
            <a:extLst>
              <a:ext uri="{FF2B5EF4-FFF2-40B4-BE49-F238E27FC236}">
                <a16:creationId xmlns:a16="http://schemas.microsoft.com/office/drawing/2014/main" id="{5A81D607-025C-4B17-B757-A28D2563A48B}"/>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7260748" y="1304816"/>
            <a:ext cx="300447" cy="269789"/>
          </a:xfrm>
          <a:prstGeom prst="rect">
            <a:avLst/>
          </a:prstGeom>
        </p:spPr>
      </p:pic>
      <p:pic>
        <p:nvPicPr>
          <p:cNvPr id="12" name="Graphic 11">
            <a:extLst>
              <a:ext uri="{FF2B5EF4-FFF2-40B4-BE49-F238E27FC236}">
                <a16:creationId xmlns:a16="http://schemas.microsoft.com/office/drawing/2014/main" id="{21777F3C-975D-43B4-AF39-6170096E78BE}"/>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7639669" y="1439710"/>
            <a:ext cx="300447" cy="269789"/>
          </a:xfrm>
          <a:prstGeom prst="rect">
            <a:avLst/>
          </a:prstGeom>
        </p:spPr>
      </p:pic>
      <p:pic>
        <p:nvPicPr>
          <p:cNvPr id="14" name="Graphic 13">
            <a:extLst>
              <a:ext uri="{FF2B5EF4-FFF2-40B4-BE49-F238E27FC236}">
                <a16:creationId xmlns:a16="http://schemas.microsoft.com/office/drawing/2014/main" id="{10A820C3-445C-4F86-AE5C-6BE6E306D4D4}"/>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10831497" y="1359531"/>
            <a:ext cx="271932" cy="325136"/>
          </a:xfrm>
          <a:prstGeom prst="rect">
            <a:avLst/>
          </a:prstGeom>
        </p:spPr>
      </p:pic>
      <p:sp>
        <p:nvSpPr>
          <p:cNvPr id="16" name="TextBox 15">
            <a:extLst>
              <a:ext uri="{FF2B5EF4-FFF2-40B4-BE49-F238E27FC236}">
                <a16:creationId xmlns:a16="http://schemas.microsoft.com/office/drawing/2014/main" id="{B83CB59B-269A-48C5-BFCF-8E2CB84EEED6}"/>
              </a:ext>
            </a:extLst>
          </p:cNvPr>
          <p:cNvSpPr txBox="1"/>
          <p:nvPr/>
        </p:nvSpPr>
        <p:spPr>
          <a:xfrm>
            <a:off x="954745" y="489659"/>
            <a:ext cx="6033884" cy="440633"/>
          </a:xfrm>
          <a:prstGeom prst="rect">
            <a:avLst/>
          </a:prstGeom>
          <a:noFill/>
        </p:spPr>
        <p:txBody>
          <a:bodyPr wrap="square" rtlCol="0" anchor="ctr">
            <a:spAutoFit/>
          </a:bodyPr>
          <a:lstStyle/>
          <a:p>
            <a:pPr>
              <a:lnSpc>
                <a:spcPct val="80000"/>
              </a:lnSpc>
              <a:spcBef>
                <a:spcPts val="0"/>
              </a:spcBef>
            </a:pPr>
            <a:r>
              <a:rPr lang="en-US" sz="2800" dirty="0">
                <a:solidFill>
                  <a:srgbClr val="F08A00"/>
                </a:solidFill>
                <a:latin typeface="+mj-lt"/>
              </a:rPr>
              <a:t>Change Control Board</a:t>
            </a:r>
            <a:endParaRPr lang="en-US" sz="2200" dirty="0">
              <a:solidFill>
                <a:srgbClr val="F08A00"/>
              </a:solidFill>
              <a:latin typeface="+mj-lt"/>
            </a:endParaRPr>
          </a:p>
        </p:txBody>
      </p:sp>
      <p:sp>
        <p:nvSpPr>
          <p:cNvPr id="17" name="Freeform 3">
            <a:extLst>
              <a:ext uri="{FF2B5EF4-FFF2-40B4-BE49-F238E27FC236}">
                <a16:creationId xmlns:a16="http://schemas.microsoft.com/office/drawing/2014/main" id="{32FB34E9-6DD7-4460-9626-FC908199AA0E}"/>
              </a:ext>
            </a:extLst>
          </p:cNvPr>
          <p:cNvSpPr>
            <a:spLocks noChangeAspect="1" noEditPoints="1"/>
          </p:cNvSpPr>
          <p:nvPr/>
        </p:nvSpPr>
        <p:spPr bwMode="auto">
          <a:xfrm>
            <a:off x="479424" y="330919"/>
            <a:ext cx="490260" cy="640080"/>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Rectangle 17">
            <a:extLst>
              <a:ext uri="{FF2B5EF4-FFF2-40B4-BE49-F238E27FC236}">
                <a16:creationId xmlns:a16="http://schemas.microsoft.com/office/drawing/2014/main" id="{D60D63BE-470E-4614-9780-A4166BC3B5D8}"/>
              </a:ext>
            </a:extLst>
          </p:cNvPr>
          <p:cNvSpPr/>
          <p:nvPr/>
        </p:nvSpPr>
        <p:spPr>
          <a:xfrm>
            <a:off x="6117787" y="330919"/>
            <a:ext cx="4985642" cy="800219"/>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BF2D9"/>
                </a:solidFill>
                <a:prstDash val="solid"/>
                <a:round/>
                <a:headEnd type="none" w="med" len="med"/>
                <a:tailEnd type="none" w="med" len="med"/>
              </a14:hiddenLine>
            </a:ext>
          </a:extLst>
        </p:spPr>
        <p:txBody>
          <a:bodyPr wrap="square">
            <a:spAutoFit/>
          </a:bodyPr>
          <a:lstStyle/>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181818"/>
                </a:solidFill>
                <a:effectLst/>
                <a:uLnTx/>
                <a:uFillTx/>
                <a:latin typeface="Arial" charset="0"/>
                <a:ea typeface="+mn-ea"/>
                <a:cs typeface="Arial" charset="0"/>
              </a:rPr>
              <a:t>Increased Governance</a:t>
            </a: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
            </a:r>
            <a:b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b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Change Control Board (CCB) mandatory for all projects</a:t>
            </a:r>
          </a:p>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No changes without advance formal approval</a:t>
            </a:r>
          </a:p>
        </p:txBody>
      </p:sp>
      <p:grpSp>
        <p:nvGrpSpPr>
          <p:cNvPr id="19" name="Group 18">
            <a:extLst>
              <a:ext uri="{FF2B5EF4-FFF2-40B4-BE49-F238E27FC236}">
                <a16:creationId xmlns:a16="http://schemas.microsoft.com/office/drawing/2014/main" id="{12826FCD-306B-496F-96B1-CB48DA057376}"/>
              </a:ext>
            </a:extLst>
          </p:cNvPr>
          <p:cNvGrpSpPr/>
          <p:nvPr/>
        </p:nvGrpSpPr>
        <p:grpSpPr>
          <a:xfrm>
            <a:off x="365885" y="2004483"/>
            <a:ext cx="7349256" cy="928350"/>
            <a:chOff x="3035853" y="811123"/>
            <a:chExt cx="7349256" cy="928350"/>
          </a:xfrm>
          <a:solidFill>
            <a:schemeClr val="accent5"/>
          </a:solidFill>
        </p:grpSpPr>
        <p:sp>
          <p:nvSpPr>
            <p:cNvPr id="20" name="AutoShape 8">
              <a:extLst>
                <a:ext uri="{FF2B5EF4-FFF2-40B4-BE49-F238E27FC236}">
                  <a16:creationId xmlns:a16="http://schemas.microsoft.com/office/drawing/2014/main" id="{5C726A55-8F4F-42BF-A65D-420D8109EC30}"/>
                </a:ext>
              </a:extLst>
            </p:cNvPr>
            <p:cNvSpPr>
              <a:spLocks noChangeArrowheads="1"/>
            </p:cNvSpPr>
            <p:nvPr/>
          </p:nvSpPr>
          <p:spPr bwMode="auto">
            <a:xfrm>
              <a:off x="3194989" y="1028273"/>
              <a:ext cx="1296000" cy="711200"/>
            </a:xfrm>
            <a:prstGeom prst="chevron">
              <a:avLst>
                <a:gd name="adj" fmla="val 23158"/>
              </a:avLst>
            </a:prstGeom>
            <a:grpFill/>
            <a:ln>
              <a:solidFill>
                <a:schemeClr val="bg1"/>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a:ea typeface="+mn-ea"/>
                  <a:cs typeface="+mn-cs"/>
                </a:rPr>
                <a:t>CR Analysis &amp; Submission</a:t>
              </a:r>
            </a:p>
          </p:txBody>
        </p:sp>
        <p:sp>
          <p:nvSpPr>
            <p:cNvPr id="21" name="AutoShape 9">
              <a:extLst>
                <a:ext uri="{FF2B5EF4-FFF2-40B4-BE49-F238E27FC236}">
                  <a16:creationId xmlns:a16="http://schemas.microsoft.com/office/drawing/2014/main" id="{7727B246-672E-42EC-B079-80731FBD814A}"/>
                </a:ext>
              </a:extLst>
            </p:cNvPr>
            <p:cNvSpPr>
              <a:spLocks noChangeArrowheads="1"/>
            </p:cNvSpPr>
            <p:nvPr/>
          </p:nvSpPr>
          <p:spPr bwMode="auto">
            <a:xfrm>
              <a:off x="6150467" y="1028273"/>
              <a:ext cx="1296000" cy="711200"/>
            </a:xfrm>
            <a:prstGeom prst="chevron">
              <a:avLst>
                <a:gd name="adj" fmla="val 24048"/>
              </a:avLst>
            </a:prstGeom>
            <a:grpFill/>
            <a:ln>
              <a:solidFill>
                <a:schemeClr val="bg1"/>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a:ea typeface="Batang" charset="0"/>
                  <a:cs typeface="+mn-cs"/>
                </a:rPr>
                <a:t>Propose CR to Customer/Negotiate</a:t>
              </a:r>
              <a:endParaRPr kumimoji="0" lang="en-US" altLang="en-US"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AutoShape 10">
              <a:extLst>
                <a:ext uri="{FF2B5EF4-FFF2-40B4-BE49-F238E27FC236}">
                  <a16:creationId xmlns:a16="http://schemas.microsoft.com/office/drawing/2014/main" id="{92CF7792-522D-4065-A392-668A30C141CF}"/>
                </a:ext>
              </a:extLst>
            </p:cNvPr>
            <p:cNvSpPr>
              <a:spLocks noChangeArrowheads="1"/>
            </p:cNvSpPr>
            <p:nvPr/>
          </p:nvSpPr>
          <p:spPr bwMode="auto">
            <a:xfrm>
              <a:off x="9089109" y="1028273"/>
              <a:ext cx="1296000" cy="711200"/>
            </a:xfrm>
            <a:prstGeom prst="chevron">
              <a:avLst>
                <a:gd name="adj" fmla="val 24074"/>
              </a:avLst>
            </a:prstGeom>
            <a:grpFill/>
            <a:ln>
              <a:solidFill>
                <a:schemeClr val="bg1"/>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FFFFFF"/>
                  </a:solidFill>
                  <a:effectLst/>
                  <a:uLnTx/>
                  <a:uFillTx/>
                  <a:latin typeface="Arial"/>
                  <a:ea typeface="Batang" charset="0"/>
                  <a:cs typeface="+mn-cs"/>
                </a:rPr>
                <a:t>CR Execution</a:t>
              </a:r>
            </a:p>
          </p:txBody>
        </p:sp>
        <p:sp>
          <p:nvSpPr>
            <p:cNvPr id="23" name="AutoShape 30">
              <a:extLst>
                <a:ext uri="{FF2B5EF4-FFF2-40B4-BE49-F238E27FC236}">
                  <a16:creationId xmlns:a16="http://schemas.microsoft.com/office/drawing/2014/main" id="{AD1740CD-29C5-4375-B2AF-BCB8881055E7}"/>
                </a:ext>
              </a:extLst>
            </p:cNvPr>
            <p:cNvSpPr>
              <a:spLocks noChangeArrowheads="1"/>
            </p:cNvSpPr>
            <p:nvPr/>
          </p:nvSpPr>
          <p:spPr bwMode="auto">
            <a:xfrm>
              <a:off x="4668242" y="1028273"/>
              <a:ext cx="1296000" cy="711200"/>
            </a:xfrm>
            <a:prstGeom prst="chevron">
              <a:avLst>
                <a:gd name="adj" fmla="val 24048"/>
              </a:avLst>
            </a:prstGeom>
            <a:grpFill/>
            <a:ln>
              <a:solidFill>
                <a:schemeClr val="bg1"/>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FFFFFF"/>
                  </a:solidFill>
                  <a:effectLst/>
                  <a:uLnTx/>
                  <a:uFillTx/>
                  <a:latin typeface="Arial"/>
                  <a:ea typeface="Batang" charset="0"/>
                  <a:cs typeface="+mn-cs"/>
                </a:rPr>
                <a:t>CCB Review &amp; Decisions</a:t>
              </a:r>
            </a:p>
          </p:txBody>
        </p:sp>
        <p:cxnSp>
          <p:nvCxnSpPr>
            <p:cNvPr id="24" name="AutoShape 37">
              <a:extLst>
                <a:ext uri="{FF2B5EF4-FFF2-40B4-BE49-F238E27FC236}">
                  <a16:creationId xmlns:a16="http://schemas.microsoft.com/office/drawing/2014/main" id="{B3E95567-0F5E-434D-AB75-113CAEDB87A4}"/>
                </a:ext>
              </a:extLst>
            </p:cNvPr>
            <p:cNvCxnSpPr>
              <a:cxnSpLocks noChangeShapeType="1"/>
              <a:stCxn id="20" idx="3"/>
              <a:endCxn id="23" idx="1"/>
            </p:cNvCxnSpPr>
            <p:nvPr/>
          </p:nvCxnSpPr>
          <p:spPr bwMode="auto">
            <a:xfrm>
              <a:off x="4490989" y="1383873"/>
              <a:ext cx="348282" cy="0"/>
            </a:xfrm>
            <a:prstGeom prst="straightConnector1">
              <a:avLst/>
            </a:prstGeom>
            <a:grpFill/>
            <a:ln>
              <a:solidFill>
                <a:schemeClr val="bg1"/>
              </a:solidFill>
              <a:headEnd/>
              <a:tailEnd type="triangle" w="med" len="med"/>
            </a:ln>
            <a:extLst/>
          </p:spPr>
          <p:style>
            <a:lnRef idx="2">
              <a:schemeClr val="accent1"/>
            </a:lnRef>
            <a:fillRef idx="1">
              <a:schemeClr val="lt1"/>
            </a:fillRef>
            <a:effectRef idx="0">
              <a:schemeClr val="accent1"/>
            </a:effectRef>
            <a:fontRef idx="minor">
              <a:schemeClr val="dk1"/>
            </a:fontRef>
          </p:style>
        </p:cxnSp>
        <p:cxnSp>
          <p:nvCxnSpPr>
            <p:cNvPr id="25" name="AutoShape 38">
              <a:extLst>
                <a:ext uri="{FF2B5EF4-FFF2-40B4-BE49-F238E27FC236}">
                  <a16:creationId xmlns:a16="http://schemas.microsoft.com/office/drawing/2014/main" id="{F4DC5F4E-7DE8-41DC-8A11-2BBAF32CC0DD}"/>
                </a:ext>
              </a:extLst>
            </p:cNvPr>
            <p:cNvCxnSpPr>
              <a:cxnSpLocks noChangeShapeType="1"/>
              <a:stCxn id="23" idx="3"/>
              <a:endCxn id="21" idx="1"/>
            </p:cNvCxnSpPr>
            <p:nvPr/>
          </p:nvCxnSpPr>
          <p:spPr bwMode="auto">
            <a:xfrm>
              <a:off x="5964242" y="1383873"/>
              <a:ext cx="357254" cy="0"/>
            </a:xfrm>
            <a:prstGeom prst="straightConnector1">
              <a:avLst/>
            </a:prstGeom>
            <a:grpFill/>
            <a:ln>
              <a:solidFill>
                <a:schemeClr val="bg1"/>
              </a:solidFill>
              <a:headEnd/>
              <a:tailEnd type="triangle" w="med" len="med"/>
            </a:ln>
            <a:extLst/>
          </p:spPr>
          <p:style>
            <a:lnRef idx="2">
              <a:schemeClr val="accent1"/>
            </a:lnRef>
            <a:fillRef idx="1">
              <a:schemeClr val="lt1"/>
            </a:fillRef>
            <a:effectRef idx="0">
              <a:schemeClr val="accent1"/>
            </a:effectRef>
            <a:fontRef idx="minor">
              <a:schemeClr val="dk1"/>
            </a:fontRef>
          </p:style>
        </p:cxnSp>
        <p:cxnSp>
          <p:nvCxnSpPr>
            <p:cNvPr id="26" name="AutoShape 39">
              <a:extLst>
                <a:ext uri="{FF2B5EF4-FFF2-40B4-BE49-F238E27FC236}">
                  <a16:creationId xmlns:a16="http://schemas.microsoft.com/office/drawing/2014/main" id="{678D8ED7-4D97-40BA-AEC0-9DA780FE2D1C}"/>
                </a:ext>
              </a:extLst>
            </p:cNvPr>
            <p:cNvCxnSpPr>
              <a:cxnSpLocks noChangeShapeType="1"/>
              <a:stCxn id="21" idx="3"/>
              <a:endCxn id="22" idx="1"/>
            </p:cNvCxnSpPr>
            <p:nvPr/>
          </p:nvCxnSpPr>
          <p:spPr bwMode="auto">
            <a:xfrm>
              <a:off x="7446467" y="1383873"/>
              <a:ext cx="1813856" cy="0"/>
            </a:xfrm>
            <a:prstGeom prst="straightConnector1">
              <a:avLst/>
            </a:prstGeom>
            <a:grpFill/>
            <a:ln>
              <a:solidFill>
                <a:schemeClr val="bg1"/>
              </a:solidFill>
              <a:headEnd/>
              <a:tailEnd type="triangle" w="med" len="med"/>
            </a:ln>
            <a:extLst/>
          </p:spPr>
          <p:style>
            <a:lnRef idx="2">
              <a:schemeClr val="accent1"/>
            </a:lnRef>
            <a:fillRef idx="1">
              <a:schemeClr val="lt1"/>
            </a:fillRef>
            <a:effectRef idx="0">
              <a:schemeClr val="accent1"/>
            </a:effectRef>
            <a:fontRef idx="minor">
              <a:schemeClr val="dk1"/>
            </a:fontRef>
          </p:style>
        </p:cxnSp>
        <p:sp>
          <p:nvSpPr>
            <p:cNvPr id="27" name="AutoShape 9">
              <a:extLst>
                <a:ext uri="{FF2B5EF4-FFF2-40B4-BE49-F238E27FC236}">
                  <a16:creationId xmlns:a16="http://schemas.microsoft.com/office/drawing/2014/main" id="{8BA30F2D-4978-4CB7-B312-515E7F01ADBC}"/>
                </a:ext>
              </a:extLst>
            </p:cNvPr>
            <p:cNvSpPr>
              <a:spLocks noChangeArrowheads="1"/>
            </p:cNvSpPr>
            <p:nvPr/>
          </p:nvSpPr>
          <p:spPr bwMode="auto">
            <a:xfrm>
              <a:off x="7613109" y="1028273"/>
              <a:ext cx="1296000" cy="711200"/>
            </a:xfrm>
            <a:prstGeom prst="chevron">
              <a:avLst>
                <a:gd name="adj" fmla="val 24048"/>
              </a:avLst>
            </a:prstGeom>
            <a:grpFill/>
            <a:ln>
              <a:solidFill>
                <a:schemeClr val="bg1"/>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a:ea typeface="Batang" charset="0"/>
                  <a:cs typeface="+mn-cs"/>
                </a:rPr>
                <a:t>CCB Final Decision</a:t>
              </a:r>
              <a:endParaRPr kumimoji="0" lang="en-US" altLang="en-US"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Oval 27">
              <a:extLst>
                <a:ext uri="{FF2B5EF4-FFF2-40B4-BE49-F238E27FC236}">
                  <a16:creationId xmlns:a16="http://schemas.microsoft.com/office/drawing/2014/main" id="{C586A20E-0E43-44FC-8122-D3C3BB8E5C18}"/>
                </a:ext>
              </a:extLst>
            </p:cNvPr>
            <p:cNvSpPr>
              <a:spLocks noChangeAspect="1"/>
            </p:cNvSpPr>
            <p:nvPr/>
          </p:nvSpPr>
          <p:spPr bwMode="auto">
            <a:xfrm>
              <a:off x="3035853" y="811123"/>
              <a:ext cx="360000" cy="360000"/>
            </a:xfrm>
            <a:prstGeom prst="ellipse">
              <a:avLst/>
            </a:prstGeom>
            <a:grp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charset="0"/>
                  <a:ea typeface="+mn-ea"/>
                  <a:cs typeface="+mn-cs"/>
                </a:rPr>
                <a:t>A</a:t>
              </a:r>
            </a:p>
          </p:txBody>
        </p:sp>
        <p:sp>
          <p:nvSpPr>
            <p:cNvPr id="29" name="Oval 28">
              <a:extLst>
                <a:ext uri="{FF2B5EF4-FFF2-40B4-BE49-F238E27FC236}">
                  <a16:creationId xmlns:a16="http://schemas.microsoft.com/office/drawing/2014/main" id="{89996C0E-082E-46DA-B876-AD64F312DF16}"/>
                </a:ext>
              </a:extLst>
            </p:cNvPr>
            <p:cNvSpPr>
              <a:spLocks noChangeAspect="1"/>
            </p:cNvSpPr>
            <p:nvPr/>
          </p:nvSpPr>
          <p:spPr bwMode="auto">
            <a:xfrm>
              <a:off x="4413965" y="811123"/>
              <a:ext cx="360000" cy="360000"/>
            </a:xfrm>
            <a:prstGeom prst="ellipse">
              <a:avLst/>
            </a:prstGeom>
            <a:grp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charset="0"/>
                  <a:ea typeface="+mn-ea"/>
                  <a:cs typeface="+mn-cs"/>
                </a:rPr>
                <a:t>B</a:t>
              </a:r>
            </a:p>
          </p:txBody>
        </p:sp>
        <p:sp>
          <p:nvSpPr>
            <p:cNvPr id="30" name="Oval 29">
              <a:extLst>
                <a:ext uri="{FF2B5EF4-FFF2-40B4-BE49-F238E27FC236}">
                  <a16:creationId xmlns:a16="http://schemas.microsoft.com/office/drawing/2014/main" id="{7EE6B49B-EC4B-4B55-8B6A-02D83B719824}"/>
                </a:ext>
              </a:extLst>
            </p:cNvPr>
            <p:cNvSpPr>
              <a:spLocks noChangeAspect="1"/>
            </p:cNvSpPr>
            <p:nvPr/>
          </p:nvSpPr>
          <p:spPr bwMode="auto">
            <a:xfrm>
              <a:off x="5977087" y="811123"/>
              <a:ext cx="360000" cy="360000"/>
            </a:xfrm>
            <a:prstGeom prst="ellipse">
              <a:avLst/>
            </a:prstGeom>
            <a:grp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charset="0"/>
                  <a:ea typeface="+mn-ea"/>
                  <a:cs typeface="+mn-cs"/>
                </a:rPr>
                <a:t>C</a:t>
              </a:r>
            </a:p>
          </p:txBody>
        </p:sp>
        <p:sp>
          <p:nvSpPr>
            <p:cNvPr id="31" name="Oval 30">
              <a:extLst>
                <a:ext uri="{FF2B5EF4-FFF2-40B4-BE49-F238E27FC236}">
                  <a16:creationId xmlns:a16="http://schemas.microsoft.com/office/drawing/2014/main" id="{DD5CD2DE-8FA8-42D7-AF70-65DFE468AC58}"/>
                </a:ext>
              </a:extLst>
            </p:cNvPr>
            <p:cNvSpPr>
              <a:spLocks noChangeAspect="1"/>
            </p:cNvSpPr>
            <p:nvPr/>
          </p:nvSpPr>
          <p:spPr bwMode="auto">
            <a:xfrm>
              <a:off x="7401697" y="811123"/>
              <a:ext cx="360000" cy="360000"/>
            </a:xfrm>
            <a:prstGeom prst="ellipse">
              <a:avLst/>
            </a:prstGeom>
            <a:grp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charset="0"/>
                  <a:ea typeface="+mn-ea"/>
                  <a:cs typeface="+mn-cs"/>
                </a:rPr>
                <a:t>D</a:t>
              </a:r>
            </a:p>
          </p:txBody>
        </p:sp>
        <p:sp>
          <p:nvSpPr>
            <p:cNvPr id="32" name="Oval 31">
              <a:extLst>
                <a:ext uri="{FF2B5EF4-FFF2-40B4-BE49-F238E27FC236}">
                  <a16:creationId xmlns:a16="http://schemas.microsoft.com/office/drawing/2014/main" id="{0489DEA7-3461-4D74-8831-1D194246E4FB}"/>
                </a:ext>
              </a:extLst>
            </p:cNvPr>
            <p:cNvSpPr>
              <a:spLocks noChangeAspect="1"/>
            </p:cNvSpPr>
            <p:nvPr/>
          </p:nvSpPr>
          <p:spPr bwMode="auto">
            <a:xfrm>
              <a:off x="8915729" y="811123"/>
              <a:ext cx="360000" cy="360000"/>
            </a:xfrm>
            <a:prstGeom prst="ellipse">
              <a:avLst/>
            </a:prstGeom>
            <a:grp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charset="0"/>
                  <a:ea typeface="+mn-ea"/>
                  <a:cs typeface="+mn-cs"/>
                </a:rPr>
                <a:t>E</a:t>
              </a:r>
            </a:p>
          </p:txBody>
        </p:sp>
      </p:grpSp>
    </p:spTree>
    <p:extLst>
      <p:ext uri="{BB962C8B-B14F-4D97-AF65-F5344CB8AC3E}">
        <p14:creationId xmlns:p14="http://schemas.microsoft.com/office/powerpoint/2010/main" val="21891406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AB9647B-995B-4E42-A8C0-C1754BB9AD8B}"/>
              </a:ext>
            </a:extLst>
          </p:cNvPr>
          <p:cNvSpPr/>
          <p:nvPr/>
        </p:nvSpPr>
        <p:spPr bwMode="auto">
          <a:xfrm>
            <a:off x="505916" y="3351813"/>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Ericsson Hilda"/>
                <a:ea typeface="+mn-ea"/>
                <a:cs typeface="+mn-cs"/>
              </a:rPr>
              <a:t>Steps  D &amp; E </a:t>
            </a:r>
            <a:endParaRPr kumimoji="0" lang="en-US" sz="1600" b="0" i="0" u="none" strike="noStrike" kern="1200" cap="none" spc="0" normalizeH="0" baseline="0" noProof="0" dirty="0">
              <a:ln>
                <a:noFill/>
              </a:ln>
              <a:solidFill>
                <a:srgbClr val="FFFFFF"/>
              </a:solidFill>
              <a:effectLst/>
              <a:uLnTx/>
              <a:uFillTx/>
              <a:latin typeface="Ericsson Hilda"/>
              <a:ea typeface="+mn-ea"/>
              <a:cs typeface="+mn-cs"/>
            </a:endParaRPr>
          </a:p>
        </p:txBody>
      </p:sp>
      <p:sp>
        <p:nvSpPr>
          <p:cNvPr id="16" name="Rectangle 15">
            <a:extLst>
              <a:ext uri="{FF2B5EF4-FFF2-40B4-BE49-F238E27FC236}">
                <a16:creationId xmlns:a16="http://schemas.microsoft.com/office/drawing/2014/main" id="{198E8A7D-FE76-4B49-A44B-A625DCA325CC}"/>
              </a:ext>
            </a:extLst>
          </p:cNvPr>
          <p:cNvSpPr/>
          <p:nvPr/>
        </p:nvSpPr>
        <p:spPr bwMode="auto">
          <a:xfrm>
            <a:off x="505916" y="4547732"/>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Ericsson Hilda"/>
                <a:ea typeface="+mn-ea"/>
                <a:cs typeface="+mn-cs"/>
              </a:rPr>
              <a:t>Check List </a:t>
            </a:r>
            <a:endParaRPr kumimoji="0" lang="en-US" sz="1600" b="0" i="0" u="none" strike="noStrike" kern="1200" cap="none" spc="0" normalizeH="0" baseline="0" noProof="0" dirty="0">
              <a:ln>
                <a:noFill/>
              </a:ln>
              <a:solidFill>
                <a:srgbClr val="FFFFFF"/>
              </a:solidFill>
              <a:effectLst/>
              <a:uLnTx/>
              <a:uFillTx/>
              <a:latin typeface="Ericsson Hilda"/>
              <a:ea typeface="+mn-ea"/>
              <a:cs typeface="+mn-cs"/>
            </a:endParaRPr>
          </a:p>
        </p:txBody>
      </p:sp>
      <p:sp>
        <p:nvSpPr>
          <p:cNvPr id="18" name="Rectangle 17">
            <a:extLst>
              <a:ext uri="{FF2B5EF4-FFF2-40B4-BE49-F238E27FC236}">
                <a16:creationId xmlns:a16="http://schemas.microsoft.com/office/drawing/2014/main" id="{728A5B50-4CC3-4774-918E-5C5900256711}"/>
              </a:ext>
            </a:extLst>
          </p:cNvPr>
          <p:cNvSpPr/>
          <p:nvPr/>
        </p:nvSpPr>
        <p:spPr bwMode="auto">
          <a:xfrm>
            <a:off x="269877" y="567274"/>
            <a:ext cx="2386238" cy="5614028"/>
          </a:xfrm>
          <a:prstGeom prst="rect">
            <a:avLst/>
          </a:prstGeom>
          <a:noFill/>
          <a:ln w="57150" cap="flat" cmpd="sng" algn="ctr">
            <a:solidFill>
              <a:schemeClr val="accent5"/>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Ericsson Hilda"/>
              <a:ea typeface="+mn-ea"/>
              <a:cs typeface="+mn-cs"/>
            </a:endParaRPr>
          </a:p>
        </p:txBody>
      </p:sp>
      <p:sp>
        <p:nvSpPr>
          <p:cNvPr id="19" name="Rectangle 18">
            <a:extLst>
              <a:ext uri="{FF2B5EF4-FFF2-40B4-BE49-F238E27FC236}">
                <a16:creationId xmlns:a16="http://schemas.microsoft.com/office/drawing/2014/main" id="{D61E2896-8229-4237-975B-BB8B3777CBEB}"/>
              </a:ext>
            </a:extLst>
          </p:cNvPr>
          <p:cNvSpPr/>
          <p:nvPr/>
        </p:nvSpPr>
        <p:spPr bwMode="auto">
          <a:xfrm>
            <a:off x="505916" y="2155894"/>
            <a:ext cx="1963108" cy="962526"/>
          </a:xfrm>
          <a:prstGeom prst="rect">
            <a:avLst/>
          </a:prstGeom>
          <a:solidFill>
            <a:schemeClr val="accent5"/>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Ericsson Hilda"/>
                <a:ea typeface="+mn-ea"/>
                <a:cs typeface="+mn-cs"/>
              </a:rPr>
              <a:t>Steps A, B &amp; C </a:t>
            </a:r>
            <a:endParaRPr kumimoji="0" lang="en-US" sz="1600" b="0" i="0" u="none" strike="noStrike" kern="1200" cap="none" spc="0" normalizeH="0" baseline="0" noProof="0" dirty="0">
              <a:ln>
                <a:noFill/>
              </a:ln>
              <a:solidFill>
                <a:srgbClr val="FF3232"/>
              </a:solidFill>
              <a:effectLst/>
              <a:uLnTx/>
              <a:uFillTx/>
              <a:latin typeface="Ericsson Hilda"/>
              <a:ea typeface="+mn-ea"/>
              <a:cs typeface="+mn-cs"/>
            </a:endParaRPr>
          </a:p>
        </p:txBody>
      </p:sp>
      <p:sp>
        <p:nvSpPr>
          <p:cNvPr id="3" name="Rectangle 2">
            <a:extLst>
              <a:ext uri="{FF2B5EF4-FFF2-40B4-BE49-F238E27FC236}">
                <a16:creationId xmlns:a16="http://schemas.microsoft.com/office/drawing/2014/main" id="{2AFE6A04-2BED-4644-ACC2-027A476EF2F6}"/>
              </a:ext>
            </a:extLst>
          </p:cNvPr>
          <p:cNvSpPr/>
          <p:nvPr/>
        </p:nvSpPr>
        <p:spPr bwMode="auto">
          <a:xfrm>
            <a:off x="2913924" y="0"/>
            <a:ext cx="9278076" cy="6858000"/>
          </a:xfrm>
          <a:prstGeom prst="rect">
            <a:avLst/>
          </a:prstGeom>
          <a:solidFill>
            <a:schemeClr val="bg1"/>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fontAlgn="base">
              <a:spcBef>
                <a:spcPct val="50000"/>
              </a:spcBef>
              <a:spcAft>
                <a:spcPct val="0"/>
              </a:spcAf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a:ln>
                <a:noFill/>
              </a:ln>
              <a:solidFill>
                <a:schemeClr val="bg1"/>
              </a:solidFill>
              <a:effectLst/>
              <a:latin typeface="+mn-lt"/>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a:ln>
                <a:noFill/>
              </a:ln>
              <a:solidFill>
                <a:schemeClr val="bg1"/>
              </a:solidFill>
              <a:effectLst/>
              <a:latin typeface="+mn-lt"/>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p:txBody>
      </p:sp>
      <p:sp>
        <p:nvSpPr>
          <p:cNvPr id="36" name="TextBox 35">
            <a:extLst>
              <a:ext uri="{FF2B5EF4-FFF2-40B4-BE49-F238E27FC236}">
                <a16:creationId xmlns:a16="http://schemas.microsoft.com/office/drawing/2014/main" id="{61F9FF38-58D9-4353-ABC8-D9D7C3A91A4F}"/>
              </a:ext>
            </a:extLst>
          </p:cNvPr>
          <p:cNvSpPr txBox="1"/>
          <p:nvPr/>
        </p:nvSpPr>
        <p:spPr bwMode="auto">
          <a:xfrm>
            <a:off x="1044525" y="899266"/>
            <a:ext cx="1448710" cy="52879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600" dirty="0"/>
              <a:t>Roles &amp; responsibilities  </a:t>
            </a:r>
          </a:p>
        </p:txBody>
      </p:sp>
      <p:sp>
        <p:nvSpPr>
          <p:cNvPr id="35" name="Rectangle 34">
            <a:extLst>
              <a:ext uri="{FF2B5EF4-FFF2-40B4-BE49-F238E27FC236}">
                <a16:creationId xmlns:a16="http://schemas.microsoft.com/office/drawing/2014/main" id="{CC03EC0E-2877-4F7D-84E9-CC96FE0276A6}"/>
              </a:ext>
            </a:extLst>
          </p:cNvPr>
          <p:cNvSpPr/>
          <p:nvPr/>
        </p:nvSpPr>
        <p:spPr bwMode="auto">
          <a:xfrm>
            <a:off x="3110155" y="303838"/>
            <a:ext cx="8811968" cy="155680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dirty="0">
              <a:solidFill>
                <a:schemeClr val="bg1">
                  <a:lumMod val="50000"/>
                </a:schemeClr>
              </a:solidFill>
            </a:endParaRPr>
          </a:p>
        </p:txBody>
      </p:sp>
      <p:grpSp>
        <p:nvGrpSpPr>
          <p:cNvPr id="37" name="Group 36">
            <a:extLst>
              <a:ext uri="{FF2B5EF4-FFF2-40B4-BE49-F238E27FC236}">
                <a16:creationId xmlns:a16="http://schemas.microsoft.com/office/drawing/2014/main" id="{4583BFCC-CEB0-4243-897C-35470C5D2A15}"/>
              </a:ext>
            </a:extLst>
          </p:cNvPr>
          <p:cNvGrpSpPr/>
          <p:nvPr/>
        </p:nvGrpSpPr>
        <p:grpSpPr>
          <a:xfrm>
            <a:off x="3511066" y="449748"/>
            <a:ext cx="7699729" cy="1104006"/>
            <a:chOff x="2531807" y="787783"/>
            <a:chExt cx="7159515" cy="953721"/>
          </a:xfrm>
        </p:grpSpPr>
        <p:cxnSp>
          <p:nvCxnSpPr>
            <p:cNvPr id="38" name="AutoShape 39">
              <a:extLst>
                <a:ext uri="{FF2B5EF4-FFF2-40B4-BE49-F238E27FC236}">
                  <a16:creationId xmlns:a16="http://schemas.microsoft.com/office/drawing/2014/main" id="{5ADF4E5A-0FC1-4455-A356-A9A470416A41}"/>
                </a:ext>
              </a:extLst>
            </p:cNvPr>
            <p:cNvCxnSpPr>
              <a:cxnSpLocks noChangeShapeType="1"/>
              <a:stCxn id="39" idx="3"/>
              <a:endCxn id="43" idx="1"/>
            </p:cNvCxnSpPr>
            <p:nvPr/>
          </p:nvCxnSpPr>
          <p:spPr bwMode="auto">
            <a:xfrm flipV="1">
              <a:off x="4015436" y="1377362"/>
              <a:ext cx="4551100" cy="8543"/>
            </a:xfrm>
            <a:prstGeom prst="straightConnector1">
              <a:avLst/>
            </a:prstGeom>
            <a:ln>
              <a:solidFill>
                <a:schemeClr val="accent5"/>
              </a:solidFill>
              <a:headEnd/>
              <a:tailEnd type="triangle" w="med" len="med"/>
            </a:ln>
            <a:extLst/>
          </p:spPr>
          <p:style>
            <a:lnRef idx="2">
              <a:schemeClr val="accent1"/>
            </a:lnRef>
            <a:fillRef idx="1">
              <a:schemeClr val="lt1"/>
            </a:fillRef>
            <a:effectRef idx="0">
              <a:schemeClr val="accent1"/>
            </a:effectRef>
            <a:fontRef idx="minor">
              <a:schemeClr val="dk1"/>
            </a:fontRef>
          </p:style>
        </p:cxnSp>
        <p:sp>
          <p:nvSpPr>
            <p:cNvPr id="39" name="AutoShape 9">
              <a:extLst>
                <a:ext uri="{FF2B5EF4-FFF2-40B4-BE49-F238E27FC236}">
                  <a16:creationId xmlns:a16="http://schemas.microsoft.com/office/drawing/2014/main" id="{5133D2F5-DD5C-4BAF-B767-C13BE777472C}"/>
                </a:ext>
              </a:extLst>
            </p:cNvPr>
            <p:cNvSpPr>
              <a:spLocks noChangeArrowheads="1"/>
            </p:cNvSpPr>
            <p:nvPr/>
          </p:nvSpPr>
          <p:spPr bwMode="auto">
            <a:xfrm>
              <a:off x="2719436" y="1030304"/>
              <a:ext cx="1296000" cy="711200"/>
            </a:xfrm>
            <a:prstGeom prst="chevron">
              <a:avLst>
                <a:gd name="adj" fmla="val 24048"/>
              </a:avLst>
            </a:prstGeom>
            <a:solidFill>
              <a:schemeClr val="accent5"/>
            </a:solidFill>
            <a:ln>
              <a:solidFill>
                <a:schemeClr val="accent5"/>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a:ea typeface="Batang" charset="0"/>
                  <a:cs typeface="+mn-cs"/>
                </a:rPr>
                <a:t>CR Analysis &amp; Submission</a:t>
              </a:r>
              <a:endParaRPr kumimoji="0" lang="en-US" altLang="en-US"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AutoShape 10">
              <a:extLst>
                <a:ext uri="{FF2B5EF4-FFF2-40B4-BE49-F238E27FC236}">
                  <a16:creationId xmlns:a16="http://schemas.microsoft.com/office/drawing/2014/main" id="{4F25F5A6-DAC1-402F-99C8-4A5E0BFBC760}"/>
                </a:ext>
              </a:extLst>
            </p:cNvPr>
            <p:cNvSpPr>
              <a:spLocks noChangeArrowheads="1"/>
            </p:cNvSpPr>
            <p:nvPr/>
          </p:nvSpPr>
          <p:spPr bwMode="auto">
            <a:xfrm>
              <a:off x="5479369" y="1029856"/>
              <a:ext cx="1296000" cy="711200"/>
            </a:xfrm>
            <a:prstGeom prst="chevron">
              <a:avLst>
                <a:gd name="adj" fmla="val 24074"/>
              </a:avLst>
            </a:prstGeom>
            <a:solidFill>
              <a:schemeClr val="accent5"/>
            </a:solidFill>
            <a:ln>
              <a:solidFill>
                <a:schemeClr val="accent5"/>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FFFFFF"/>
                  </a:solidFill>
                  <a:effectLst/>
                  <a:uLnTx/>
                  <a:uFillTx/>
                  <a:latin typeface="Arial"/>
                  <a:ea typeface="Batang" charset="0"/>
                  <a:cs typeface="+mn-cs"/>
                </a:rPr>
                <a:t>CCB Review &amp; </a:t>
              </a:r>
              <a:r>
                <a:rPr kumimoji="0" lang="en-US" altLang="ko-KR" sz="1100" b="0" i="0" u="none" strike="noStrike" kern="1200" cap="none" spc="0" normalizeH="0" baseline="0" noProof="0" dirty="0" err="1">
                  <a:ln>
                    <a:noFill/>
                  </a:ln>
                  <a:solidFill>
                    <a:srgbClr val="FFFFFF"/>
                  </a:solidFill>
                  <a:effectLst/>
                  <a:uLnTx/>
                  <a:uFillTx/>
                  <a:latin typeface="Arial"/>
                  <a:ea typeface="Batang" charset="0"/>
                  <a:cs typeface="+mn-cs"/>
                </a:rPr>
                <a:t>Decisons</a:t>
              </a:r>
              <a:endParaRPr kumimoji="0" lang="en-US" altLang="ko-KR" sz="1100" b="0" i="0" u="none" strike="noStrike" kern="1200" cap="none" spc="0" normalizeH="0" baseline="0" noProof="0" dirty="0">
                <a:ln>
                  <a:noFill/>
                </a:ln>
                <a:solidFill>
                  <a:srgbClr val="FFFFFF"/>
                </a:solidFill>
                <a:effectLst/>
                <a:uLnTx/>
                <a:uFillTx/>
                <a:latin typeface="Arial"/>
                <a:ea typeface="Batang" charset="0"/>
                <a:cs typeface="+mn-cs"/>
              </a:endParaRPr>
            </a:p>
          </p:txBody>
        </p:sp>
        <p:sp>
          <p:nvSpPr>
            <p:cNvPr id="41" name="Oval 40">
              <a:extLst>
                <a:ext uri="{FF2B5EF4-FFF2-40B4-BE49-F238E27FC236}">
                  <a16:creationId xmlns:a16="http://schemas.microsoft.com/office/drawing/2014/main" id="{8F5048F0-0A65-4568-8497-08BCA94F4EA2}"/>
                </a:ext>
              </a:extLst>
            </p:cNvPr>
            <p:cNvSpPr>
              <a:spLocks noChangeAspect="1"/>
            </p:cNvSpPr>
            <p:nvPr/>
          </p:nvSpPr>
          <p:spPr bwMode="auto">
            <a:xfrm>
              <a:off x="2531807" y="841761"/>
              <a:ext cx="360000" cy="36000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Arial"/>
                  <a:ea typeface="+mn-ea"/>
                  <a:cs typeface="+mn-cs"/>
                </a:rPr>
                <a:t>A</a:t>
              </a:r>
              <a:endParaRPr kumimoji="0" lang="en-GB" sz="20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42" name="Oval 41">
              <a:extLst>
                <a:ext uri="{FF2B5EF4-FFF2-40B4-BE49-F238E27FC236}">
                  <a16:creationId xmlns:a16="http://schemas.microsoft.com/office/drawing/2014/main" id="{35015E2B-2988-4D26-8A3D-0C1F470B73D4}"/>
                </a:ext>
              </a:extLst>
            </p:cNvPr>
            <p:cNvSpPr>
              <a:spLocks noChangeAspect="1"/>
            </p:cNvSpPr>
            <p:nvPr/>
          </p:nvSpPr>
          <p:spPr bwMode="auto">
            <a:xfrm>
              <a:off x="5299369" y="802240"/>
              <a:ext cx="360000" cy="36000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charset="0"/>
                  <a:ea typeface="+mn-ea"/>
                  <a:cs typeface="+mn-cs"/>
                </a:rPr>
                <a:t>B</a:t>
              </a:r>
            </a:p>
          </p:txBody>
        </p:sp>
        <p:sp>
          <p:nvSpPr>
            <p:cNvPr id="43" name="AutoShape 10">
              <a:extLst>
                <a:ext uri="{FF2B5EF4-FFF2-40B4-BE49-F238E27FC236}">
                  <a16:creationId xmlns:a16="http://schemas.microsoft.com/office/drawing/2014/main" id="{C255E3B6-3BF3-4A55-8FE5-4A414F338CD1}"/>
                </a:ext>
              </a:extLst>
            </p:cNvPr>
            <p:cNvSpPr>
              <a:spLocks noChangeArrowheads="1"/>
            </p:cNvSpPr>
            <p:nvPr/>
          </p:nvSpPr>
          <p:spPr bwMode="auto">
            <a:xfrm>
              <a:off x="8395322" y="1021761"/>
              <a:ext cx="1296000" cy="711200"/>
            </a:xfrm>
            <a:prstGeom prst="chevron">
              <a:avLst>
                <a:gd name="adj" fmla="val 24074"/>
              </a:avLst>
            </a:prstGeom>
            <a:solidFill>
              <a:schemeClr val="accent5"/>
            </a:solidFill>
            <a:ln>
              <a:solidFill>
                <a:schemeClr val="accent5"/>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ko-KR" sz="1100" b="0" i="0" u="none" strike="noStrike" kern="1200" cap="none" spc="0" normalizeH="0" baseline="0" noProof="0" dirty="0">
                  <a:ln>
                    <a:noFill/>
                  </a:ln>
                  <a:solidFill>
                    <a:srgbClr val="FFFFFF"/>
                  </a:solidFill>
                  <a:effectLst/>
                  <a:uLnTx/>
                  <a:uFillTx/>
                  <a:latin typeface="Arial"/>
                  <a:ea typeface="Batang" charset="0"/>
                  <a:cs typeface="+mn-cs"/>
                </a:rPr>
                <a:t>Propose CR to customer</a:t>
              </a:r>
            </a:p>
          </p:txBody>
        </p:sp>
        <p:sp>
          <p:nvSpPr>
            <p:cNvPr id="44" name="Oval 43">
              <a:extLst>
                <a:ext uri="{FF2B5EF4-FFF2-40B4-BE49-F238E27FC236}">
                  <a16:creationId xmlns:a16="http://schemas.microsoft.com/office/drawing/2014/main" id="{B46B811F-9473-4464-A286-3F252691CF2F}"/>
                </a:ext>
              </a:extLst>
            </p:cNvPr>
            <p:cNvSpPr>
              <a:spLocks noChangeAspect="1"/>
            </p:cNvSpPr>
            <p:nvPr/>
          </p:nvSpPr>
          <p:spPr bwMode="auto">
            <a:xfrm>
              <a:off x="8215322" y="787783"/>
              <a:ext cx="360000" cy="36000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Arial"/>
                  <a:ea typeface="+mn-ea"/>
                  <a:cs typeface="+mn-cs"/>
                </a:rPr>
                <a:t>C</a:t>
              </a:r>
              <a:endParaRPr kumimoji="0" lang="en-GB" sz="2000" b="0" i="0" u="none" strike="noStrike" kern="1200" cap="none" spc="0" normalizeH="0" baseline="0" noProof="0" dirty="0">
                <a:ln>
                  <a:noFill/>
                </a:ln>
                <a:solidFill>
                  <a:srgbClr val="FFFFFF"/>
                </a:solidFill>
                <a:effectLst/>
                <a:uLnTx/>
                <a:uFillTx/>
                <a:latin typeface="Arial" charset="0"/>
                <a:ea typeface="+mn-ea"/>
                <a:cs typeface="+mn-cs"/>
              </a:endParaRPr>
            </a:p>
          </p:txBody>
        </p:sp>
      </p:grpSp>
      <p:graphicFrame>
        <p:nvGraphicFramePr>
          <p:cNvPr id="61" name="Content Placeholder 7">
            <a:extLst>
              <a:ext uri="{FF2B5EF4-FFF2-40B4-BE49-F238E27FC236}">
                <a16:creationId xmlns:a16="http://schemas.microsoft.com/office/drawing/2014/main" id="{5DB4C92C-671D-4693-83D4-84770CB696BD}"/>
              </a:ext>
            </a:extLst>
          </p:cNvPr>
          <p:cNvGraphicFramePr>
            <a:graphicFrameLocks/>
          </p:cNvGraphicFramePr>
          <p:nvPr>
            <p:extLst>
              <p:ext uri="{D42A27DB-BD31-4B8C-83A1-F6EECF244321}">
                <p14:modId xmlns:p14="http://schemas.microsoft.com/office/powerpoint/2010/main" val="3441280227"/>
              </p:ext>
            </p:extLst>
          </p:nvPr>
        </p:nvGraphicFramePr>
        <p:xfrm>
          <a:off x="3110155" y="2166288"/>
          <a:ext cx="8818606" cy="3726180"/>
        </p:xfrm>
        <a:graphic>
          <a:graphicData uri="http://schemas.openxmlformats.org/drawingml/2006/table">
            <a:tbl>
              <a:tblPr firstCol="1" bandCol="1">
                <a:tableStyleId>{74C1A8A3-306A-4EB7-A6B1-4F7E0EB9C5D6}</a:tableStyleId>
              </a:tblPr>
              <a:tblGrid>
                <a:gridCol w="963703">
                  <a:extLst>
                    <a:ext uri="{9D8B030D-6E8A-4147-A177-3AD203B41FA5}">
                      <a16:colId xmlns:a16="http://schemas.microsoft.com/office/drawing/2014/main" val="20000"/>
                    </a:ext>
                  </a:extLst>
                </a:gridCol>
                <a:gridCol w="1912745">
                  <a:extLst>
                    <a:ext uri="{9D8B030D-6E8A-4147-A177-3AD203B41FA5}">
                      <a16:colId xmlns:a16="http://schemas.microsoft.com/office/drawing/2014/main" val="20001"/>
                    </a:ext>
                  </a:extLst>
                </a:gridCol>
                <a:gridCol w="2971079">
                  <a:extLst>
                    <a:ext uri="{9D8B030D-6E8A-4147-A177-3AD203B41FA5}">
                      <a16:colId xmlns:a16="http://schemas.microsoft.com/office/drawing/2014/main" val="20002"/>
                    </a:ext>
                  </a:extLst>
                </a:gridCol>
                <a:gridCol w="2971079">
                  <a:extLst>
                    <a:ext uri="{9D8B030D-6E8A-4147-A177-3AD203B41FA5}">
                      <a16:colId xmlns:a16="http://schemas.microsoft.com/office/drawing/2014/main" val="20003"/>
                    </a:ext>
                  </a:extLst>
                </a:gridCol>
              </a:tblGrid>
              <a:tr h="581381">
                <a:tc>
                  <a:txBody>
                    <a:bodyPr/>
                    <a:lstStyle/>
                    <a:p>
                      <a:pPr marL="0" indent="0" algn="l">
                        <a:buFont typeface="Arial" panose="020B0604020202020204" pitchFamily="34" charset="0"/>
                        <a:buNone/>
                      </a:pPr>
                      <a:r>
                        <a:rPr lang="en-US" sz="1200" dirty="0"/>
                        <a:t>KAM / ACR</a:t>
                      </a:r>
                    </a:p>
                  </a:txBody>
                  <a:tcPr anchor="ctr"/>
                </a:tc>
                <a:tc>
                  <a:txBody>
                    <a:bodyPr/>
                    <a:lstStyle/>
                    <a:p>
                      <a:pPr marL="171450" indent="-171450">
                        <a:buFont typeface="Arial" panose="020B0604020202020204" pitchFamily="34" charset="0"/>
                        <a:buChar char="•"/>
                      </a:pPr>
                      <a:r>
                        <a:rPr lang="en-US" sz="1050" dirty="0"/>
                        <a:t>N/A</a:t>
                      </a:r>
                    </a:p>
                  </a:txBody>
                  <a:tcPr anchor="ctr"/>
                </a:tc>
                <a:tc>
                  <a:txBody>
                    <a:bodyPr/>
                    <a:lstStyle/>
                    <a:p>
                      <a:pPr marL="171450" indent="-171450">
                        <a:buFont typeface="Arial" panose="020B0604020202020204" pitchFamily="34" charset="0"/>
                        <a:buChar char="•"/>
                      </a:pPr>
                      <a:r>
                        <a:rPr lang="en-US" sz="1050" dirty="0"/>
                        <a:t>Define if it should be External</a:t>
                      </a:r>
                      <a:r>
                        <a:rPr lang="en-US" sz="1050" baseline="0" dirty="0"/>
                        <a:t> / Internal, and Billable / Non-billable</a:t>
                      </a:r>
                    </a:p>
                    <a:p>
                      <a:pPr marL="171450" indent="-171450">
                        <a:buFont typeface="Arial" panose="020B0604020202020204" pitchFamily="34" charset="0"/>
                        <a:buChar char="•"/>
                      </a:pPr>
                      <a:r>
                        <a:rPr lang="en-US" sz="1050" dirty="0"/>
                        <a:t>Lead in Commercial Analysis</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Recommend</a:t>
                      </a:r>
                      <a:r>
                        <a:rPr lang="en-US" sz="1050" baseline="0" dirty="0"/>
                        <a:t> </a:t>
                      </a:r>
                      <a:r>
                        <a:rPr lang="en-US" sz="1050" dirty="0"/>
                        <a:t>Negotiation strategy (how do we justify)</a:t>
                      </a:r>
                    </a:p>
                    <a:p>
                      <a:pPr marL="171450" indent="-171450">
                        <a:buFont typeface="Arial" panose="020B0604020202020204" pitchFamily="34" charset="0"/>
                        <a:buChar char="•"/>
                      </a:pPr>
                      <a:r>
                        <a:rPr lang="en-US" sz="1050" dirty="0"/>
                        <a:t>Communication </a:t>
                      </a:r>
                      <a:r>
                        <a:rPr lang="en-US" sz="1050" baseline="0" dirty="0"/>
                        <a:t> approach towards the customer (level)</a:t>
                      </a:r>
                    </a:p>
                    <a:p>
                      <a:pPr marL="171450" indent="-171450">
                        <a:buFont typeface="Arial" panose="020B0604020202020204" pitchFamily="34" charset="0"/>
                        <a:buChar char="•"/>
                      </a:pPr>
                      <a:r>
                        <a:rPr lang="en-US" sz="1050" baseline="0" dirty="0"/>
                        <a:t>Finalize Price in the “CR Form” submission</a:t>
                      </a:r>
                    </a:p>
                  </a:txBody>
                  <a:tcPr anchor="ctr"/>
                </a:tc>
                <a:extLst>
                  <a:ext uri="{0D108BD9-81ED-4DB2-BD59-A6C34878D82A}">
                    <a16:rowId xmlns:a16="http://schemas.microsoft.com/office/drawing/2014/main" val="10000"/>
                  </a:ext>
                </a:extLst>
              </a:tr>
              <a:tr h="6202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CFR / COM</a:t>
                      </a:r>
                    </a:p>
                    <a:p>
                      <a:pPr algn="l"/>
                      <a:endParaRPr lang="en-US" sz="1200" dirty="0"/>
                    </a:p>
                  </a:txBody>
                  <a:tcPr anchor="ctr"/>
                </a:tc>
                <a:tc>
                  <a:txBody>
                    <a:bodyPr/>
                    <a:lstStyle/>
                    <a:p>
                      <a:pPr marL="171450" indent="-171450">
                        <a:buFont typeface="Arial" panose="020B0604020202020204" pitchFamily="34" charset="0"/>
                        <a:buChar char="•"/>
                      </a:pPr>
                      <a:r>
                        <a:rPr lang="en-US" sz="1050" dirty="0"/>
                        <a:t>N/A</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In absence of dedicated</a:t>
                      </a:r>
                      <a:r>
                        <a:rPr lang="en-US" sz="1050" baseline="0" dirty="0"/>
                        <a:t> </a:t>
                      </a:r>
                      <a:r>
                        <a:rPr lang="en-US" sz="1050" dirty="0"/>
                        <a:t>Contract</a:t>
                      </a:r>
                      <a:r>
                        <a:rPr lang="en-US" sz="1050" baseline="0" dirty="0"/>
                        <a:t> Manager), arrange fortnightly CCB meeting and assume other responsibilities of </a:t>
                      </a:r>
                      <a:r>
                        <a:rPr lang="en-US" sz="1050" dirty="0"/>
                        <a:t>Contract</a:t>
                      </a:r>
                      <a:r>
                        <a:rPr lang="en-US" sz="1050" baseline="0" dirty="0"/>
                        <a:t> Manage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t>Refer the CRs raised by CPMs to the CCB</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t>Lead in Operational &amp; Risk Analysis</a:t>
                      </a:r>
                      <a:endParaRPr lang="en-US" sz="1050" dirty="0"/>
                    </a:p>
                  </a:txBody>
                  <a:tcPr anchor="ctr"/>
                </a:tc>
                <a:tc>
                  <a:txBody>
                    <a:bodyPr/>
                    <a:lstStyle/>
                    <a:p>
                      <a:pPr marL="171450" indent="-171450">
                        <a:buFont typeface="Arial" panose="020B0604020202020204" pitchFamily="34" charset="0"/>
                        <a:buChar char="•"/>
                      </a:pPr>
                      <a:r>
                        <a:rPr lang="en-US" sz="1200" dirty="0"/>
                        <a:t>Approve</a:t>
                      </a:r>
                      <a:r>
                        <a:rPr lang="en-US" sz="1050" baseline="0" dirty="0"/>
                        <a:t> </a:t>
                      </a:r>
                      <a:r>
                        <a:rPr lang="en-US" sz="1050" dirty="0"/>
                        <a:t>the  “CR</a:t>
                      </a:r>
                      <a:r>
                        <a:rPr lang="en-US" sz="1050" baseline="0" dirty="0"/>
                        <a:t>“  for submission from  cost and scope perspective</a:t>
                      </a:r>
                      <a:endParaRPr lang="en-US" sz="1050" dirty="0"/>
                    </a:p>
                  </a:txBody>
                  <a:tcPr anchor="ctr"/>
                </a:tc>
                <a:extLst>
                  <a:ext uri="{0D108BD9-81ED-4DB2-BD59-A6C34878D82A}">
                    <a16:rowId xmlns:a16="http://schemas.microsoft.com/office/drawing/2014/main" val="10001"/>
                  </a:ext>
                </a:extLst>
              </a:tr>
              <a:tr h="430709">
                <a:tc>
                  <a:txBody>
                    <a:bodyPr/>
                    <a:lstStyle/>
                    <a:p>
                      <a:pPr marL="0" indent="0" algn="l">
                        <a:buFont typeface="Arial" panose="020B0604020202020204" pitchFamily="34" charset="0"/>
                        <a:buNone/>
                      </a:pPr>
                      <a:endParaRPr lang="en-US" sz="1200" dirty="0"/>
                    </a:p>
                    <a:p>
                      <a:pPr marL="0" indent="0" algn="l">
                        <a:buFont typeface="Arial" panose="020B0604020202020204" pitchFamily="34" charset="0"/>
                        <a:buNone/>
                      </a:pPr>
                      <a:r>
                        <a:rPr lang="en-US" sz="1200" dirty="0"/>
                        <a:t>CSR / SA</a:t>
                      </a:r>
                    </a:p>
                    <a:p>
                      <a:pPr algn="l"/>
                      <a:endParaRPr lang="en-US" sz="1200" dirty="0"/>
                    </a:p>
                  </a:txBody>
                  <a:tcPr anchor="ctr"/>
                </a:tc>
                <a:tc>
                  <a:txBody>
                    <a:bodyPr/>
                    <a:lstStyle/>
                    <a:p>
                      <a:pPr marL="171450" indent="-171450">
                        <a:buFont typeface="Arial" panose="020B0604020202020204" pitchFamily="34" charset="0"/>
                        <a:buChar char="•"/>
                      </a:pPr>
                      <a:r>
                        <a:rPr lang="en-US" sz="1050" dirty="0"/>
                        <a:t>As defined</a:t>
                      </a:r>
                      <a:r>
                        <a:rPr lang="en-US" sz="1050" baseline="0" dirty="0"/>
                        <a:t> in PROPS-C</a:t>
                      </a:r>
                    </a:p>
                    <a:p>
                      <a:pPr marL="171450" indent="-171450">
                        <a:buFont typeface="Arial" panose="020B0604020202020204" pitchFamily="34" charset="0"/>
                        <a:buChar char="•"/>
                      </a:pPr>
                      <a:r>
                        <a:rPr lang="en-US" sz="1050" dirty="0"/>
                        <a:t>Support CPM in Technical Analysis</a:t>
                      </a:r>
                      <a:r>
                        <a:rPr lang="en-US" sz="1050" baseline="0" dirty="0"/>
                        <a:t> (Global Chronos).</a:t>
                      </a:r>
                      <a:endParaRPr lang="en-US" sz="1050" dirty="0"/>
                    </a:p>
                  </a:txBody>
                  <a:tcPr anchor="ctr"/>
                </a:tc>
                <a:tc>
                  <a:txBody>
                    <a:bodyPr/>
                    <a:lstStyle/>
                    <a:p>
                      <a:pPr marL="171450" indent="-171450">
                        <a:buFont typeface="Arial" panose="020B0604020202020204" pitchFamily="34" charset="0"/>
                        <a:buChar char="•"/>
                      </a:pPr>
                      <a:r>
                        <a:rPr lang="en-US" sz="1050" baseline="0" dirty="0"/>
                        <a:t>Lead in Technical Analysis</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Approve</a:t>
                      </a:r>
                      <a:r>
                        <a:rPr lang="en-US" sz="1050" baseline="0" dirty="0"/>
                        <a:t> t</a:t>
                      </a:r>
                      <a:r>
                        <a:rPr lang="en-US" sz="1050" dirty="0"/>
                        <a:t>he  “CR</a:t>
                      </a:r>
                      <a:r>
                        <a:rPr lang="en-US" sz="1050" baseline="0" dirty="0"/>
                        <a:t>“ for submission from  solutions perspective</a:t>
                      </a:r>
                      <a:endParaRPr lang="en-US" sz="1050" dirty="0"/>
                    </a:p>
                  </a:txBody>
                  <a:tcPr anchor="ctr"/>
                </a:tc>
                <a:extLst>
                  <a:ext uri="{0D108BD9-81ED-4DB2-BD59-A6C34878D82A}">
                    <a16:rowId xmlns:a16="http://schemas.microsoft.com/office/drawing/2014/main" val="10002"/>
                  </a:ext>
                </a:extLst>
              </a:tr>
              <a:tr h="3723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Contract</a:t>
                      </a:r>
                      <a:r>
                        <a:rPr lang="en-US" sz="1200" baseline="0" dirty="0"/>
                        <a:t> Manager</a:t>
                      </a:r>
                      <a:endParaRPr lang="en-US" sz="1200" dirty="0"/>
                    </a:p>
                  </a:txBody>
                  <a:tcPr anchor="ctr"/>
                </a:tc>
                <a:tc>
                  <a:txBody>
                    <a:bodyPr/>
                    <a:lstStyle/>
                    <a:p>
                      <a:pPr marL="171450" indent="-171450">
                        <a:buFont typeface="Arial" panose="020B0604020202020204" pitchFamily="34" charset="0"/>
                        <a:buChar char="•"/>
                      </a:pPr>
                      <a:r>
                        <a:rPr lang="en-US" sz="1050" dirty="0"/>
                        <a:t>Support</a:t>
                      </a:r>
                      <a:r>
                        <a:rPr lang="en-US" sz="1050" baseline="0" dirty="0"/>
                        <a:t> CPM on request</a:t>
                      </a:r>
                      <a:endParaRPr lang="en-US" sz="1050" dirty="0"/>
                    </a:p>
                  </a:txBody>
                  <a:tcPr anchor="ctr"/>
                </a:tc>
                <a:tc>
                  <a:txBody>
                    <a:bodyPr/>
                    <a:lstStyle/>
                    <a:p>
                      <a:pPr marL="171450" indent="-171450">
                        <a:buFont typeface="Arial" panose="020B0604020202020204" pitchFamily="34" charset="0"/>
                        <a:buChar char="•"/>
                      </a:pPr>
                      <a:r>
                        <a:rPr lang="en-US" sz="1050" dirty="0"/>
                        <a:t>Arrange</a:t>
                      </a:r>
                      <a:r>
                        <a:rPr lang="en-US" sz="1050" baseline="0" dirty="0"/>
                        <a:t> fortnightly CCB meeting</a:t>
                      </a:r>
                    </a:p>
                    <a:p>
                      <a:pPr marL="171450" indent="-171450">
                        <a:buFont typeface="Arial" panose="020B0604020202020204" pitchFamily="34" charset="0"/>
                        <a:buChar char="•"/>
                      </a:pPr>
                      <a:r>
                        <a:rPr lang="en-US" sz="1050" baseline="0" dirty="0"/>
                        <a:t>Lead in Contractual Analysis</a:t>
                      </a:r>
                    </a:p>
                    <a:p>
                      <a:pPr marL="171450" indent="-171450">
                        <a:buFont typeface="Arial" panose="020B0604020202020204" pitchFamily="34" charset="0"/>
                        <a:buChar char="•"/>
                      </a:pPr>
                      <a:r>
                        <a:rPr lang="en-US" sz="1050" baseline="0" dirty="0"/>
                        <a:t>Update MoM &amp; Checklist.</a:t>
                      </a:r>
                      <a:endParaRPr lang="en-US" sz="1050" dirty="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Approve</a:t>
                      </a:r>
                      <a:r>
                        <a:rPr lang="en-US" sz="1050" baseline="0" dirty="0"/>
                        <a:t> </a:t>
                      </a:r>
                      <a:r>
                        <a:rPr lang="en-US" sz="1050" dirty="0"/>
                        <a:t>the  “CR</a:t>
                      </a:r>
                      <a:r>
                        <a:rPr lang="en-US" sz="1050" baseline="0" dirty="0"/>
                        <a:t>“ for submission from  T&amp;C’s perspective</a:t>
                      </a:r>
                      <a:endParaRPr lang="en-US" sz="1050" dirty="0"/>
                    </a:p>
                  </a:txBody>
                  <a:tcPr anchor="ctr"/>
                </a:tc>
                <a:extLst>
                  <a:ext uri="{0D108BD9-81ED-4DB2-BD59-A6C34878D82A}">
                    <a16:rowId xmlns:a16="http://schemas.microsoft.com/office/drawing/2014/main" val="10003"/>
                  </a:ext>
                </a:extLst>
              </a:tr>
              <a:tr h="430709">
                <a:tc>
                  <a:txBody>
                    <a:bodyPr/>
                    <a:lstStyle/>
                    <a:p>
                      <a:pPr algn="l"/>
                      <a:r>
                        <a:rPr lang="en-US" sz="1200" dirty="0"/>
                        <a:t> CPM</a:t>
                      </a:r>
                    </a:p>
                  </a:txBody>
                  <a:tcPr anchor="ctr"/>
                </a:tc>
                <a:tc>
                  <a:txBody>
                    <a:bodyPr/>
                    <a:lstStyle/>
                    <a:p>
                      <a:pPr marL="171450" indent="-171450">
                        <a:buFont typeface="Arial" panose="020B0604020202020204" pitchFamily="34" charset="0"/>
                        <a:buChar char="•"/>
                      </a:pPr>
                      <a:r>
                        <a:rPr lang="en-US" sz="1050" dirty="0"/>
                        <a:t>As</a:t>
                      </a:r>
                      <a:r>
                        <a:rPr lang="en-US" sz="1050" baseline="0" dirty="0"/>
                        <a:t> defined in PROPS-C.</a:t>
                      </a:r>
                    </a:p>
                    <a:p>
                      <a:pPr marL="171450" indent="-171450">
                        <a:buFont typeface="Arial" panose="020B0604020202020204" pitchFamily="34" charset="0"/>
                        <a:buChar char="•"/>
                      </a:pPr>
                      <a:r>
                        <a:rPr lang="en-US" sz="1050" baseline="0" dirty="0"/>
                        <a:t>Submit CRs to CCB</a:t>
                      </a:r>
                    </a:p>
                    <a:p>
                      <a:pPr marL="171450" indent="-171450">
                        <a:buFont typeface="Arial" panose="020B0604020202020204" pitchFamily="34" charset="0"/>
                        <a:buChar char="•"/>
                      </a:pPr>
                      <a:r>
                        <a:rPr lang="en-US" sz="1050" dirty="0">
                          <a:hlinkClick r:id="rId3"/>
                        </a:rPr>
                        <a:t>CR</a:t>
                      </a:r>
                      <a:r>
                        <a:rPr lang="en-US" sz="1050" baseline="0" dirty="0">
                          <a:hlinkClick r:id="rId3"/>
                        </a:rPr>
                        <a:t> Handling in Global Chronos</a:t>
                      </a:r>
                      <a:endParaRPr lang="en-US" sz="1050" dirty="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N/A</a:t>
                      </a:r>
                    </a:p>
                  </a:txBody>
                  <a:tcPr anchor="ctr"/>
                </a:tc>
                <a:tc>
                  <a:txBody>
                    <a:bodyPr/>
                    <a:lstStyle/>
                    <a:p>
                      <a:pPr marL="171450" indent="-171450">
                        <a:buFont typeface="Arial" panose="020B0604020202020204" pitchFamily="34" charset="0"/>
                        <a:buChar char="•"/>
                      </a:pPr>
                      <a:r>
                        <a:rPr lang="en-US" sz="1050" dirty="0"/>
                        <a:t>Can be appointed </a:t>
                      </a:r>
                      <a:r>
                        <a:rPr lang="en-US" sz="1050" baseline="0" dirty="0"/>
                        <a:t> by the KAM to submit CR to the operations counterpart for customer approval</a:t>
                      </a:r>
                      <a:endParaRPr lang="en-US" sz="1050" dirty="0"/>
                    </a:p>
                  </a:txBody>
                  <a:tcPr anchor="ctr"/>
                </a:tc>
                <a:extLst>
                  <a:ext uri="{0D108BD9-81ED-4DB2-BD59-A6C34878D82A}">
                    <a16:rowId xmlns:a16="http://schemas.microsoft.com/office/drawing/2014/main" val="10004"/>
                  </a:ext>
                </a:extLst>
              </a:tr>
            </a:tbl>
          </a:graphicData>
        </a:graphic>
      </p:graphicFrame>
      <p:sp>
        <p:nvSpPr>
          <p:cNvPr id="62" name="Freeform 3">
            <a:extLst>
              <a:ext uri="{FF2B5EF4-FFF2-40B4-BE49-F238E27FC236}">
                <a16:creationId xmlns:a16="http://schemas.microsoft.com/office/drawing/2014/main" id="{5869EDB8-061A-4B58-9FCA-2CA01382B8B2}"/>
              </a:ext>
            </a:extLst>
          </p:cNvPr>
          <p:cNvSpPr>
            <a:spLocks noChangeAspect="1" noEditPoints="1"/>
          </p:cNvSpPr>
          <p:nvPr/>
        </p:nvSpPr>
        <p:spPr bwMode="auto">
          <a:xfrm>
            <a:off x="473782" y="882072"/>
            <a:ext cx="490260" cy="640080"/>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Tree>
    <p:extLst>
      <p:ext uri="{BB962C8B-B14F-4D97-AF65-F5344CB8AC3E}">
        <p14:creationId xmlns:p14="http://schemas.microsoft.com/office/powerpoint/2010/main" val="2906885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AB9647B-995B-4E42-A8C0-C1754BB9AD8B}"/>
              </a:ext>
            </a:extLst>
          </p:cNvPr>
          <p:cNvSpPr/>
          <p:nvPr/>
        </p:nvSpPr>
        <p:spPr bwMode="auto">
          <a:xfrm>
            <a:off x="505916" y="3351813"/>
            <a:ext cx="1963108" cy="962526"/>
          </a:xfrm>
          <a:prstGeom prst="rect">
            <a:avLst/>
          </a:prstGeom>
          <a:solidFill>
            <a:schemeClr val="accent5"/>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Ericsson Hilda"/>
                <a:ea typeface="+mn-ea"/>
                <a:cs typeface="+mn-cs"/>
              </a:rPr>
              <a:t>Steps  D &amp; E </a:t>
            </a:r>
            <a:endParaRPr kumimoji="0" lang="en-US" sz="1600" b="0" i="0" u="none" strike="noStrike" kern="1200" cap="none" spc="0" normalizeH="0" baseline="0" noProof="0" dirty="0">
              <a:ln>
                <a:noFill/>
              </a:ln>
              <a:solidFill>
                <a:srgbClr val="FFFFFF"/>
              </a:solidFill>
              <a:effectLst/>
              <a:uLnTx/>
              <a:uFillTx/>
              <a:latin typeface="Ericsson Hilda"/>
              <a:ea typeface="+mn-ea"/>
              <a:cs typeface="+mn-cs"/>
            </a:endParaRPr>
          </a:p>
        </p:txBody>
      </p:sp>
      <p:sp>
        <p:nvSpPr>
          <p:cNvPr id="16" name="Rectangle 15">
            <a:extLst>
              <a:ext uri="{FF2B5EF4-FFF2-40B4-BE49-F238E27FC236}">
                <a16:creationId xmlns:a16="http://schemas.microsoft.com/office/drawing/2014/main" id="{198E8A7D-FE76-4B49-A44B-A625DCA325CC}"/>
              </a:ext>
            </a:extLst>
          </p:cNvPr>
          <p:cNvSpPr/>
          <p:nvPr/>
        </p:nvSpPr>
        <p:spPr bwMode="auto">
          <a:xfrm>
            <a:off x="505916" y="4547732"/>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Ericsson Hilda"/>
                <a:ea typeface="+mn-ea"/>
                <a:cs typeface="+mn-cs"/>
              </a:rPr>
              <a:t>Check List </a:t>
            </a:r>
            <a:endParaRPr kumimoji="0" lang="en-US" sz="1600" b="0" i="0" u="none" strike="noStrike" kern="1200" cap="none" spc="0" normalizeH="0" baseline="0" noProof="0" dirty="0">
              <a:ln>
                <a:noFill/>
              </a:ln>
              <a:solidFill>
                <a:srgbClr val="FFFFFF"/>
              </a:solidFill>
              <a:effectLst/>
              <a:uLnTx/>
              <a:uFillTx/>
              <a:latin typeface="Ericsson Hilda"/>
              <a:ea typeface="+mn-ea"/>
              <a:cs typeface="+mn-cs"/>
            </a:endParaRPr>
          </a:p>
        </p:txBody>
      </p:sp>
      <p:sp>
        <p:nvSpPr>
          <p:cNvPr id="18" name="Rectangle 17">
            <a:extLst>
              <a:ext uri="{FF2B5EF4-FFF2-40B4-BE49-F238E27FC236}">
                <a16:creationId xmlns:a16="http://schemas.microsoft.com/office/drawing/2014/main" id="{728A5B50-4CC3-4774-918E-5C5900256711}"/>
              </a:ext>
            </a:extLst>
          </p:cNvPr>
          <p:cNvSpPr/>
          <p:nvPr/>
        </p:nvSpPr>
        <p:spPr bwMode="auto">
          <a:xfrm>
            <a:off x="269877" y="567274"/>
            <a:ext cx="2386238" cy="5614028"/>
          </a:xfrm>
          <a:prstGeom prst="rect">
            <a:avLst/>
          </a:prstGeom>
          <a:noFill/>
          <a:ln w="57150" cap="flat" cmpd="sng" algn="ctr">
            <a:solidFill>
              <a:schemeClr val="accent5"/>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Ericsson Hilda"/>
              <a:ea typeface="+mn-ea"/>
              <a:cs typeface="+mn-cs"/>
            </a:endParaRPr>
          </a:p>
        </p:txBody>
      </p:sp>
      <p:sp>
        <p:nvSpPr>
          <p:cNvPr id="19" name="Rectangle 18">
            <a:extLst>
              <a:ext uri="{FF2B5EF4-FFF2-40B4-BE49-F238E27FC236}">
                <a16:creationId xmlns:a16="http://schemas.microsoft.com/office/drawing/2014/main" id="{D61E2896-8229-4237-975B-BB8B3777CBEB}"/>
              </a:ext>
            </a:extLst>
          </p:cNvPr>
          <p:cNvSpPr/>
          <p:nvPr/>
        </p:nvSpPr>
        <p:spPr bwMode="auto">
          <a:xfrm>
            <a:off x="505916" y="2155894"/>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Ericsson Hilda"/>
                <a:ea typeface="+mn-ea"/>
                <a:cs typeface="+mn-cs"/>
              </a:rPr>
              <a:t>Steps A, B &amp; C </a:t>
            </a:r>
            <a:endParaRPr kumimoji="0" lang="en-US" sz="1600" b="0" i="0" u="none" strike="noStrike" kern="1200" cap="none" spc="0" normalizeH="0" baseline="0" noProof="0" dirty="0">
              <a:ln>
                <a:noFill/>
              </a:ln>
              <a:solidFill>
                <a:srgbClr val="FF3232"/>
              </a:solidFill>
              <a:effectLst/>
              <a:uLnTx/>
              <a:uFillTx/>
              <a:latin typeface="Ericsson Hilda"/>
              <a:ea typeface="+mn-ea"/>
              <a:cs typeface="+mn-cs"/>
            </a:endParaRPr>
          </a:p>
        </p:txBody>
      </p:sp>
      <p:sp>
        <p:nvSpPr>
          <p:cNvPr id="3" name="Rectangle 2">
            <a:extLst>
              <a:ext uri="{FF2B5EF4-FFF2-40B4-BE49-F238E27FC236}">
                <a16:creationId xmlns:a16="http://schemas.microsoft.com/office/drawing/2014/main" id="{2AFE6A04-2BED-4644-ACC2-027A476EF2F6}"/>
              </a:ext>
            </a:extLst>
          </p:cNvPr>
          <p:cNvSpPr/>
          <p:nvPr/>
        </p:nvSpPr>
        <p:spPr bwMode="auto">
          <a:xfrm>
            <a:off x="2913924" y="0"/>
            <a:ext cx="9278076" cy="6858000"/>
          </a:xfrm>
          <a:prstGeom prst="rect">
            <a:avLst/>
          </a:prstGeom>
          <a:solidFill>
            <a:schemeClr val="bg1"/>
          </a:solidFill>
          <a:ln w="1270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fontAlgn="base">
              <a:spcBef>
                <a:spcPct val="50000"/>
              </a:spcBef>
              <a:spcAft>
                <a:spcPct val="0"/>
              </a:spcAf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a:ln>
                <a:noFill/>
              </a:ln>
              <a:solidFill>
                <a:schemeClr val="bg1"/>
              </a:solidFill>
              <a:effectLst/>
              <a:latin typeface="+mn-lt"/>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kumimoji="0" lang="en-US" sz="1200" b="0" i="0" u="none" strike="noStrike" cap="none" normalizeH="0" baseline="0" dirty="0">
              <a:ln>
                <a:noFill/>
              </a:ln>
              <a:solidFill>
                <a:schemeClr val="bg1"/>
              </a:solidFill>
              <a:effectLst/>
              <a:latin typeface="+mn-lt"/>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a:p>
            <a:pPr marL="0" marR="0" indent="0" algn="l" defTabSz="914400" rtl="0" eaLnBrk="1" fontAlgn="base" latinLnBrk="0" hangingPunct="1">
              <a:lnSpc>
                <a:spcPct val="100000"/>
              </a:lnSpc>
              <a:spcBef>
                <a:spcPct val="50000"/>
              </a:spcBef>
              <a:spcAft>
                <a:spcPct val="0"/>
              </a:spcAft>
              <a:buClrTx/>
              <a:buSzTx/>
              <a:buFontTx/>
              <a:buNone/>
              <a:tabLst/>
            </a:pPr>
            <a:endParaRPr lang="en-US" sz="1200" dirty="0">
              <a:solidFill>
                <a:schemeClr val="bg1"/>
              </a:solidFill>
            </a:endParaRPr>
          </a:p>
        </p:txBody>
      </p:sp>
      <p:sp>
        <p:nvSpPr>
          <p:cNvPr id="36" name="TextBox 35">
            <a:extLst>
              <a:ext uri="{FF2B5EF4-FFF2-40B4-BE49-F238E27FC236}">
                <a16:creationId xmlns:a16="http://schemas.microsoft.com/office/drawing/2014/main" id="{61F9FF38-58D9-4353-ABC8-D9D7C3A91A4F}"/>
              </a:ext>
            </a:extLst>
          </p:cNvPr>
          <p:cNvSpPr txBox="1"/>
          <p:nvPr/>
        </p:nvSpPr>
        <p:spPr bwMode="auto">
          <a:xfrm>
            <a:off x="973721" y="937715"/>
            <a:ext cx="1448710" cy="52879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600" dirty="0"/>
              <a:t>Roles &amp; Responsibilities  </a:t>
            </a:r>
          </a:p>
        </p:txBody>
      </p:sp>
      <p:sp>
        <p:nvSpPr>
          <p:cNvPr id="62" name="Freeform 3">
            <a:extLst>
              <a:ext uri="{FF2B5EF4-FFF2-40B4-BE49-F238E27FC236}">
                <a16:creationId xmlns:a16="http://schemas.microsoft.com/office/drawing/2014/main" id="{5869EDB8-061A-4B58-9FCA-2CA01382B8B2}"/>
              </a:ext>
            </a:extLst>
          </p:cNvPr>
          <p:cNvSpPr>
            <a:spLocks noChangeAspect="1" noEditPoints="1"/>
          </p:cNvSpPr>
          <p:nvPr/>
        </p:nvSpPr>
        <p:spPr bwMode="auto">
          <a:xfrm>
            <a:off x="473782" y="882072"/>
            <a:ext cx="490260" cy="640080"/>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aphicFrame>
        <p:nvGraphicFramePr>
          <p:cNvPr id="20" name="Content Placeholder 7">
            <a:extLst>
              <a:ext uri="{FF2B5EF4-FFF2-40B4-BE49-F238E27FC236}">
                <a16:creationId xmlns:a16="http://schemas.microsoft.com/office/drawing/2014/main" id="{5DC829BA-27ED-4409-9B16-35B7ACD320F6}"/>
              </a:ext>
            </a:extLst>
          </p:cNvPr>
          <p:cNvGraphicFramePr>
            <a:graphicFrameLocks/>
          </p:cNvGraphicFramePr>
          <p:nvPr>
            <p:extLst>
              <p:ext uri="{D42A27DB-BD31-4B8C-83A1-F6EECF244321}">
                <p14:modId xmlns:p14="http://schemas.microsoft.com/office/powerpoint/2010/main" val="3732550666"/>
              </p:ext>
            </p:extLst>
          </p:nvPr>
        </p:nvGraphicFramePr>
        <p:xfrm>
          <a:off x="3355925" y="2103886"/>
          <a:ext cx="8154368" cy="3775228"/>
        </p:xfrm>
        <a:graphic>
          <a:graphicData uri="http://schemas.openxmlformats.org/drawingml/2006/table">
            <a:tbl>
              <a:tblPr firstCol="1" bandCol="1">
                <a:tableStyleId>{74C1A8A3-306A-4EB7-A6B1-4F7E0EB9C5D6}</a:tableStyleId>
              </a:tblPr>
              <a:tblGrid>
                <a:gridCol w="1561912">
                  <a:extLst>
                    <a:ext uri="{9D8B030D-6E8A-4147-A177-3AD203B41FA5}">
                      <a16:colId xmlns:a16="http://schemas.microsoft.com/office/drawing/2014/main" val="20000"/>
                    </a:ext>
                  </a:extLst>
                </a:gridCol>
                <a:gridCol w="3296228">
                  <a:extLst>
                    <a:ext uri="{9D8B030D-6E8A-4147-A177-3AD203B41FA5}">
                      <a16:colId xmlns:a16="http://schemas.microsoft.com/office/drawing/2014/main" val="20001"/>
                    </a:ext>
                  </a:extLst>
                </a:gridCol>
                <a:gridCol w="3296228">
                  <a:extLst>
                    <a:ext uri="{9D8B030D-6E8A-4147-A177-3AD203B41FA5}">
                      <a16:colId xmlns:a16="http://schemas.microsoft.com/office/drawing/2014/main" val="20002"/>
                    </a:ext>
                  </a:extLst>
                </a:gridCol>
              </a:tblGrid>
              <a:tr h="1028565">
                <a:tc>
                  <a:txBody>
                    <a:bodyPr/>
                    <a:lstStyle/>
                    <a:p>
                      <a:pPr marL="0" indent="0" algn="l">
                        <a:buFont typeface="Arial" panose="020B0604020202020204" pitchFamily="34" charset="0"/>
                        <a:buNone/>
                      </a:pPr>
                      <a:r>
                        <a:rPr lang="en-US" sz="1400" dirty="0"/>
                        <a:t>KAM / ACR</a:t>
                      </a:r>
                    </a:p>
                  </a:txBody>
                  <a:tcPr anchor="ctr"/>
                </a:tc>
                <a:tc>
                  <a:txBody>
                    <a:bodyPr/>
                    <a:lstStyle/>
                    <a:p>
                      <a:pPr marL="171450" indent="-171450">
                        <a:buFont typeface="Arial" panose="020B0604020202020204" pitchFamily="34" charset="0"/>
                        <a:buChar char="•"/>
                      </a:pPr>
                      <a:r>
                        <a:rPr lang="en-US" sz="1100" dirty="0"/>
                        <a:t>Final decision maker on </a:t>
                      </a:r>
                      <a:r>
                        <a:rPr lang="en-US" sz="1100" baseline="0" dirty="0"/>
                        <a:t>approval/rejection based on customer feedback</a:t>
                      </a:r>
                    </a:p>
                    <a:p>
                      <a:pPr marL="171450" indent="-171450">
                        <a:buFont typeface="Arial" panose="020B0604020202020204" pitchFamily="34" charset="0"/>
                        <a:buChar char="•"/>
                      </a:pPr>
                      <a:r>
                        <a:rPr lang="en-US" sz="1100" baseline="0" dirty="0"/>
                        <a:t>Counter sign “Change Request” form if  bilateral agreement.</a:t>
                      </a:r>
                    </a:p>
                    <a:p>
                      <a:pPr marL="0" indent="0">
                        <a:buFont typeface="Arial" panose="020B0604020202020204" pitchFamily="34" charset="0"/>
                        <a:buNone/>
                      </a:pPr>
                      <a:endParaRPr lang="en-US" sz="1100" dirty="0"/>
                    </a:p>
                  </a:txBody>
                  <a:tcPr anchor="ctr"/>
                </a:tc>
                <a:tc>
                  <a:txBody>
                    <a:bodyPr/>
                    <a:lstStyle/>
                    <a:p>
                      <a:pPr marL="171450" indent="-171450">
                        <a:buFont typeface="Arial" panose="020B0604020202020204" pitchFamily="34" charset="0"/>
                        <a:buChar char="•"/>
                      </a:pPr>
                      <a:r>
                        <a:rPr lang="en-US" sz="1100" dirty="0"/>
                        <a:t>Send PO to Operations once received by customer for execu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Approve Updated Budget and Project Plan</a:t>
                      </a:r>
                    </a:p>
                    <a:p>
                      <a:pPr marL="171450" indent="-171450">
                        <a:buFont typeface="Arial" panose="020B0604020202020204" pitchFamily="34" charset="0"/>
                        <a:buChar char="•"/>
                      </a:pPr>
                      <a:endParaRPr lang="en-US" sz="1100" dirty="0"/>
                    </a:p>
                  </a:txBody>
                  <a:tcPr anchor="ctr"/>
                </a:tc>
                <a:extLst>
                  <a:ext uri="{0D108BD9-81ED-4DB2-BD59-A6C34878D82A}">
                    <a16:rowId xmlns:a16="http://schemas.microsoft.com/office/drawing/2014/main" val="10000"/>
                  </a:ext>
                </a:extLst>
              </a:tr>
              <a:tr h="4541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t>CFR / COM</a:t>
                      </a:r>
                    </a:p>
                    <a:p>
                      <a:pPr algn="l"/>
                      <a:endParaRPr lang="en-US" sz="1400" dirty="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Validate final offer</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Customer support/Managed Services Impact</a:t>
                      </a:r>
                      <a:r>
                        <a:rPr lang="en-US" sz="1100" baseline="0" dirty="0"/>
                        <a:t>  alignment</a:t>
                      </a:r>
                      <a:endParaRPr lang="en-US" sz="1100" dirty="0"/>
                    </a:p>
                  </a:txBody>
                  <a:tcPr anchor="ctr"/>
                </a:tc>
                <a:extLst>
                  <a:ext uri="{0D108BD9-81ED-4DB2-BD59-A6C34878D82A}">
                    <a16:rowId xmlns:a16="http://schemas.microsoft.com/office/drawing/2014/main" val="10001"/>
                  </a:ext>
                </a:extLst>
              </a:tr>
              <a:tr h="413056">
                <a:tc>
                  <a:txBody>
                    <a:bodyPr/>
                    <a:lstStyle/>
                    <a:p>
                      <a:pPr marL="0" indent="0" algn="l">
                        <a:buFont typeface="Arial" panose="020B0604020202020204" pitchFamily="34" charset="0"/>
                        <a:buNone/>
                      </a:pPr>
                      <a:endParaRPr lang="en-US" sz="1400" dirty="0"/>
                    </a:p>
                    <a:p>
                      <a:pPr marL="0" indent="0" algn="l">
                        <a:buFont typeface="Arial" panose="020B0604020202020204" pitchFamily="34" charset="0"/>
                        <a:buNone/>
                      </a:pPr>
                      <a:r>
                        <a:rPr lang="en-US" sz="1400" dirty="0"/>
                        <a:t>CSR / SA</a:t>
                      </a:r>
                    </a:p>
                    <a:p>
                      <a:pPr algn="l"/>
                      <a:endParaRPr lang="en-US" sz="1400" dirty="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Validate final offer</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100" dirty="0"/>
                        <a:t>Update</a:t>
                      </a:r>
                      <a:r>
                        <a:rPr lang="en-US" sz="1100" baseline="0" dirty="0"/>
                        <a:t> solution document</a:t>
                      </a:r>
                      <a:endParaRPr lang="en-US" sz="1100" dirty="0"/>
                    </a:p>
                    <a:p>
                      <a:pPr marL="0" indent="0">
                        <a:buFont typeface="Arial" charset="0"/>
                        <a:buNone/>
                      </a:pPr>
                      <a:endParaRPr lang="en-US" sz="1100" dirty="0"/>
                    </a:p>
                  </a:txBody>
                  <a:tcPr anchor="ctr"/>
                </a:tc>
                <a:extLst>
                  <a:ext uri="{0D108BD9-81ED-4DB2-BD59-A6C34878D82A}">
                    <a16:rowId xmlns:a16="http://schemas.microsoft.com/office/drawing/2014/main" val="10002"/>
                  </a:ext>
                </a:extLst>
              </a:tr>
              <a:tr h="65876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t>Contract</a:t>
                      </a:r>
                      <a:r>
                        <a:rPr lang="en-US" sz="1400" baseline="0" dirty="0"/>
                        <a:t> Manager</a:t>
                      </a:r>
                      <a:endParaRPr lang="en-US" sz="1400" dirty="0"/>
                    </a:p>
                  </a:txBody>
                  <a:tcPr anchor="ctr"/>
                </a:tc>
                <a:tc>
                  <a:txBody>
                    <a:bodyPr/>
                    <a:lstStyle/>
                    <a:p>
                      <a:pPr marL="171450" indent="-171450">
                        <a:buFont typeface="Arial" panose="020B0604020202020204" pitchFamily="34" charset="0"/>
                        <a:buChar char="•"/>
                      </a:pPr>
                      <a:r>
                        <a:rPr lang="en-US" sz="1100" dirty="0"/>
                        <a:t>Update</a:t>
                      </a:r>
                      <a:r>
                        <a:rPr lang="en-US" sz="1100" baseline="0" dirty="0"/>
                        <a:t> Risks in “Commercial and Risk Impact” template. based on counter offer</a:t>
                      </a:r>
                    </a:p>
                    <a:p>
                      <a:pPr marL="171450" indent="-171450">
                        <a:buFont typeface="Arial" panose="020B0604020202020204" pitchFamily="34" charset="0"/>
                        <a:buChar char="•"/>
                      </a:pPr>
                      <a:r>
                        <a:rPr lang="en-US" sz="1100" baseline="0" dirty="0"/>
                        <a:t>T&amp;C feedback if customer counter offers</a:t>
                      </a:r>
                      <a:endParaRPr lang="en-US" sz="1100" dirty="0"/>
                    </a:p>
                  </a:txBody>
                  <a:tcPr anchor="ctr"/>
                </a:tc>
                <a:tc>
                  <a:txBody>
                    <a:bodyPr/>
                    <a:lstStyle/>
                    <a:p>
                      <a:pPr marL="0" indent="0">
                        <a:buFont typeface="Arial" panose="020B0604020202020204" pitchFamily="34" charset="0"/>
                        <a:buNone/>
                      </a:pPr>
                      <a:endParaRPr lang="en-US" sz="110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a:t>Necessary contract amendment update</a:t>
                      </a:r>
                      <a:endParaRPr lang="en-US" sz="1100" dirty="0"/>
                    </a:p>
                    <a:p>
                      <a:pPr marL="171450" indent="-171450">
                        <a:buFont typeface="Arial" panose="020B0604020202020204" pitchFamily="34" charset="0"/>
                        <a:buChar char="•"/>
                      </a:pPr>
                      <a:r>
                        <a:rPr lang="en-US" sz="1100" dirty="0"/>
                        <a:t>Provide</a:t>
                      </a:r>
                      <a:r>
                        <a:rPr lang="en-US" sz="1100" baseline="0" dirty="0"/>
                        <a:t> on-going guidance contractually </a:t>
                      </a:r>
                    </a:p>
                  </a:txBody>
                  <a:tcPr anchor="ctr"/>
                </a:tc>
                <a:extLst>
                  <a:ext uri="{0D108BD9-81ED-4DB2-BD59-A6C34878D82A}">
                    <a16:rowId xmlns:a16="http://schemas.microsoft.com/office/drawing/2014/main" val="10003"/>
                  </a:ext>
                </a:extLst>
              </a:tr>
              <a:tr h="624861">
                <a:tc>
                  <a:txBody>
                    <a:bodyPr/>
                    <a:lstStyle/>
                    <a:p>
                      <a:pPr algn="l"/>
                      <a:r>
                        <a:rPr lang="en-US" sz="1400" dirty="0"/>
                        <a:t> CPM</a:t>
                      </a: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N/A</a:t>
                      </a:r>
                    </a:p>
                  </a:txBody>
                  <a:tcPr anchor="ctr"/>
                </a:tc>
                <a:tc>
                  <a:txBody>
                    <a:bodyPr/>
                    <a:lstStyle/>
                    <a:p>
                      <a:pPr marL="171450" indent="-171450">
                        <a:buFont typeface="Arial" panose="020B0604020202020204" pitchFamily="34" charset="0"/>
                        <a:buChar char="•"/>
                      </a:pPr>
                      <a:r>
                        <a:rPr lang="en-US" sz="1100" dirty="0"/>
                        <a:t>Update Budget and Project Pla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Execution of Work Order</a:t>
                      </a:r>
                    </a:p>
                    <a:p>
                      <a:pPr marL="171450" indent="-171450">
                        <a:buFont typeface="Arial" panose="020B0604020202020204" pitchFamily="34" charset="0"/>
                        <a:buChar char="•"/>
                      </a:pPr>
                      <a:endParaRPr lang="en-US" sz="1100" dirty="0"/>
                    </a:p>
                  </a:txBody>
                  <a:tcPr anchor="ctr"/>
                </a:tc>
                <a:extLst>
                  <a:ext uri="{0D108BD9-81ED-4DB2-BD59-A6C34878D82A}">
                    <a16:rowId xmlns:a16="http://schemas.microsoft.com/office/drawing/2014/main" val="10004"/>
                  </a:ext>
                </a:extLst>
              </a:tr>
            </a:tbl>
          </a:graphicData>
        </a:graphic>
      </p:graphicFrame>
      <p:grpSp>
        <p:nvGrpSpPr>
          <p:cNvPr id="7" name="Group 6">
            <a:extLst>
              <a:ext uri="{FF2B5EF4-FFF2-40B4-BE49-F238E27FC236}">
                <a16:creationId xmlns:a16="http://schemas.microsoft.com/office/drawing/2014/main" id="{BB913602-505D-415D-BA02-1DB9A946DF0F}"/>
              </a:ext>
            </a:extLst>
          </p:cNvPr>
          <p:cNvGrpSpPr/>
          <p:nvPr/>
        </p:nvGrpSpPr>
        <p:grpSpPr>
          <a:xfrm>
            <a:off x="3378829" y="503728"/>
            <a:ext cx="5044797" cy="908572"/>
            <a:chOff x="3864312" y="837150"/>
            <a:chExt cx="5044797" cy="908572"/>
          </a:xfrm>
        </p:grpSpPr>
        <p:grpSp>
          <p:nvGrpSpPr>
            <p:cNvPr id="6" name="Group 5">
              <a:extLst>
                <a:ext uri="{FF2B5EF4-FFF2-40B4-BE49-F238E27FC236}">
                  <a16:creationId xmlns:a16="http://schemas.microsoft.com/office/drawing/2014/main" id="{AFBB52FA-68C2-4775-BFA6-8908ECC39CB3}"/>
                </a:ext>
              </a:extLst>
            </p:cNvPr>
            <p:cNvGrpSpPr/>
            <p:nvPr/>
          </p:nvGrpSpPr>
          <p:grpSpPr>
            <a:xfrm>
              <a:off x="4044312" y="1029408"/>
              <a:ext cx="4864797" cy="716314"/>
              <a:chOff x="4044312" y="1029408"/>
              <a:chExt cx="4864797" cy="716314"/>
            </a:xfrm>
          </p:grpSpPr>
          <p:sp>
            <p:nvSpPr>
              <p:cNvPr id="21" name="AutoShape 10">
                <a:extLst>
                  <a:ext uri="{FF2B5EF4-FFF2-40B4-BE49-F238E27FC236}">
                    <a16:creationId xmlns:a16="http://schemas.microsoft.com/office/drawing/2014/main" id="{96EDE0AC-3DE9-4585-9C65-5C203D9A0350}"/>
                  </a:ext>
                </a:extLst>
              </p:cNvPr>
              <p:cNvSpPr>
                <a:spLocks noChangeArrowheads="1"/>
              </p:cNvSpPr>
              <p:nvPr/>
            </p:nvSpPr>
            <p:spPr bwMode="auto">
              <a:xfrm>
                <a:off x="7613109" y="1034522"/>
                <a:ext cx="1296000" cy="711200"/>
              </a:xfrm>
              <a:prstGeom prst="chevron">
                <a:avLst>
                  <a:gd name="adj" fmla="val 24074"/>
                </a:avLst>
              </a:prstGeom>
              <a:solidFill>
                <a:schemeClr val="accent5"/>
              </a:solidFill>
              <a:ln>
                <a:solidFill>
                  <a:schemeClr val="accent5"/>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srgbClr val="FFFFFF"/>
                    </a:solidFill>
                    <a:effectLst/>
                    <a:uLnTx/>
                    <a:uFillTx/>
                    <a:latin typeface="Arial"/>
                    <a:ea typeface="Batang" charset="0"/>
                    <a:cs typeface="+mn-cs"/>
                  </a:rPr>
                  <a:t>CR Execution</a:t>
                </a:r>
              </a:p>
            </p:txBody>
          </p:sp>
          <p:cxnSp>
            <p:nvCxnSpPr>
              <p:cNvPr id="22" name="AutoShape 39">
                <a:extLst>
                  <a:ext uri="{FF2B5EF4-FFF2-40B4-BE49-F238E27FC236}">
                    <a16:creationId xmlns:a16="http://schemas.microsoft.com/office/drawing/2014/main" id="{23E61CFC-9E12-417A-9192-AE1C3C60C331}"/>
                  </a:ext>
                </a:extLst>
              </p:cNvPr>
              <p:cNvCxnSpPr>
                <a:cxnSpLocks noChangeShapeType="1"/>
                <a:stCxn id="23" idx="3"/>
                <a:endCxn id="21" idx="1"/>
              </p:cNvCxnSpPr>
              <p:nvPr/>
            </p:nvCxnSpPr>
            <p:spPr bwMode="auto">
              <a:xfrm>
                <a:off x="5340313" y="1385008"/>
                <a:ext cx="2444011" cy="5114"/>
              </a:xfrm>
              <a:prstGeom prst="straightConnector1">
                <a:avLst/>
              </a:prstGeom>
              <a:ln>
                <a:solidFill>
                  <a:schemeClr val="accent5"/>
                </a:solidFill>
                <a:headEnd/>
                <a:tailEnd type="triangle" w="med" len="med"/>
              </a:ln>
              <a:extLst/>
            </p:spPr>
            <p:style>
              <a:lnRef idx="2">
                <a:schemeClr val="accent1"/>
              </a:lnRef>
              <a:fillRef idx="1">
                <a:schemeClr val="lt1"/>
              </a:fillRef>
              <a:effectRef idx="0">
                <a:schemeClr val="accent1"/>
              </a:effectRef>
              <a:fontRef idx="minor">
                <a:schemeClr val="dk1"/>
              </a:fontRef>
            </p:style>
          </p:cxnSp>
          <p:sp>
            <p:nvSpPr>
              <p:cNvPr id="23" name="AutoShape 9">
                <a:extLst>
                  <a:ext uri="{FF2B5EF4-FFF2-40B4-BE49-F238E27FC236}">
                    <a16:creationId xmlns:a16="http://schemas.microsoft.com/office/drawing/2014/main" id="{84F78DD6-410D-4665-B6B2-5B5C2AE896E9}"/>
                  </a:ext>
                </a:extLst>
              </p:cNvPr>
              <p:cNvSpPr>
                <a:spLocks noChangeArrowheads="1"/>
              </p:cNvSpPr>
              <p:nvPr/>
            </p:nvSpPr>
            <p:spPr bwMode="auto">
              <a:xfrm>
                <a:off x="4044312" y="1029408"/>
                <a:ext cx="1296000" cy="711200"/>
              </a:xfrm>
              <a:prstGeom prst="chevron">
                <a:avLst>
                  <a:gd name="adj" fmla="val 24048"/>
                </a:avLst>
              </a:prstGeom>
              <a:solidFill>
                <a:schemeClr val="accent5"/>
              </a:solidFill>
              <a:ln>
                <a:solidFill>
                  <a:schemeClr val="accent5"/>
                </a:solidFill>
                <a:headEnd/>
                <a:tailEnd/>
              </a:ln>
              <a:extLst/>
            </p:spPr>
            <p:style>
              <a:lnRef idx="2">
                <a:schemeClr val="accent1"/>
              </a:lnRef>
              <a:fillRef idx="1">
                <a:schemeClr val="lt1"/>
              </a:fillRef>
              <a:effectRef idx="0">
                <a:schemeClr val="accent1"/>
              </a:effectRef>
              <a:fontRef idx="minor">
                <a:schemeClr val="dk1"/>
              </a:fontRef>
            </p:style>
            <p:txBody>
              <a:bodyPr lIns="180000" rIns="3600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a:ea typeface="Batang" charset="0"/>
                    <a:cs typeface="+mn-cs"/>
                  </a:rPr>
                  <a:t>CCB Final Decision</a:t>
                </a:r>
                <a:endParaRPr kumimoji="0" lang="en-US" altLang="en-US"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4" name="Oval 23">
              <a:extLst>
                <a:ext uri="{FF2B5EF4-FFF2-40B4-BE49-F238E27FC236}">
                  <a16:creationId xmlns:a16="http://schemas.microsoft.com/office/drawing/2014/main" id="{B14B9267-0F65-4E5C-9318-E4BDC867E0CD}"/>
                </a:ext>
              </a:extLst>
            </p:cNvPr>
            <p:cNvSpPr>
              <a:spLocks noChangeAspect="1"/>
            </p:cNvSpPr>
            <p:nvPr/>
          </p:nvSpPr>
          <p:spPr bwMode="auto">
            <a:xfrm>
              <a:off x="3864312" y="837150"/>
              <a:ext cx="360000" cy="36000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charset="0"/>
                  <a:ea typeface="+mn-ea"/>
                  <a:cs typeface="+mn-cs"/>
                </a:rPr>
                <a:t>D</a:t>
              </a:r>
            </a:p>
          </p:txBody>
        </p:sp>
        <p:sp>
          <p:nvSpPr>
            <p:cNvPr id="25" name="Oval 24">
              <a:extLst>
                <a:ext uri="{FF2B5EF4-FFF2-40B4-BE49-F238E27FC236}">
                  <a16:creationId xmlns:a16="http://schemas.microsoft.com/office/drawing/2014/main" id="{A8FF5C05-0E5C-436E-B06C-F3FA30AB0C91}"/>
                </a:ext>
              </a:extLst>
            </p:cNvPr>
            <p:cNvSpPr>
              <a:spLocks noChangeAspect="1"/>
            </p:cNvSpPr>
            <p:nvPr/>
          </p:nvSpPr>
          <p:spPr bwMode="auto">
            <a:xfrm>
              <a:off x="7433109" y="837150"/>
              <a:ext cx="360000" cy="360000"/>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charset="0"/>
                  <a:ea typeface="+mn-ea"/>
                  <a:cs typeface="+mn-cs"/>
                </a:rPr>
                <a:t>E</a:t>
              </a:r>
            </a:p>
          </p:txBody>
        </p:sp>
      </p:grpSp>
    </p:spTree>
    <p:extLst>
      <p:ext uri="{BB962C8B-B14F-4D97-AF65-F5344CB8AC3E}">
        <p14:creationId xmlns:p14="http://schemas.microsoft.com/office/powerpoint/2010/main" val="3886407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28A5B50-4CC3-4774-918E-5C5900256711}"/>
              </a:ext>
            </a:extLst>
          </p:cNvPr>
          <p:cNvSpPr/>
          <p:nvPr/>
        </p:nvSpPr>
        <p:spPr bwMode="auto">
          <a:xfrm>
            <a:off x="269877" y="567274"/>
            <a:ext cx="2386238" cy="5614028"/>
          </a:xfrm>
          <a:prstGeom prst="rect">
            <a:avLst/>
          </a:prstGeom>
          <a:noFill/>
          <a:ln w="57150" cap="flat" cmpd="sng" algn="ctr">
            <a:solidFill>
              <a:schemeClr val="accent5"/>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Ericsson Hilda"/>
              <a:ea typeface="+mn-ea"/>
              <a:cs typeface="+mn-cs"/>
            </a:endParaRPr>
          </a:p>
        </p:txBody>
      </p:sp>
      <p:sp>
        <p:nvSpPr>
          <p:cNvPr id="22" name="Rectangle 21">
            <a:extLst>
              <a:ext uri="{FF2B5EF4-FFF2-40B4-BE49-F238E27FC236}">
                <a16:creationId xmlns:a16="http://schemas.microsoft.com/office/drawing/2014/main" id="{DB77BD9B-C9DD-4036-8C75-3281900DFFEA}"/>
              </a:ext>
            </a:extLst>
          </p:cNvPr>
          <p:cNvSpPr/>
          <p:nvPr/>
        </p:nvSpPr>
        <p:spPr bwMode="auto">
          <a:xfrm>
            <a:off x="2944517" y="0"/>
            <a:ext cx="9236815" cy="6858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r>
              <a:rPr kumimoji="0" lang="en-US" sz="1200" b="0" i="0" u="none" strike="noStrike" cap="none" normalizeH="0" baseline="0" dirty="0">
                <a:ln>
                  <a:noFill/>
                </a:ln>
                <a:solidFill>
                  <a:schemeClr val="bg1"/>
                </a:solidFill>
                <a:effectLst/>
                <a:latin typeface="+mn-lt"/>
              </a:rPr>
              <a:t> </a:t>
            </a:r>
          </a:p>
          <a:p>
            <a:pPr fontAlgn="base">
              <a:spcBef>
                <a:spcPct val="50000"/>
              </a:spcBef>
              <a:spcAft>
                <a:spcPct val="0"/>
              </a:spcAft>
            </a:pPr>
            <a:endParaRPr kumimoji="0" lang="en-US" sz="1200" b="0" i="0" u="none" strike="noStrike" cap="none" normalizeH="0" baseline="0" dirty="0">
              <a:ln>
                <a:noFill/>
              </a:ln>
              <a:solidFill>
                <a:schemeClr val="bg1"/>
              </a:solidFill>
              <a:effectLst/>
              <a:latin typeface="+mn-lt"/>
            </a:endParaRPr>
          </a:p>
        </p:txBody>
      </p:sp>
      <p:sp>
        <p:nvSpPr>
          <p:cNvPr id="25" name="Rectangle 24">
            <a:extLst>
              <a:ext uri="{FF2B5EF4-FFF2-40B4-BE49-F238E27FC236}">
                <a16:creationId xmlns:a16="http://schemas.microsoft.com/office/drawing/2014/main" id="{E7F88667-CA38-4082-93E6-E3D929A8676C}"/>
              </a:ext>
            </a:extLst>
          </p:cNvPr>
          <p:cNvSpPr/>
          <p:nvPr/>
        </p:nvSpPr>
        <p:spPr bwMode="auto">
          <a:xfrm>
            <a:off x="7367656" y="619833"/>
            <a:ext cx="4653821" cy="56542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en-US" sz="1200" dirty="0">
                <a:solidFill>
                  <a:schemeClr val="bg1"/>
                </a:solidFill>
                <a:ea typeface="Calibri"/>
                <a:cs typeface="Times New Roman"/>
              </a:rPr>
              <a:t>Choose CCB permanent members. – KAM/COM</a:t>
            </a:r>
          </a:p>
          <a:p>
            <a:pPr>
              <a:lnSpc>
                <a:spcPct val="115000"/>
              </a:lnSpc>
              <a:spcAft>
                <a:spcPts val="1000"/>
              </a:spcAft>
            </a:pPr>
            <a:r>
              <a:rPr lang="en-US" sz="1200" dirty="0">
                <a:solidFill>
                  <a:schemeClr val="bg1"/>
                </a:solidFill>
                <a:ea typeface="Calibri"/>
                <a:cs typeface="Times New Roman"/>
              </a:rPr>
              <a:t>Arrange date of first meeting and recurring meetings – KAM/COM</a:t>
            </a:r>
          </a:p>
          <a:p>
            <a:pPr>
              <a:lnSpc>
                <a:spcPct val="115000"/>
              </a:lnSpc>
              <a:spcAft>
                <a:spcPts val="1000"/>
              </a:spcAft>
            </a:pPr>
            <a:r>
              <a:rPr lang="en-US" sz="1200" dirty="0">
                <a:solidFill>
                  <a:schemeClr val="bg1"/>
                </a:solidFill>
                <a:ea typeface="Calibri"/>
                <a:cs typeface="Times New Roman"/>
              </a:rPr>
              <a:t>Carry out review as per Part A of CCB Process. Prepare relevant potential CRs and send to COM for CCB review. Raise awareness in project teams about CRs. – CPM </a:t>
            </a:r>
          </a:p>
        </p:txBody>
      </p:sp>
      <p:sp>
        <p:nvSpPr>
          <p:cNvPr id="30" name="TextBox 29">
            <a:extLst>
              <a:ext uri="{FF2B5EF4-FFF2-40B4-BE49-F238E27FC236}">
                <a16:creationId xmlns:a16="http://schemas.microsoft.com/office/drawing/2014/main" id="{A8FF8576-CFE0-4BF1-96B8-33CA9D398A7C}"/>
              </a:ext>
            </a:extLst>
          </p:cNvPr>
          <p:cNvSpPr txBox="1"/>
          <p:nvPr/>
        </p:nvSpPr>
        <p:spPr bwMode="auto">
          <a:xfrm>
            <a:off x="7005520" y="2810487"/>
            <a:ext cx="2170999" cy="1959955"/>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marL="228600" indent="-228600">
              <a:spcBef>
                <a:spcPts val="100"/>
              </a:spcBef>
              <a:buClr>
                <a:schemeClr val="bg1"/>
              </a:buClr>
              <a:buSzPct val="200000"/>
              <a:buFont typeface="Ericsson Hilda" panose="020B0604020202020204" charset="0"/>
              <a:buChar char="■"/>
            </a:pPr>
            <a:r>
              <a:rPr lang="en-US" sz="1200" dirty="0">
                <a:solidFill>
                  <a:schemeClr val="bg1"/>
                </a:solidFill>
              </a:rPr>
              <a:t>KAM (or account manager delegated by KAM</a:t>
            </a:r>
          </a:p>
          <a:p>
            <a:pPr marL="228600" indent="-228600">
              <a:spcBef>
                <a:spcPts val="100"/>
              </a:spcBef>
              <a:buClr>
                <a:schemeClr val="bg1"/>
              </a:buClr>
              <a:buSzPct val="200000"/>
              <a:buFont typeface="Ericsson Hilda" panose="020B0604020202020204" charset="0"/>
              <a:buChar char="■"/>
            </a:pPr>
            <a:r>
              <a:rPr lang="en-US" sz="1200" dirty="0">
                <a:solidFill>
                  <a:schemeClr val="bg1"/>
                </a:solidFill>
              </a:rPr>
              <a:t>COM/ DS Customer Team Head </a:t>
            </a:r>
            <a:endParaRPr lang="en-US" sz="1000" dirty="0">
              <a:solidFill>
                <a:schemeClr val="bg1"/>
              </a:solidFill>
            </a:endParaRPr>
          </a:p>
          <a:p>
            <a:pPr marL="228600" indent="-228600">
              <a:spcBef>
                <a:spcPts val="100"/>
              </a:spcBef>
              <a:buClr>
                <a:schemeClr val="bg1"/>
              </a:buClr>
              <a:buSzPct val="200000"/>
              <a:buFont typeface="Ericsson Hilda" panose="020B0604020202020204" charset="0"/>
              <a:buChar char="■"/>
            </a:pPr>
            <a:r>
              <a:rPr lang="en-US" sz="1200" dirty="0">
                <a:solidFill>
                  <a:schemeClr val="bg1"/>
                </a:solidFill>
              </a:rPr>
              <a:t>Network CTO/ DS Solution Partner </a:t>
            </a:r>
            <a:endParaRPr lang="en-US" sz="1000" dirty="0">
              <a:solidFill>
                <a:schemeClr val="bg1"/>
              </a:solidFill>
            </a:endParaRPr>
          </a:p>
          <a:p>
            <a:pPr marL="228600" indent="-228600">
              <a:spcBef>
                <a:spcPts val="100"/>
              </a:spcBef>
              <a:buClr>
                <a:schemeClr val="bg1"/>
              </a:buClr>
              <a:buSzPct val="200000"/>
              <a:buFont typeface="Ericsson Hilda" panose="020B0604020202020204" charset="0"/>
              <a:buChar char="■"/>
            </a:pPr>
            <a:r>
              <a:rPr lang="en-US" sz="1200" dirty="0">
                <a:solidFill>
                  <a:schemeClr val="bg1"/>
                </a:solidFill>
              </a:rPr>
              <a:t>Contract Manager</a:t>
            </a:r>
          </a:p>
          <a:p>
            <a:pPr marL="228600" indent="-228600">
              <a:spcBef>
                <a:spcPts val="100"/>
              </a:spcBef>
              <a:buClr>
                <a:schemeClr val="bg1"/>
              </a:buClr>
              <a:buSzPct val="200000"/>
              <a:buFont typeface="Ericsson Hilda" panose="020B0604020202020204" charset="0"/>
              <a:buChar char="■"/>
            </a:pPr>
            <a:r>
              <a:rPr lang="en-US" sz="1200" dirty="0">
                <a:solidFill>
                  <a:schemeClr val="bg1"/>
                </a:solidFill>
              </a:rPr>
              <a:t>MSCOO ( MS)</a:t>
            </a:r>
          </a:p>
          <a:p>
            <a:pPr marL="228600" indent="-228600">
              <a:spcBef>
                <a:spcPts val="100"/>
              </a:spcBef>
              <a:buClr>
                <a:schemeClr val="bg1"/>
              </a:buClr>
              <a:buSzPct val="200000"/>
              <a:buFont typeface="Ericsson Hilda" panose="020B0604020202020204" charset="0"/>
              <a:buChar char="■"/>
            </a:pPr>
            <a:r>
              <a:rPr lang="en-US" sz="1200" dirty="0">
                <a:solidFill>
                  <a:schemeClr val="bg1"/>
                </a:solidFill>
              </a:rPr>
              <a:t>SDM (if CS account)</a:t>
            </a:r>
          </a:p>
          <a:p>
            <a:pPr marL="228600" indent="-228600">
              <a:spcBef>
                <a:spcPts val="100"/>
              </a:spcBef>
              <a:buClr>
                <a:schemeClr val="bg1"/>
              </a:buClr>
              <a:buSzPct val="200000"/>
              <a:buFont typeface="Ericsson Hilda" panose="020B0604020202020204" charset="0"/>
              <a:buChar char="■"/>
            </a:pPr>
            <a:endParaRPr lang="en-US" sz="1200" dirty="0">
              <a:solidFill>
                <a:schemeClr val="bg1"/>
              </a:solidFill>
            </a:endParaRPr>
          </a:p>
        </p:txBody>
      </p:sp>
      <p:sp>
        <p:nvSpPr>
          <p:cNvPr id="31" name="Rectangle 30">
            <a:extLst>
              <a:ext uri="{FF2B5EF4-FFF2-40B4-BE49-F238E27FC236}">
                <a16:creationId xmlns:a16="http://schemas.microsoft.com/office/drawing/2014/main" id="{7099E95D-9F35-497E-A51F-6CA42C4060DC}"/>
              </a:ext>
            </a:extLst>
          </p:cNvPr>
          <p:cNvSpPr/>
          <p:nvPr/>
        </p:nvSpPr>
        <p:spPr bwMode="auto">
          <a:xfrm>
            <a:off x="3238112" y="619833"/>
            <a:ext cx="3094222" cy="5982134"/>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bg2">
                  <a:lumMod val="50000"/>
                </a:schemeClr>
              </a:buClr>
            </a:pPr>
            <a:endParaRPr lang="en-US" sz="1200" dirty="0">
              <a:solidFill>
                <a:schemeClr val="bg2">
                  <a:lumMod val="50000"/>
                </a:schemeClr>
              </a:solidFill>
            </a:endParaRPr>
          </a:p>
        </p:txBody>
      </p:sp>
      <p:sp>
        <p:nvSpPr>
          <p:cNvPr id="32" name="TextBox 31">
            <a:extLst>
              <a:ext uri="{FF2B5EF4-FFF2-40B4-BE49-F238E27FC236}">
                <a16:creationId xmlns:a16="http://schemas.microsoft.com/office/drawing/2014/main" id="{F271F2FE-A976-4BE4-87BE-403370E1FA53}"/>
              </a:ext>
            </a:extLst>
          </p:cNvPr>
          <p:cNvSpPr txBox="1"/>
          <p:nvPr/>
        </p:nvSpPr>
        <p:spPr bwMode="auto">
          <a:xfrm>
            <a:off x="6682248" y="338740"/>
            <a:ext cx="4407945" cy="221018"/>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altLang="en-US" sz="1200" dirty="0">
                <a:solidFill>
                  <a:schemeClr val="bg1"/>
                </a:solidFill>
                <a:latin typeface="Ericsson Capital TT" panose="02000503000000020004" pitchFamily="2" charset="0"/>
              </a:rPr>
              <a:t>Quick Start Checklist before first meeting</a:t>
            </a:r>
            <a:endParaRPr lang="en-US" sz="1200" dirty="0">
              <a:solidFill>
                <a:schemeClr val="bg1"/>
              </a:solidFill>
            </a:endParaRPr>
          </a:p>
        </p:txBody>
      </p:sp>
      <p:sp>
        <p:nvSpPr>
          <p:cNvPr id="39" name="TextBox 38">
            <a:extLst>
              <a:ext uri="{FF2B5EF4-FFF2-40B4-BE49-F238E27FC236}">
                <a16:creationId xmlns:a16="http://schemas.microsoft.com/office/drawing/2014/main" id="{45B2A900-D265-4450-9386-E1A47376273D}"/>
              </a:ext>
            </a:extLst>
          </p:cNvPr>
          <p:cNvSpPr txBox="1"/>
          <p:nvPr/>
        </p:nvSpPr>
        <p:spPr bwMode="auto">
          <a:xfrm>
            <a:off x="6700787" y="2335750"/>
            <a:ext cx="4790786" cy="405683"/>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bg2">
                  <a:lumMod val="50000"/>
                </a:schemeClr>
              </a:buClr>
            </a:pPr>
            <a:endParaRPr lang="en-US" sz="1200" dirty="0">
              <a:solidFill>
                <a:schemeClr val="bg2">
                  <a:lumMod val="50000"/>
                </a:schemeClr>
              </a:solidFill>
            </a:endParaRPr>
          </a:p>
          <a:p>
            <a:r>
              <a:rPr lang="en-US" sz="1200" dirty="0">
                <a:solidFill>
                  <a:schemeClr val="bg1"/>
                </a:solidFill>
              </a:rPr>
              <a:t>CCB core members</a:t>
            </a:r>
            <a:r>
              <a:rPr lang="en-US" sz="1200" dirty="0"/>
              <a:t>: </a:t>
            </a:r>
          </a:p>
        </p:txBody>
      </p:sp>
      <p:sp>
        <p:nvSpPr>
          <p:cNvPr id="41" name="TextBox 40">
            <a:extLst>
              <a:ext uri="{FF2B5EF4-FFF2-40B4-BE49-F238E27FC236}">
                <a16:creationId xmlns:a16="http://schemas.microsoft.com/office/drawing/2014/main" id="{37695025-039B-4E6E-BC58-FC941D7A2B6C}"/>
              </a:ext>
            </a:extLst>
          </p:cNvPr>
          <p:cNvSpPr txBox="1"/>
          <p:nvPr/>
        </p:nvSpPr>
        <p:spPr bwMode="auto">
          <a:xfrm>
            <a:off x="3238112" y="712653"/>
            <a:ext cx="3061910" cy="5432693"/>
          </a:xfrm>
          <a:prstGeom prst="homePlate">
            <a:avLst>
              <a:gd name="adj" fmla="val 33482"/>
            </a:avLst>
          </a:prstGeom>
          <a:solidFill>
            <a:schemeClr val="bg1">
              <a:alpha val="30196"/>
            </a:schemeClr>
          </a:solidFill>
          <a:ln w="9525">
            <a:noFill/>
            <a:miter lim="800000"/>
            <a:headEnd/>
            <a:tailEnd/>
          </a:ln>
        </p:spPr>
        <p:txBody>
          <a:bodyPr vert="horz" wrap="square" lIns="72000" tIns="36000" rIns="0" bIns="0" numCol="1" rtlCol="0" anchor="ctr" anchorCtr="0" compatLnSpc="1">
            <a:prstTxWarp prst="textNoShape">
              <a:avLst/>
            </a:prstTxWarp>
            <a:noAutofit/>
          </a:bodyPr>
          <a:lstStyle/>
          <a:p>
            <a:pPr lvl="0">
              <a:defRPr/>
            </a:pPr>
            <a:r>
              <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rPr>
              <a:t>A centralized EriDoc workgroup has been set up for MMEA Change Control Board 2019</a:t>
            </a:r>
          </a:p>
          <a:p>
            <a:pPr lvl="0">
              <a:defRPr/>
            </a:pPr>
            <a:r>
              <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rPr>
              <a:t>Click on this </a:t>
            </a:r>
            <a:r>
              <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hlinkClick r:id="rId3"/>
              </a:rPr>
              <a:t>link </a:t>
            </a:r>
            <a:endPar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endParaRPr>
          </a:p>
          <a:p>
            <a:pPr lvl="0">
              <a:defRPr/>
            </a:pPr>
            <a:r>
              <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rPr>
              <a:t> </a:t>
            </a:r>
          </a:p>
          <a:p>
            <a:pPr marL="342900" lvl="0" indent="-342900">
              <a:buFont typeface="+mj-lt"/>
              <a:buAutoNum type="alphaUcParenR"/>
              <a:defRPr/>
            </a:pPr>
            <a:r>
              <a:rPr lang="en-US" sz="1000" b="1" dirty="0">
                <a:solidFill>
                  <a:srgbClr val="58585A"/>
                </a:solidFill>
                <a:latin typeface="Calibri" panose="020F0502020204030204" pitchFamily="34" charset="0"/>
                <a:ea typeface="Times New Roman" panose="02020603050405020304" pitchFamily="18" charset="0"/>
                <a:cs typeface="Calibri" panose="020F0502020204030204" pitchFamily="34" charset="0"/>
              </a:rPr>
              <a:t>MoM must be uploaded into the particular accounts folder for CCB meetings.</a:t>
            </a:r>
            <a:endPar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342900" lvl="0" indent="-342900">
              <a:buFont typeface="+mj-lt"/>
              <a:buAutoNum type="alphaUcParenR"/>
              <a:defRPr/>
            </a:pPr>
            <a:r>
              <a:rPr lang="en-US" sz="1000" b="1" dirty="0">
                <a:solidFill>
                  <a:srgbClr val="58585A"/>
                </a:solidFill>
                <a:latin typeface="Calibri" panose="020F0502020204030204" pitchFamily="34" charset="0"/>
                <a:ea typeface="Times New Roman" panose="02020603050405020304" pitchFamily="18" charset="0"/>
                <a:cs typeface="Calibri" panose="020F0502020204030204" pitchFamily="34" charset="0"/>
              </a:rPr>
              <a:t>This workgroup offers templates, guidelines and performance reporting. </a:t>
            </a:r>
            <a:endPar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342900" lvl="0" indent="-342900">
              <a:buFont typeface="+mj-lt"/>
              <a:buAutoNum type="alphaUcParenR"/>
              <a:defRPr/>
            </a:pPr>
            <a:r>
              <a:rPr lang="en-US" sz="1000" b="1" dirty="0">
                <a:solidFill>
                  <a:srgbClr val="58585A"/>
                </a:solidFill>
                <a:latin typeface="Calibri" panose="020F0502020204030204" pitchFamily="34" charset="0"/>
                <a:ea typeface="Times New Roman" panose="02020603050405020304" pitchFamily="18" charset="0"/>
                <a:cs typeface="Calibri" panose="020F0502020204030204" pitchFamily="34" charset="0"/>
              </a:rPr>
              <a:t>The data in the EriDoc folder is the </a:t>
            </a:r>
            <a:r>
              <a:rPr lang="en-US" sz="1000" b="1" u="sng" dirty="0">
                <a:solidFill>
                  <a:srgbClr val="58585A"/>
                </a:solidFill>
                <a:latin typeface="Calibri" panose="020F0502020204030204" pitchFamily="34" charset="0"/>
                <a:ea typeface="Times New Roman" panose="02020603050405020304" pitchFamily="18" charset="0"/>
                <a:cs typeface="Calibri" panose="020F0502020204030204" pitchFamily="34" charset="0"/>
              </a:rPr>
              <a:t>one and only</a:t>
            </a:r>
            <a:r>
              <a:rPr lang="en-US" sz="1000" b="1" dirty="0">
                <a:solidFill>
                  <a:srgbClr val="58585A"/>
                </a:solidFill>
                <a:latin typeface="Calibri" panose="020F0502020204030204" pitchFamily="34" charset="0"/>
                <a:ea typeface="Times New Roman" panose="02020603050405020304" pitchFamily="18" charset="0"/>
                <a:cs typeface="Calibri" panose="020F0502020204030204" pitchFamily="34" charset="0"/>
              </a:rPr>
              <a:t> data point, when it comes to CCB meeting numbers and their validity.</a:t>
            </a:r>
            <a:endPar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endParaRPr>
          </a:p>
          <a:p>
            <a:pPr lvl="0">
              <a:defRPr/>
            </a:pPr>
            <a:r>
              <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rPr>
              <a:t> </a:t>
            </a:r>
          </a:p>
          <a:p>
            <a:pPr lvl="0">
              <a:defRPr/>
            </a:pPr>
            <a:r>
              <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rPr>
              <a:t>It appears that some CCB meetings may be taking place but without proper MoM uploaded to this EriDoc folder. In this case it will not be reported that a CCB meeting has actually taken place. In some cases </a:t>
            </a:r>
            <a:r>
              <a:rPr lang="en-US" sz="1000" b="1" dirty="0" err="1">
                <a:solidFill>
                  <a:srgbClr val="58585A"/>
                </a:solidFill>
                <a:latin typeface="Calibri" panose="020F0502020204030204" pitchFamily="34" charset="0"/>
                <a:ea typeface="Calibri" panose="020F0502020204030204" pitchFamily="34" charset="0"/>
                <a:cs typeface="Calibri" panose="020F0502020204030204" pitchFamily="34" charset="0"/>
              </a:rPr>
              <a:t>EriColl</a:t>
            </a:r>
            <a:r>
              <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rPr>
              <a:t> or no folders at all have been reported.</a:t>
            </a:r>
          </a:p>
          <a:p>
            <a:pPr lvl="0">
              <a:defRPr/>
            </a:pPr>
            <a:r>
              <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rPr>
              <a:t> </a:t>
            </a:r>
          </a:p>
          <a:p>
            <a:pPr lvl="0">
              <a:defRPr/>
            </a:pPr>
            <a:r>
              <a:rPr lang="en-US" sz="1000" b="1" dirty="0">
                <a:solidFill>
                  <a:srgbClr val="58585A"/>
                </a:solidFill>
                <a:latin typeface="Calibri" panose="020F0502020204030204" pitchFamily="34" charset="0"/>
                <a:ea typeface="Times New Roman" panose="02020603050405020304" pitchFamily="18" charset="0"/>
                <a:cs typeface="Calibri" panose="020F0502020204030204" pitchFamily="34" charset="0"/>
              </a:rPr>
              <a:t>.</a:t>
            </a:r>
            <a:endParaRPr lang="en-US" sz="1000" b="1" dirty="0">
              <a:solidFill>
                <a:srgbClr val="58585A"/>
              </a:solidFill>
              <a:latin typeface="Calibri" panose="020F0502020204030204" pitchFamily="34" charset="0"/>
              <a:ea typeface="Calibri" panose="020F0502020204030204" pitchFamily="34" charset="0"/>
              <a:cs typeface="Calibri" panose="020F0502020204030204" pitchFamily="34" charset="0"/>
            </a:endParaRPr>
          </a:p>
        </p:txBody>
      </p:sp>
      <p:sp>
        <p:nvSpPr>
          <p:cNvPr id="42" name="TextBox 41">
            <a:extLst>
              <a:ext uri="{FF2B5EF4-FFF2-40B4-BE49-F238E27FC236}">
                <a16:creationId xmlns:a16="http://schemas.microsoft.com/office/drawing/2014/main" id="{DB84F855-22A1-4500-ADBF-204911DB7910}"/>
              </a:ext>
            </a:extLst>
          </p:cNvPr>
          <p:cNvSpPr txBox="1"/>
          <p:nvPr/>
        </p:nvSpPr>
        <p:spPr bwMode="auto">
          <a:xfrm>
            <a:off x="6726151" y="5005751"/>
            <a:ext cx="1375855" cy="221018"/>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200" dirty="0">
                <a:solidFill>
                  <a:schemeClr val="bg1"/>
                </a:solidFill>
              </a:rPr>
              <a:t>Meetings </a:t>
            </a:r>
          </a:p>
        </p:txBody>
      </p:sp>
      <p:sp>
        <p:nvSpPr>
          <p:cNvPr id="43" name="TextBox 42">
            <a:extLst>
              <a:ext uri="{FF2B5EF4-FFF2-40B4-BE49-F238E27FC236}">
                <a16:creationId xmlns:a16="http://schemas.microsoft.com/office/drawing/2014/main" id="{D64B5993-6A9B-49B8-A816-18C48D312091}"/>
              </a:ext>
            </a:extLst>
          </p:cNvPr>
          <p:cNvSpPr txBox="1"/>
          <p:nvPr/>
        </p:nvSpPr>
        <p:spPr bwMode="auto">
          <a:xfrm>
            <a:off x="6726151" y="5479252"/>
            <a:ext cx="1676444" cy="800663"/>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defPPr>
              <a:defRPr lang="en-US"/>
            </a:defPPr>
            <a:lvl1pPr marL="228600" indent="-228600">
              <a:spcBef>
                <a:spcPts val="100"/>
              </a:spcBef>
              <a:buClr>
                <a:schemeClr val="bg1"/>
              </a:buClr>
              <a:buSzPct val="200000"/>
              <a:buFont typeface="Ericsson Hilda" panose="020B0604020202020204" charset="0"/>
              <a:buChar char="■"/>
              <a:defRPr sz="1200">
                <a:solidFill>
                  <a:schemeClr val="bg1"/>
                </a:solidFill>
              </a:defRPr>
            </a:lvl1pPr>
          </a:lstStyle>
          <a:p>
            <a:r>
              <a:rPr lang="en-US" dirty="0"/>
              <a:t>Scheduled monthly</a:t>
            </a:r>
          </a:p>
          <a:p>
            <a:r>
              <a:rPr lang="en-US" dirty="0"/>
              <a:t>1 hour max</a:t>
            </a:r>
          </a:p>
          <a:p>
            <a:r>
              <a:rPr lang="en-US" dirty="0"/>
              <a:t>MoM are recorded and stored in </a:t>
            </a:r>
            <a:r>
              <a:rPr lang="en-US" dirty="0" err="1"/>
              <a:t>EriDoc</a:t>
            </a:r>
            <a:r>
              <a:rPr lang="en-US" dirty="0"/>
              <a:t> </a:t>
            </a:r>
          </a:p>
        </p:txBody>
      </p:sp>
      <p:sp>
        <p:nvSpPr>
          <p:cNvPr id="49" name="Rectangle 48">
            <a:extLst>
              <a:ext uri="{FF2B5EF4-FFF2-40B4-BE49-F238E27FC236}">
                <a16:creationId xmlns:a16="http://schemas.microsoft.com/office/drawing/2014/main" id="{AA7A1B89-5337-4D8D-8E9C-8C2E93D31145}"/>
              </a:ext>
            </a:extLst>
          </p:cNvPr>
          <p:cNvSpPr/>
          <p:nvPr/>
        </p:nvSpPr>
        <p:spPr bwMode="auto">
          <a:xfrm>
            <a:off x="7153931" y="692320"/>
            <a:ext cx="213725" cy="207959"/>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700" b="0" i="0" u="none" strike="noStrike" cap="none" normalizeH="0" baseline="0" dirty="0">
              <a:ln>
                <a:noFill/>
              </a:ln>
              <a:solidFill>
                <a:schemeClr val="bg1">
                  <a:lumMod val="50000"/>
                </a:schemeClr>
              </a:solidFill>
              <a:effectLst/>
              <a:latin typeface="+mn-lt"/>
            </a:endParaRPr>
          </a:p>
        </p:txBody>
      </p:sp>
      <p:sp>
        <p:nvSpPr>
          <p:cNvPr id="50" name="Rectangle 49">
            <a:extLst>
              <a:ext uri="{FF2B5EF4-FFF2-40B4-BE49-F238E27FC236}">
                <a16:creationId xmlns:a16="http://schemas.microsoft.com/office/drawing/2014/main" id="{0849B1E5-42A9-4F61-929A-097E155F1635}"/>
              </a:ext>
            </a:extLst>
          </p:cNvPr>
          <p:cNvSpPr/>
          <p:nvPr/>
        </p:nvSpPr>
        <p:spPr bwMode="auto">
          <a:xfrm>
            <a:off x="7153931" y="1372144"/>
            <a:ext cx="213725" cy="207959"/>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700" b="0" i="0" u="none" strike="noStrike" cap="none" normalizeH="0" baseline="0" dirty="0">
              <a:ln>
                <a:noFill/>
              </a:ln>
              <a:solidFill>
                <a:schemeClr val="bg1">
                  <a:lumMod val="50000"/>
                </a:schemeClr>
              </a:solidFill>
              <a:effectLst/>
              <a:latin typeface="+mn-lt"/>
            </a:endParaRPr>
          </a:p>
        </p:txBody>
      </p:sp>
      <p:sp>
        <p:nvSpPr>
          <p:cNvPr id="51" name="Rectangle 50">
            <a:extLst>
              <a:ext uri="{FF2B5EF4-FFF2-40B4-BE49-F238E27FC236}">
                <a16:creationId xmlns:a16="http://schemas.microsoft.com/office/drawing/2014/main" id="{9318173A-4E89-439F-AC34-442CC2915110}"/>
              </a:ext>
            </a:extLst>
          </p:cNvPr>
          <p:cNvSpPr/>
          <p:nvPr/>
        </p:nvSpPr>
        <p:spPr bwMode="auto">
          <a:xfrm>
            <a:off x="7153931" y="1032841"/>
            <a:ext cx="213725" cy="207959"/>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700" b="0" i="0" u="none" strike="noStrike" cap="none" normalizeH="0" baseline="0" dirty="0">
              <a:ln>
                <a:noFill/>
              </a:ln>
              <a:solidFill>
                <a:schemeClr val="bg1">
                  <a:lumMod val="50000"/>
                </a:schemeClr>
              </a:solidFill>
              <a:effectLst/>
              <a:latin typeface="+mn-lt"/>
            </a:endParaRPr>
          </a:p>
        </p:txBody>
      </p:sp>
      <p:cxnSp>
        <p:nvCxnSpPr>
          <p:cNvPr id="4" name="Straight Connector 3">
            <a:extLst>
              <a:ext uri="{FF2B5EF4-FFF2-40B4-BE49-F238E27FC236}">
                <a16:creationId xmlns:a16="http://schemas.microsoft.com/office/drawing/2014/main" id="{275D67BB-1926-4F89-ADD5-A4515F5660D1}"/>
              </a:ext>
            </a:extLst>
          </p:cNvPr>
          <p:cNvCxnSpPr>
            <a:cxnSpLocks/>
          </p:cNvCxnSpPr>
          <p:nvPr/>
        </p:nvCxnSpPr>
        <p:spPr bwMode="auto">
          <a:xfrm>
            <a:off x="6611112" y="2236894"/>
            <a:ext cx="5580888" cy="0"/>
          </a:xfrm>
          <a:prstGeom prst="line">
            <a:avLst/>
          </a:prstGeom>
          <a:solidFill>
            <a:schemeClr val="accent1"/>
          </a:solidFill>
          <a:ln w="19050" cap="flat" cmpd="sng" algn="ctr">
            <a:solidFill>
              <a:schemeClr val="bg1"/>
            </a:solidFill>
            <a:prstDash val="sysDot"/>
            <a:round/>
            <a:headEnd type="none" w="med" len="med"/>
            <a:tailEnd type="none"/>
          </a:ln>
          <a:effectLst/>
        </p:spPr>
      </p:cxnSp>
      <p:grpSp>
        <p:nvGrpSpPr>
          <p:cNvPr id="9" name="Group 8">
            <a:extLst>
              <a:ext uri="{FF2B5EF4-FFF2-40B4-BE49-F238E27FC236}">
                <a16:creationId xmlns:a16="http://schemas.microsoft.com/office/drawing/2014/main" id="{6FBC696B-11E1-4AC2-B5E9-559265D190A4}"/>
              </a:ext>
            </a:extLst>
          </p:cNvPr>
          <p:cNvGrpSpPr/>
          <p:nvPr/>
        </p:nvGrpSpPr>
        <p:grpSpPr>
          <a:xfrm>
            <a:off x="9375052" y="2538591"/>
            <a:ext cx="2369687" cy="1618566"/>
            <a:chOff x="6781628" y="5034989"/>
            <a:chExt cx="2369687" cy="1059353"/>
          </a:xfrm>
        </p:grpSpPr>
        <p:sp>
          <p:nvSpPr>
            <p:cNvPr id="45" name="TextBox 44">
              <a:extLst>
                <a:ext uri="{FF2B5EF4-FFF2-40B4-BE49-F238E27FC236}">
                  <a16:creationId xmlns:a16="http://schemas.microsoft.com/office/drawing/2014/main" id="{9BA3D18D-A48E-4781-8BF2-329F36A007CA}"/>
                </a:ext>
              </a:extLst>
            </p:cNvPr>
            <p:cNvSpPr txBox="1"/>
            <p:nvPr/>
          </p:nvSpPr>
          <p:spPr bwMode="auto">
            <a:xfrm>
              <a:off x="6781628" y="5034989"/>
              <a:ext cx="2050728" cy="107650"/>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200" dirty="0">
                  <a:solidFill>
                    <a:schemeClr val="bg1"/>
                  </a:solidFill>
                </a:rPr>
                <a:t>Important to note </a:t>
              </a:r>
            </a:p>
          </p:txBody>
        </p:sp>
        <p:sp>
          <p:nvSpPr>
            <p:cNvPr id="46" name="Rectangle 45">
              <a:extLst>
                <a:ext uri="{FF2B5EF4-FFF2-40B4-BE49-F238E27FC236}">
                  <a16:creationId xmlns:a16="http://schemas.microsoft.com/office/drawing/2014/main" id="{728BD019-9B05-427F-ABDE-9423F3A26F6C}"/>
                </a:ext>
              </a:extLst>
            </p:cNvPr>
            <p:cNvSpPr/>
            <p:nvPr/>
          </p:nvSpPr>
          <p:spPr bwMode="auto">
            <a:xfrm>
              <a:off x="6848522" y="5288129"/>
              <a:ext cx="2302793" cy="80621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kumimoji="0" lang="en-US" sz="800" b="0" i="0" u="none" strike="noStrike" cap="none" normalizeH="0" baseline="0" dirty="0">
                <a:ln>
                  <a:noFill/>
                </a:ln>
                <a:solidFill>
                  <a:srgbClr val="767676"/>
                </a:solidFill>
                <a:effectLst/>
              </a:endParaRPr>
            </a:p>
          </p:txBody>
        </p:sp>
      </p:grpSp>
      <p:cxnSp>
        <p:nvCxnSpPr>
          <p:cNvPr id="57" name="Straight Connector 56">
            <a:extLst>
              <a:ext uri="{FF2B5EF4-FFF2-40B4-BE49-F238E27FC236}">
                <a16:creationId xmlns:a16="http://schemas.microsoft.com/office/drawing/2014/main" id="{4DF2C4EF-3137-4C3F-9BD4-BA13EFBD4032}"/>
              </a:ext>
            </a:extLst>
          </p:cNvPr>
          <p:cNvCxnSpPr>
            <a:cxnSpLocks/>
          </p:cNvCxnSpPr>
          <p:nvPr/>
        </p:nvCxnSpPr>
        <p:spPr bwMode="auto">
          <a:xfrm>
            <a:off x="6574170" y="4648683"/>
            <a:ext cx="5580888" cy="0"/>
          </a:xfrm>
          <a:prstGeom prst="line">
            <a:avLst/>
          </a:prstGeom>
          <a:solidFill>
            <a:schemeClr val="accent1"/>
          </a:solidFill>
          <a:ln w="19050" cap="flat" cmpd="sng" algn="ctr">
            <a:solidFill>
              <a:schemeClr val="bg1"/>
            </a:solidFill>
            <a:prstDash val="sysDot"/>
            <a:round/>
            <a:headEnd type="none" w="med" len="med"/>
            <a:tailEnd type="none"/>
          </a:ln>
          <a:effectLst/>
        </p:spPr>
      </p:cxnSp>
      <p:sp>
        <p:nvSpPr>
          <p:cNvPr id="3" name="Rectangle 2">
            <a:extLst>
              <a:ext uri="{FF2B5EF4-FFF2-40B4-BE49-F238E27FC236}">
                <a16:creationId xmlns:a16="http://schemas.microsoft.com/office/drawing/2014/main" id="{94B68C1F-1D07-4DD9-A978-76330D32E6BB}"/>
              </a:ext>
            </a:extLst>
          </p:cNvPr>
          <p:cNvSpPr/>
          <p:nvPr/>
        </p:nvSpPr>
        <p:spPr>
          <a:xfrm>
            <a:off x="9468089" y="3013539"/>
            <a:ext cx="2217995" cy="646331"/>
          </a:xfrm>
          <a:prstGeom prst="rect">
            <a:avLst/>
          </a:prstGeom>
        </p:spPr>
        <p:txBody>
          <a:bodyPr wrap="square">
            <a:spAutoFit/>
          </a:bodyPr>
          <a:lstStyle/>
          <a:p>
            <a:r>
              <a:rPr lang="en-US" sz="1200" dirty="0">
                <a:solidFill>
                  <a:schemeClr val="bg1">
                    <a:lumMod val="50000"/>
                  </a:schemeClr>
                </a:solidFill>
                <a:latin typeface="Arial"/>
              </a:rPr>
              <a:t>If any role is unable to attend a CCB meeting, a substitute is compulsory</a:t>
            </a:r>
            <a:endParaRPr lang="en-ZA" sz="1200" dirty="0">
              <a:solidFill>
                <a:schemeClr val="bg1">
                  <a:lumMod val="50000"/>
                </a:schemeClr>
              </a:solidFill>
            </a:endParaRPr>
          </a:p>
        </p:txBody>
      </p:sp>
      <p:sp>
        <p:nvSpPr>
          <p:cNvPr id="34" name="Rectangle 33">
            <a:extLst>
              <a:ext uri="{FF2B5EF4-FFF2-40B4-BE49-F238E27FC236}">
                <a16:creationId xmlns:a16="http://schemas.microsoft.com/office/drawing/2014/main" id="{886A348C-51B4-4F32-9254-3DF3CE99BA9D}"/>
              </a:ext>
            </a:extLst>
          </p:cNvPr>
          <p:cNvSpPr/>
          <p:nvPr/>
        </p:nvSpPr>
        <p:spPr bwMode="auto">
          <a:xfrm>
            <a:off x="505916" y="3351813"/>
            <a:ext cx="1963108" cy="962526"/>
          </a:xfrm>
          <a:prstGeom prst="rect">
            <a:avLst/>
          </a:prstGeom>
          <a:solidFill>
            <a:schemeClr val="bg1">
              <a:lumMod val="85000"/>
            </a:schemeClr>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Ericsson Hilda"/>
                <a:ea typeface="+mn-ea"/>
                <a:cs typeface="+mn-cs"/>
              </a:rPr>
              <a:t>Steps  D &amp; E </a:t>
            </a:r>
            <a:endParaRPr kumimoji="0" lang="en-US" sz="1600" b="0" i="0" u="none" strike="noStrike" kern="1200" cap="none" spc="0" normalizeH="0" baseline="0" noProof="0" dirty="0">
              <a:ln>
                <a:noFill/>
              </a:ln>
              <a:solidFill>
                <a:srgbClr val="FFFFFF"/>
              </a:solidFill>
              <a:effectLst/>
              <a:uLnTx/>
              <a:uFillTx/>
              <a:latin typeface="Ericsson Hilda"/>
              <a:ea typeface="+mn-ea"/>
              <a:cs typeface="+mn-cs"/>
            </a:endParaRPr>
          </a:p>
        </p:txBody>
      </p:sp>
      <p:sp>
        <p:nvSpPr>
          <p:cNvPr id="35" name="Rectangle 34">
            <a:extLst>
              <a:ext uri="{FF2B5EF4-FFF2-40B4-BE49-F238E27FC236}">
                <a16:creationId xmlns:a16="http://schemas.microsoft.com/office/drawing/2014/main" id="{F0905820-D35B-4935-BA62-4FB43AFC77B4}"/>
              </a:ext>
            </a:extLst>
          </p:cNvPr>
          <p:cNvSpPr/>
          <p:nvPr/>
        </p:nvSpPr>
        <p:spPr bwMode="auto">
          <a:xfrm>
            <a:off x="505916" y="4547732"/>
            <a:ext cx="1963108" cy="962526"/>
          </a:xfrm>
          <a:prstGeom prst="rect">
            <a:avLst/>
          </a:prstGeom>
          <a:solidFill>
            <a:schemeClr val="accent5"/>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Ericsson Hilda"/>
                <a:ea typeface="+mn-ea"/>
                <a:cs typeface="+mn-cs"/>
              </a:rPr>
              <a:t>Check List </a:t>
            </a:r>
            <a:endParaRPr kumimoji="0" lang="en-US" sz="1600" b="0" i="0" u="none" strike="noStrike" kern="1200" cap="none" spc="0" normalizeH="0" baseline="0" noProof="0" dirty="0">
              <a:ln>
                <a:noFill/>
              </a:ln>
              <a:solidFill>
                <a:srgbClr val="FFFFFF"/>
              </a:solidFill>
              <a:effectLst/>
              <a:uLnTx/>
              <a:uFillTx/>
              <a:latin typeface="Ericsson Hilda"/>
              <a:ea typeface="+mn-ea"/>
              <a:cs typeface="+mn-cs"/>
            </a:endParaRPr>
          </a:p>
        </p:txBody>
      </p:sp>
      <p:sp>
        <p:nvSpPr>
          <p:cNvPr id="37" name="Rectangle 36">
            <a:extLst>
              <a:ext uri="{FF2B5EF4-FFF2-40B4-BE49-F238E27FC236}">
                <a16:creationId xmlns:a16="http://schemas.microsoft.com/office/drawing/2014/main" id="{528F6933-595B-4EAA-8F25-982B67E41A06}"/>
              </a:ext>
            </a:extLst>
          </p:cNvPr>
          <p:cNvSpPr/>
          <p:nvPr/>
        </p:nvSpPr>
        <p:spPr bwMode="auto">
          <a:xfrm>
            <a:off x="505916" y="2155894"/>
            <a:ext cx="1963108" cy="962526"/>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Ericsson Hilda"/>
                <a:ea typeface="+mn-ea"/>
                <a:cs typeface="+mn-cs"/>
              </a:rPr>
              <a:t>Steps A, B &amp; C </a:t>
            </a:r>
            <a:endParaRPr kumimoji="0" lang="en-US" sz="1600" b="0" i="0" u="none" strike="noStrike" kern="1200" cap="none" spc="0" normalizeH="0" baseline="0" noProof="0" dirty="0">
              <a:ln>
                <a:noFill/>
              </a:ln>
              <a:solidFill>
                <a:srgbClr val="FF3232"/>
              </a:solidFill>
              <a:effectLst/>
              <a:uLnTx/>
              <a:uFillTx/>
              <a:latin typeface="Ericsson Hilda"/>
              <a:ea typeface="+mn-ea"/>
              <a:cs typeface="+mn-cs"/>
            </a:endParaRPr>
          </a:p>
        </p:txBody>
      </p:sp>
      <p:sp>
        <p:nvSpPr>
          <p:cNvPr id="40" name="TextBox 39">
            <a:extLst>
              <a:ext uri="{FF2B5EF4-FFF2-40B4-BE49-F238E27FC236}">
                <a16:creationId xmlns:a16="http://schemas.microsoft.com/office/drawing/2014/main" id="{4D998DD4-190C-43E4-B971-BC42B5BF4DB3}"/>
              </a:ext>
            </a:extLst>
          </p:cNvPr>
          <p:cNvSpPr txBox="1"/>
          <p:nvPr/>
        </p:nvSpPr>
        <p:spPr bwMode="auto">
          <a:xfrm>
            <a:off x="985334" y="888174"/>
            <a:ext cx="1448710" cy="528794"/>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600" dirty="0"/>
              <a:t>Roles &amp; Responsibilities  </a:t>
            </a:r>
          </a:p>
        </p:txBody>
      </p:sp>
      <p:sp>
        <p:nvSpPr>
          <p:cNvPr id="44" name="Freeform 3">
            <a:extLst>
              <a:ext uri="{FF2B5EF4-FFF2-40B4-BE49-F238E27FC236}">
                <a16:creationId xmlns:a16="http://schemas.microsoft.com/office/drawing/2014/main" id="{2B2FB879-517E-4920-8A43-D4BC5EEB71D2}"/>
              </a:ext>
            </a:extLst>
          </p:cNvPr>
          <p:cNvSpPr>
            <a:spLocks noChangeAspect="1" noEditPoints="1"/>
          </p:cNvSpPr>
          <p:nvPr/>
        </p:nvSpPr>
        <p:spPr bwMode="auto">
          <a:xfrm>
            <a:off x="473782" y="882072"/>
            <a:ext cx="490260" cy="640080"/>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55" name="Group 54">
            <a:extLst>
              <a:ext uri="{FF2B5EF4-FFF2-40B4-BE49-F238E27FC236}">
                <a16:creationId xmlns:a16="http://schemas.microsoft.com/office/drawing/2014/main" id="{1AEFBB5A-668D-4A6D-9C0C-74E1FA5FE7BC}"/>
              </a:ext>
            </a:extLst>
          </p:cNvPr>
          <p:cNvGrpSpPr/>
          <p:nvPr/>
        </p:nvGrpSpPr>
        <p:grpSpPr>
          <a:xfrm>
            <a:off x="9364614" y="4908093"/>
            <a:ext cx="2369687" cy="1618566"/>
            <a:chOff x="6781628" y="5034989"/>
            <a:chExt cx="2369687" cy="1059353"/>
          </a:xfrm>
        </p:grpSpPr>
        <p:sp>
          <p:nvSpPr>
            <p:cNvPr id="56" name="TextBox 55">
              <a:extLst>
                <a:ext uri="{FF2B5EF4-FFF2-40B4-BE49-F238E27FC236}">
                  <a16:creationId xmlns:a16="http://schemas.microsoft.com/office/drawing/2014/main" id="{C18C4C17-124F-46DC-A1AD-093C862B2579}"/>
                </a:ext>
              </a:extLst>
            </p:cNvPr>
            <p:cNvSpPr txBox="1"/>
            <p:nvPr/>
          </p:nvSpPr>
          <p:spPr bwMode="auto">
            <a:xfrm>
              <a:off x="6781628" y="5034989"/>
              <a:ext cx="2050728" cy="107650"/>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200" dirty="0">
                  <a:solidFill>
                    <a:schemeClr val="bg1"/>
                  </a:solidFill>
                </a:rPr>
                <a:t>Important to note </a:t>
              </a:r>
            </a:p>
          </p:txBody>
        </p:sp>
        <p:sp>
          <p:nvSpPr>
            <p:cNvPr id="58" name="Rectangle 57">
              <a:extLst>
                <a:ext uri="{FF2B5EF4-FFF2-40B4-BE49-F238E27FC236}">
                  <a16:creationId xmlns:a16="http://schemas.microsoft.com/office/drawing/2014/main" id="{AD9390B5-C7E2-42BB-B430-DD2410B8B165}"/>
                </a:ext>
              </a:extLst>
            </p:cNvPr>
            <p:cNvSpPr/>
            <p:nvPr/>
          </p:nvSpPr>
          <p:spPr bwMode="auto">
            <a:xfrm>
              <a:off x="6848522" y="5288129"/>
              <a:ext cx="2302793" cy="80621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kumimoji="0" lang="en-US" sz="800" b="0" i="0" u="none" strike="noStrike" cap="none" normalizeH="0" baseline="0" dirty="0">
                <a:ln>
                  <a:noFill/>
                </a:ln>
                <a:solidFill>
                  <a:srgbClr val="767676"/>
                </a:solidFill>
                <a:effectLst/>
              </a:endParaRPr>
            </a:p>
          </p:txBody>
        </p:sp>
      </p:grpSp>
      <p:sp>
        <p:nvSpPr>
          <p:cNvPr id="59" name="Rectangle 58">
            <a:extLst>
              <a:ext uri="{FF2B5EF4-FFF2-40B4-BE49-F238E27FC236}">
                <a16:creationId xmlns:a16="http://schemas.microsoft.com/office/drawing/2014/main" id="{838076B4-1314-4986-9F9D-DDB6946BDB3D}"/>
              </a:ext>
            </a:extLst>
          </p:cNvPr>
          <p:cNvSpPr/>
          <p:nvPr/>
        </p:nvSpPr>
        <p:spPr>
          <a:xfrm>
            <a:off x="9457651" y="5383041"/>
            <a:ext cx="2217995" cy="1015663"/>
          </a:xfrm>
          <a:prstGeom prst="rect">
            <a:avLst/>
          </a:prstGeom>
        </p:spPr>
        <p:txBody>
          <a:bodyPr wrap="square">
            <a:spAutoFit/>
          </a:bodyPr>
          <a:lstStyle/>
          <a:p>
            <a:r>
              <a:rPr lang="en-US" sz="1200" dirty="0">
                <a:solidFill>
                  <a:schemeClr val="bg1">
                    <a:lumMod val="50000"/>
                  </a:schemeClr>
                </a:solidFill>
                <a:latin typeface="Arial"/>
              </a:rPr>
              <a:t>It is best to have meetings often, some meetings may be an hour max, but some may be shorter, depending on how many CRs there are</a:t>
            </a:r>
            <a:endParaRPr lang="en-ZA" sz="1200" dirty="0">
              <a:solidFill>
                <a:schemeClr val="bg1">
                  <a:lumMod val="50000"/>
                </a:schemeClr>
              </a:solidFill>
            </a:endParaRPr>
          </a:p>
        </p:txBody>
      </p:sp>
    </p:spTree>
    <p:extLst>
      <p:ext uri="{BB962C8B-B14F-4D97-AF65-F5344CB8AC3E}">
        <p14:creationId xmlns:p14="http://schemas.microsoft.com/office/powerpoint/2010/main" val="1097928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28A5B50-4CC3-4774-918E-5C5900256711}"/>
              </a:ext>
            </a:extLst>
          </p:cNvPr>
          <p:cNvSpPr/>
          <p:nvPr/>
        </p:nvSpPr>
        <p:spPr bwMode="auto">
          <a:xfrm>
            <a:off x="269877" y="567274"/>
            <a:ext cx="2386238" cy="5614028"/>
          </a:xfrm>
          <a:prstGeom prst="rect">
            <a:avLst/>
          </a:prstGeom>
          <a:noFill/>
          <a:ln w="57150" cap="flat" cmpd="sng" algn="ctr">
            <a:solidFill>
              <a:schemeClr val="accent5"/>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Ericsson Hilda Light" panose="00000400000000000000" pitchFamily="2" charset="0"/>
            </a:endParaRPr>
          </a:p>
        </p:txBody>
      </p:sp>
      <p:sp>
        <p:nvSpPr>
          <p:cNvPr id="25" name="Rectangle 24">
            <a:extLst>
              <a:ext uri="{FF2B5EF4-FFF2-40B4-BE49-F238E27FC236}">
                <a16:creationId xmlns:a16="http://schemas.microsoft.com/office/drawing/2014/main" id="{E7F88667-CA38-4082-93E6-E3D929A8676C}"/>
              </a:ext>
            </a:extLst>
          </p:cNvPr>
          <p:cNvSpPr/>
          <p:nvPr/>
        </p:nvSpPr>
        <p:spPr bwMode="auto">
          <a:xfrm>
            <a:off x="7418142" y="1177911"/>
            <a:ext cx="4653821" cy="2154561"/>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23900" indent="-368300">
              <a:buClr>
                <a:srgbClr val="A66C99"/>
              </a:buClr>
              <a:buFont typeface="Wingdings" panose="05000000000000000000" pitchFamily="2" charset="2"/>
              <a:buChar char="ü"/>
            </a:pPr>
            <a:endParaRPr lang="en-US" sz="1200" dirty="0">
              <a:latin typeface="Ericsson Hilda Light" panose="00000400000000000000" pitchFamily="2" charset="0"/>
            </a:endParaRPr>
          </a:p>
          <a:p>
            <a:pPr marL="355600">
              <a:buClr>
                <a:srgbClr val="A66C99"/>
              </a:buClr>
            </a:pPr>
            <a:r>
              <a:rPr lang="en-US" sz="1400" dirty="0">
                <a:solidFill>
                  <a:schemeClr val="bg1"/>
                </a:solidFill>
                <a:latin typeface="Ericsson Hilda Light" panose="00000400000000000000" pitchFamily="2" charset="0"/>
              </a:rPr>
              <a:t>One entry form – OEF  is completed  tag AoS</a:t>
            </a:r>
          </a:p>
          <a:p>
            <a:pPr marL="355600">
              <a:buClr>
                <a:srgbClr val="A66C99"/>
              </a:buClr>
            </a:pPr>
            <a:endParaRPr lang="en-US" sz="1400" dirty="0">
              <a:solidFill>
                <a:schemeClr val="bg1"/>
              </a:solidFill>
              <a:latin typeface="Ericsson Hilda Light" panose="00000400000000000000" pitchFamily="2" charset="0"/>
            </a:endParaRPr>
          </a:p>
          <a:p>
            <a:pPr marL="355600">
              <a:buClr>
                <a:srgbClr val="A66C99"/>
              </a:buClr>
            </a:pPr>
            <a:endParaRPr lang="en-US" sz="1400" dirty="0">
              <a:solidFill>
                <a:schemeClr val="bg1"/>
              </a:solidFill>
              <a:latin typeface="Ericsson Hilda Light" panose="00000400000000000000" pitchFamily="2" charset="0"/>
            </a:endParaRPr>
          </a:p>
          <a:p>
            <a:pPr marL="355600">
              <a:buClr>
                <a:srgbClr val="A66C99"/>
              </a:buClr>
            </a:pPr>
            <a:r>
              <a:rPr lang="en-US" sz="1400" dirty="0">
                <a:solidFill>
                  <a:schemeClr val="bg1"/>
                </a:solidFill>
                <a:latin typeface="Ericsson Hilda Light" panose="00000400000000000000" pitchFamily="2" charset="0"/>
              </a:rPr>
              <a:t>AoS tab is ticked  &amp; Responsible person match SDOD &amp; GC. </a:t>
            </a:r>
          </a:p>
          <a:p>
            <a:pPr marL="355600">
              <a:buClr>
                <a:srgbClr val="A66C99"/>
              </a:buClr>
            </a:pPr>
            <a:endParaRPr lang="en-US" sz="1400" dirty="0">
              <a:solidFill>
                <a:schemeClr val="bg1"/>
              </a:solidFill>
              <a:latin typeface="Ericsson Hilda Light" panose="00000400000000000000" pitchFamily="2" charset="0"/>
            </a:endParaRPr>
          </a:p>
          <a:p>
            <a:pPr marL="355600">
              <a:buClr>
                <a:srgbClr val="A66C99"/>
              </a:buClr>
            </a:pPr>
            <a:r>
              <a:rPr lang="en-US" sz="1400" dirty="0">
                <a:solidFill>
                  <a:schemeClr val="bg1"/>
                </a:solidFill>
                <a:latin typeface="Ericsson Hilda Light" panose="00000400000000000000" pitchFamily="2" charset="0"/>
              </a:rPr>
              <a:t>Tagging in SAP is defined as Z_AoS </a:t>
            </a:r>
          </a:p>
        </p:txBody>
      </p:sp>
      <p:sp>
        <p:nvSpPr>
          <p:cNvPr id="32" name="TextBox 31">
            <a:extLst>
              <a:ext uri="{FF2B5EF4-FFF2-40B4-BE49-F238E27FC236}">
                <a16:creationId xmlns:a16="http://schemas.microsoft.com/office/drawing/2014/main" id="{F271F2FE-A976-4BE4-87BE-403370E1FA53}"/>
              </a:ext>
            </a:extLst>
          </p:cNvPr>
          <p:cNvSpPr txBox="1"/>
          <p:nvPr/>
        </p:nvSpPr>
        <p:spPr bwMode="auto">
          <a:xfrm>
            <a:off x="6732734" y="896819"/>
            <a:ext cx="4407945" cy="221018"/>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altLang="en-US" sz="1200" dirty="0">
                <a:solidFill>
                  <a:schemeClr val="bg1"/>
                </a:solidFill>
                <a:latin typeface="Ericsson Hilda Light" panose="00000400000000000000" pitchFamily="2" charset="0"/>
              </a:rPr>
              <a:t>3 steps to follow </a:t>
            </a:r>
            <a:endParaRPr lang="en-US" sz="1200" dirty="0">
              <a:solidFill>
                <a:schemeClr val="bg1"/>
              </a:solidFill>
              <a:latin typeface="Ericsson Hilda Light" panose="00000400000000000000" pitchFamily="2" charset="0"/>
            </a:endParaRPr>
          </a:p>
        </p:txBody>
      </p:sp>
      <p:sp>
        <p:nvSpPr>
          <p:cNvPr id="41" name="TextBox 40">
            <a:extLst>
              <a:ext uri="{FF2B5EF4-FFF2-40B4-BE49-F238E27FC236}">
                <a16:creationId xmlns:a16="http://schemas.microsoft.com/office/drawing/2014/main" id="{37695025-039B-4E6E-BC58-FC941D7A2B6C}"/>
              </a:ext>
            </a:extLst>
          </p:cNvPr>
          <p:cNvSpPr txBox="1"/>
          <p:nvPr/>
        </p:nvSpPr>
        <p:spPr bwMode="auto">
          <a:xfrm>
            <a:off x="3227444" y="900279"/>
            <a:ext cx="3061910" cy="5099688"/>
          </a:xfrm>
          <a:prstGeom prst="homePlate">
            <a:avLst>
              <a:gd name="adj" fmla="val 33482"/>
            </a:avLst>
          </a:prstGeom>
          <a:solidFill>
            <a:schemeClr val="bg1">
              <a:alpha val="30196"/>
            </a:schemeClr>
          </a:solidFill>
          <a:ln w="9525">
            <a:noFill/>
            <a:miter lim="800000"/>
            <a:headEnd/>
            <a:tailEnd/>
          </a:ln>
        </p:spPr>
        <p:txBody>
          <a:bodyPr vert="horz" wrap="square" lIns="72000" tIns="36000" rIns="0" bIns="0" numCol="1" rtlCol="0" anchor="ctr" anchorCtr="0" compatLnSpc="1">
            <a:prstTxWarp prst="textNoShape">
              <a:avLst/>
            </a:prstTxWarp>
            <a:noAutofit/>
          </a:bodyPr>
          <a:lstStyle/>
          <a:p>
            <a:pPr lvl="0">
              <a:defRPr/>
            </a:pPr>
            <a:endParaRPr lang="en-ZA" sz="1000" dirty="0">
              <a:solidFill>
                <a:schemeClr val="bg1">
                  <a:lumMod val="50000"/>
                </a:schemeClr>
              </a:solidFill>
              <a:latin typeface="Ericsson Hilda Light" panose="00000400000000000000" pitchFamily="2" charset="0"/>
            </a:endParaRPr>
          </a:p>
        </p:txBody>
      </p:sp>
      <p:sp>
        <p:nvSpPr>
          <p:cNvPr id="49" name="Rectangle 48">
            <a:extLst>
              <a:ext uri="{FF2B5EF4-FFF2-40B4-BE49-F238E27FC236}">
                <a16:creationId xmlns:a16="http://schemas.microsoft.com/office/drawing/2014/main" id="{AA7A1B89-5337-4D8D-8E9C-8C2E93D31145}"/>
              </a:ext>
            </a:extLst>
          </p:cNvPr>
          <p:cNvSpPr/>
          <p:nvPr/>
        </p:nvSpPr>
        <p:spPr bwMode="auto">
          <a:xfrm>
            <a:off x="7204417" y="2682040"/>
            <a:ext cx="213725" cy="207959"/>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700" b="0" i="0" u="none" strike="noStrike" cap="none" normalizeH="0" baseline="0" dirty="0">
              <a:ln>
                <a:noFill/>
              </a:ln>
              <a:solidFill>
                <a:schemeClr val="bg1">
                  <a:lumMod val="50000"/>
                </a:schemeClr>
              </a:solidFill>
              <a:effectLst/>
              <a:latin typeface="Ericsson Hilda Light" panose="00000400000000000000" pitchFamily="2" charset="0"/>
            </a:endParaRPr>
          </a:p>
        </p:txBody>
      </p:sp>
      <p:sp>
        <p:nvSpPr>
          <p:cNvPr id="50" name="Rectangle 49">
            <a:extLst>
              <a:ext uri="{FF2B5EF4-FFF2-40B4-BE49-F238E27FC236}">
                <a16:creationId xmlns:a16="http://schemas.microsoft.com/office/drawing/2014/main" id="{0849B1E5-42A9-4F61-929A-097E155F1635}"/>
              </a:ext>
            </a:extLst>
          </p:cNvPr>
          <p:cNvSpPr/>
          <p:nvPr/>
        </p:nvSpPr>
        <p:spPr bwMode="auto">
          <a:xfrm>
            <a:off x="7153931" y="1372144"/>
            <a:ext cx="213725" cy="207959"/>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700" b="0" i="0" u="none" strike="noStrike" cap="none" normalizeH="0" baseline="0" dirty="0">
              <a:ln>
                <a:noFill/>
              </a:ln>
              <a:solidFill>
                <a:schemeClr val="bg1">
                  <a:lumMod val="50000"/>
                </a:schemeClr>
              </a:solidFill>
              <a:effectLst/>
              <a:latin typeface="Ericsson Hilda Light" panose="00000400000000000000" pitchFamily="2" charset="0"/>
            </a:endParaRPr>
          </a:p>
        </p:txBody>
      </p:sp>
      <p:sp>
        <p:nvSpPr>
          <p:cNvPr id="51" name="Rectangle 50">
            <a:extLst>
              <a:ext uri="{FF2B5EF4-FFF2-40B4-BE49-F238E27FC236}">
                <a16:creationId xmlns:a16="http://schemas.microsoft.com/office/drawing/2014/main" id="{9318173A-4E89-439F-AC34-442CC2915110}"/>
              </a:ext>
            </a:extLst>
          </p:cNvPr>
          <p:cNvSpPr/>
          <p:nvPr/>
        </p:nvSpPr>
        <p:spPr bwMode="auto">
          <a:xfrm>
            <a:off x="7195574" y="2080871"/>
            <a:ext cx="213725" cy="207959"/>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700" b="0" i="0" u="none" strike="noStrike" cap="none" normalizeH="0" baseline="0" dirty="0">
              <a:ln>
                <a:noFill/>
              </a:ln>
              <a:solidFill>
                <a:schemeClr val="bg1">
                  <a:lumMod val="50000"/>
                </a:schemeClr>
              </a:solidFill>
              <a:effectLst/>
              <a:latin typeface="Ericsson Hilda Light" panose="00000400000000000000" pitchFamily="2" charset="0"/>
            </a:endParaRPr>
          </a:p>
        </p:txBody>
      </p:sp>
      <p:cxnSp>
        <p:nvCxnSpPr>
          <p:cNvPr id="4" name="Straight Connector 3">
            <a:extLst>
              <a:ext uri="{FF2B5EF4-FFF2-40B4-BE49-F238E27FC236}">
                <a16:creationId xmlns:a16="http://schemas.microsoft.com/office/drawing/2014/main" id="{275D67BB-1926-4F89-ADD5-A4515F5660D1}"/>
              </a:ext>
            </a:extLst>
          </p:cNvPr>
          <p:cNvCxnSpPr>
            <a:cxnSpLocks/>
          </p:cNvCxnSpPr>
          <p:nvPr/>
        </p:nvCxnSpPr>
        <p:spPr bwMode="auto">
          <a:xfrm>
            <a:off x="6491075" y="3610900"/>
            <a:ext cx="5580888" cy="0"/>
          </a:xfrm>
          <a:prstGeom prst="line">
            <a:avLst/>
          </a:prstGeom>
          <a:solidFill>
            <a:schemeClr val="accent1"/>
          </a:solidFill>
          <a:ln w="19050" cap="flat" cmpd="sng" algn="ctr">
            <a:solidFill>
              <a:schemeClr val="bg1"/>
            </a:solidFill>
            <a:prstDash val="sysDot"/>
            <a:round/>
            <a:headEnd type="none" w="med" len="med"/>
            <a:tailEnd type="none"/>
          </a:ln>
          <a:effectLst/>
        </p:spPr>
      </p:cxnSp>
      <p:grpSp>
        <p:nvGrpSpPr>
          <p:cNvPr id="9" name="Group 8">
            <a:extLst>
              <a:ext uri="{FF2B5EF4-FFF2-40B4-BE49-F238E27FC236}">
                <a16:creationId xmlns:a16="http://schemas.microsoft.com/office/drawing/2014/main" id="{6FBC696B-11E1-4AC2-B5E9-559265D190A4}"/>
              </a:ext>
            </a:extLst>
          </p:cNvPr>
          <p:cNvGrpSpPr/>
          <p:nvPr/>
        </p:nvGrpSpPr>
        <p:grpSpPr>
          <a:xfrm>
            <a:off x="7848915" y="4066383"/>
            <a:ext cx="2369687" cy="1618566"/>
            <a:chOff x="6781628" y="5034989"/>
            <a:chExt cx="2369687" cy="1059353"/>
          </a:xfrm>
        </p:grpSpPr>
        <p:sp>
          <p:nvSpPr>
            <p:cNvPr id="45" name="TextBox 44">
              <a:extLst>
                <a:ext uri="{FF2B5EF4-FFF2-40B4-BE49-F238E27FC236}">
                  <a16:creationId xmlns:a16="http://schemas.microsoft.com/office/drawing/2014/main" id="{9BA3D18D-A48E-4781-8BF2-329F36A007CA}"/>
                </a:ext>
              </a:extLst>
            </p:cNvPr>
            <p:cNvSpPr txBox="1"/>
            <p:nvPr/>
          </p:nvSpPr>
          <p:spPr bwMode="auto">
            <a:xfrm>
              <a:off x="6781628" y="5034989"/>
              <a:ext cx="2050728" cy="144656"/>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buClr>
                  <a:schemeClr val="tx1"/>
                </a:buClr>
              </a:pPr>
              <a:r>
                <a:rPr lang="en-US" sz="1200" dirty="0">
                  <a:solidFill>
                    <a:schemeClr val="bg1"/>
                  </a:solidFill>
                  <a:latin typeface="Ericsson Hilda Light" panose="00000400000000000000" pitchFamily="2" charset="0"/>
                </a:rPr>
                <a:t>Important to note </a:t>
              </a:r>
            </a:p>
          </p:txBody>
        </p:sp>
        <p:sp>
          <p:nvSpPr>
            <p:cNvPr id="46" name="Rectangle 45">
              <a:extLst>
                <a:ext uri="{FF2B5EF4-FFF2-40B4-BE49-F238E27FC236}">
                  <a16:creationId xmlns:a16="http://schemas.microsoft.com/office/drawing/2014/main" id="{728BD019-9B05-427F-ABDE-9423F3A26F6C}"/>
                </a:ext>
              </a:extLst>
            </p:cNvPr>
            <p:cNvSpPr/>
            <p:nvPr/>
          </p:nvSpPr>
          <p:spPr bwMode="auto">
            <a:xfrm>
              <a:off x="6848522" y="5288129"/>
              <a:ext cx="2302793" cy="80621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50000"/>
                </a:spcBef>
                <a:spcAft>
                  <a:spcPct val="0"/>
                </a:spcAft>
              </a:pPr>
              <a:endParaRPr kumimoji="0" lang="en-US" sz="800" b="0" i="0" u="none" strike="noStrike" cap="none" normalizeH="0" baseline="0" dirty="0">
                <a:ln>
                  <a:noFill/>
                </a:ln>
                <a:solidFill>
                  <a:srgbClr val="767676"/>
                </a:solidFill>
                <a:effectLst/>
                <a:latin typeface="Ericsson Hilda Light" panose="00000400000000000000" pitchFamily="2" charset="0"/>
              </a:endParaRPr>
            </a:p>
          </p:txBody>
        </p:sp>
      </p:grpSp>
      <p:sp>
        <p:nvSpPr>
          <p:cNvPr id="3" name="Rectangle 2">
            <a:extLst>
              <a:ext uri="{FF2B5EF4-FFF2-40B4-BE49-F238E27FC236}">
                <a16:creationId xmlns:a16="http://schemas.microsoft.com/office/drawing/2014/main" id="{94B68C1F-1D07-4DD9-A978-76330D32E6BB}"/>
              </a:ext>
            </a:extLst>
          </p:cNvPr>
          <p:cNvSpPr/>
          <p:nvPr/>
        </p:nvSpPr>
        <p:spPr>
          <a:xfrm>
            <a:off x="7958207" y="4530441"/>
            <a:ext cx="2217995" cy="1077218"/>
          </a:xfrm>
          <a:prstGeom prst="rect">
            <a:avLst/>
          </a:prstGeom>
        </p:spPr>
        <p:txBody>
          <a:bodyPr wrap="square">
            <a:spAutoFit/>
          </a:bodyPr>
          <a:lstStyle/>
          <a:p>
            <a:pPr lvl="0" algn="ctr" eaLnBrk="0" fontAlgn="base" hangingPunct="0">
              <a:spcBef>
                <a:spcPct val="20000"/>
              </a:spcBef>
              <a:spcAft>
                <a:spcPct val="0"/>
              </a:spcAft>
              <a:buClr>
                <a:srgbClr val="00A9D4"/>
              </a:buClr>
              <a:defRPr/>
            </a:pPr>
            <a:r>
              <a:rPr lang="en-US" sz="1600" dirty="0">
                <a:solidFill>
                  <a:srgbClr val="FF0000"/>
                </a:solidFill>
                <a:latin typeface="Ericsson Hilda Light" panose="00000400000000000000" pitchFamily="2" charset="0"/>
              </a:rPr>
              <a:t>This is compulsory step to follow to allow correct financial reporting of AoS </a:t>
            </a:r>
          </a:p>
        </p:txBody>
      </p:sp>
      <p:sp>
        <p:nvSpPr>
          <p:cNvPr id="37" name="Rectangle 36">
            <a:extLst>
              <a:ext uri="{FF2B5EF4-FFF2-40B4-BE49-F238E27FC236}">
                <a16:creationId xmlns:a16="http://schemas.microsoft.com/office/drawing/2014/main" id="{528F6933-595B-4EAA-8F25-982B67E41A06}"/>
              </a:ext>
            </a:extLst>
          </p:cNvPr>
          <p:cNvSpPr/>
          <p:nvPr/>
        </p:nvSpPr>
        <p:spPr bwMode="auto">
          <a:xfrm>
            <a:off x="453407" y="2116511"/>
            <a:ext cx="1963108" cy="3763072"/>
          </a:xfrm>
          <a:prstGeom prst="rect">
            <a:avLst/>
          </a:prstGeom>
          <a:solidFill>
            <a:schemeClr val="bg2"/>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Ericsson Hilda Light" panose="00000400000000000000" pitchFamily="2" charset="0"/>
              </a:rPr>
              <a:t>SAP </a:t>
            </a:r>
          </a:p>
          <a:p>
            <a:pPr marL="0" marR="0" lvl="0" indent="0" algn="ctr" defTabSz="914400" rtl="0" eaLnBrk="1" fontAlgn="base" latinLnBrk="0" hangingPunct="1">
              <a:lnSpc>
                <a:spcPct val="100000"/>
              </a:lnSpc>
              <a:spcBef>
                <a:spcPct val="50000"/>
              </a:spcBef>
              <a:spcAft>
                <a:spcPct val="0"/>
              </a:spcAft>
              <a:buClrTx/>
              <a:buSzTx/>
              <a:buFontTx/>
              <a:buNone/>
              <a:tabLst/>
              <a:defRPr/>
            </a:pPr>
            <a:r>
              <a:rPr lang="en-US" sz="1600">
                <a:solidFill>
                  <a:srgbClr val="FFFFFF"/>
                </a:solidFill>
                <a:latin typeface="Ericsson Hilda Light" panose="00000400000000000000" pitchFamily="2" charset="0"/>
              </a:rPr>
              <a:t>OEF </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Ericsson Hilda Light" panose="00000400000000000000" pitchFamily="2" charset="0"/>
              </a:rPr>
              <a:t>EBW </a:t>
            </a:r>
          </a:p>
          <a:p>
            <a:pPr marL="0" marR="0" lvl="0" indent="0" algn="ctr" defTabSz="914400" rtl="0" eaLnBrk="1" fontAlgn="base" latinLnBrk="0" hangingPunct="1">
              <a:lnSpc>
                <a:spcPct val="100000"/>
              </a:lnSpc>
              <a:spcBef>
                <a:spcPct val="50000"/>
              </a:spcBef>
              <a:spcAft>
                <a:spcPct val="0"/>
              </a:spcAft>
              <a:buClrTx/>
              <a:buSzTx/>
              <a:buFontTx/>
              <a:buNone/>
              <a:tabLst/>
              <a:defRPr/>
            </a:pPr>
            <a:r>
              <a:rPr lang="en-US" sz="1600">
                <a:solidFill>
                  <a:srgbClr val="FFFFFF"/>
                </a:solidFill>
                <a:latin typeface="Ericsson Hilda Light" panose="00000400000000000000" pitchFamily="2" charset="0"/>
              </a:rPr>
              <a:t>COPA </a:t>
            </a:r>
            <a:endParaRPr kumimoji="0" lang="en-US" sz="1600" b="0" i="0" u="none" strike="noStrike" kern="1200" cap="none" spc="0" normalizeH="0" baseline="0" noProof="0" dirty="0">
              <a:ln>
                <a:noFill/>
              </a:ln>
              <a:solidFill>
                <a:srgbClr val="FF3232"/>
              </a:solidFill>
              <a:effectLst/>
              <a:uLnTx/>
              <a:uFillTx/>
              <a:latin typeface="Ericsson Hilda Light" panose="00000400000000000000" pitchFamily="2" charset="0"/>
            </a:endParaRPr>
          </a:p>
        </p:txBody>
      </p:sp>
      <p:sp>
        <p:nvSpPr>
          <p:cNvPr id="40" name="TextBox 39">
            <a:extLst>
              <a:ext uri="{FF2B5EF4-FFF2-40B4-BE49-F238E27FC236}">
                <a16:creationId xmlns:a16="http://schemas.microsoft.com/office/drawing/2014/main" id="{4D998DD4-190C-43E4-B971-BC42B5BF4DB3}"/>
              </a:ext>
            </a:extLst>
          </p:cNvPr>
          <p:cNvSpPr txBox="1"/>
          <p:nvPr/>
        </p:nvSpPr>
        <p:spPr bwMode="auto">
          <a:xfrm>
            <a:off x="386080" y="888174"/>
            <a:ext cx="2047964" cy="651905"/>
          </a:xfrm>
          <a:prstGeom prst="rect">
            <a:avLst/>
          </a:prstGeom>
          <a:noFill/>
          <a:ln w="9525">
            <a:noFill/>
            <a:miter lim="800000"/>
            <a:headEnd/>
            <a:tailEnd/>
          </a:ln>
        </p:spPr>
        <p:txBody>
          <a:bodyPr vert="horz" wrap="square" lIns="72000" tIns="36000" rIns="0" bIns="0" numCol="1" rtlCol="0" anchor="t" anchorCtr="0" compatLnSpc="1">
            <a:prstTxWarp prst="textNoShape">
              <a:avLst/>
            </a:prstTxWarp>
            <a:spAutoFit/>
          </a:bodyPr>
          <a:lstStyle/>
          <a:p>
            <a:pPr algn="ctr">
              <a:buClr>
                <a:schemeClr val="tx1"/>
              </a:buClr>
            </a:pPr>
            <a:r>
              <a:rPr lang="en-US" sz="2000" dirty="0">
                <a:solidFill>
                  <a:schemeClr val="bg1"/>
                </a:solidFill>
                <a:latin typeface="Ericsson Hilda Light" panose="00000400000000000000" pitchFamily="2" charset="0"/>
                <a:ea typeface="Ericsson Capital TT" charset="0"/>
                <a:cs typeface="Ericsson Capital TT" charset="0"/>
              </a:rPr>
              <a:t>Recognition of AoS – Financials </a:t>
            </a:r>
            <a:endParaRPr lang="en-US" sz="2000" dirty="0">
              <a:latin typeface="Ericsson Hilda Light" panose="00000400000000000000" pitchFamily="2" charset="0"/>
            </a:endParaRPr>
          </a:p>
        </p:txBody>
      </p:sp>
      <p:sp>
        <p:nvSpPr>
          <p:cNvPr id="33" name="Freeform 3">
            <a:extLst>
              <a:ext uri="{FF2B5EF4-FFF2-40B4-BE49-F238E27FC236}">
                <a16:creationId xmlns:a16="http://schemas.microsoft.com/office/drawing/2014/main" id="{A66882E0-2959-4D9D-B773-7757169BBA18}"/>
              </a:ext>
            </a:extLst>
          </p:cNvPr>
          <p:cNvSpPr>
            <a:spLocks noChangeAspect="1" noEditPoints="1"/>
          </p:cNvSpPr>
          <p:nvPr/>
        </p:nvSpPr>
        <p:spPr bwMode="auto">
          <a:xfrm>
            <a:off x="3932100" y="2429718"/>
            <a:ext cx="1050925" cy="1484313"/>
          </a:xfrm>
          <a:custGeom>
            <a:avLst/>
            <a:gdLst>
              <a:gd name="T0" fmla="*/ 420370 w 280"/>
              <a:gd name="T1" fmla="*/ 1428089 h 396"/>
              <a:gd name="T2" fmla="*/ 60053 w 280"/>
              <a:gd name="T3" fmla="*/ 974549 h 396"/>
              <a:gd name="T4" fmla="*/ 206432 w 280"/>
              <a:gd name="T5" fmla="*/ 644702 h 396"/>
              <a:gd name="T6" fmla="*/ 431630 w 280"/>
              <a:gd name="T7" fmla="*/ 89958 h 396"/>
              <a:gd name="T8" fmla="*/ 660581 w 280"/>
              <a:gd name="T9" fmla="*/ 307358 h 396"/>
              <a:gd name="T10" fmla="*/ 705621 w 280"/>
              <a:gd name="T11" fmla="*/ 311106 h 396"/>
              <a:gd name="T12" fmla="*/ 705621 w 280"/>
              <a:gd name="T13" fmla="*/ 266127 h 396"/>
              <a:gd name="T14" fmla="*/ 416617 w 280"/>
              <a:gd name="T15" fmla="*/ 7497 h 396"/>
              <a:gd name="T16" fmla="*/ 405357 w 280"/>
              <a:gd name="T17" fmla="*/ 0 h 396"/>
              <a:gd name="T18" fmla="*/ 371577 w 280"/>
              <a:gd name="T19" fmla="*/ 22490 h 396"/>
              <a:gd name="T20" fmla="*/ 371577 w 280"/>
              <a:gd name="T21" fmla="*/ 29986 h 396"/>
              <a:gd name="T22" fmla="*/ 371577 w 280"/>
              <a:gd name="T23" fmla="*/ 29986 h 396"/>
              <a:gd name="T24" fmla="*/ 157639 w 280"/>
              <a:gd name="T25" fmla="*/ 610967 h 396"/>
              <a:gd name="T26" fmla="*/ 0 w 280"/>
              <a:gd name="T27" fmla="*/ 974549 h 396"/>
              <a:gd name="T28" fmla="*/ 394097 w 280"/>
              <a:gd name="T29" fmla="*/ 1484313 h 396"/>
              <a:gd name="T30" fmla="*/ 409110 w 280"/>
              <a:gd name="T31" fmla="*/ 1484313 h 396"/>
              <a:gd name="T32" fmla="*/ 435383 w 280"/>
              <a:gd name="T33" fmla="*/ 1469320 h 396"/>
              <a:gd name="T34" fmla="*/ 420370 w 280"/>
              <a:gd name="T35" fmla="*/ 1428089 h 396"/>
              <a:gd name="T36" fmla="*/ 784440 w 280"/>
              <a:gd name="T37" fmla="*/ 359833 h 396"/>
              <a:gd name="T38" fmla="*/ 743154 w 280"/>
              <a:gd name="T39" fmla="*/ 352337 h 396"/>
              <a:gd name="T40" fmla="*/ 739401 w 280"/>
              <a:gd name="T41" fmla="*/ 397316 h 396"/>
              <a:gd name="T42" fmla="*/ 957092 w 280"/>
              <a:gd name="T43" fmla="*/ 997039 h 396"/>
              <a:gd name="T44" fmla="*/ 769427 w 280"/>
              <a:gd name="T45" fmla="*/ 1334382 h 396"/>
              <a:gd name="T46" fmla="*/ 825727 w 280"/>
              <a:gd name="T47" fmla="*/ 974549 h 396"/>
              <a:gd name="T48" fmla="*/ 536722 w 280"/>
              <a:gd name="T49" fmla="*/ 565988 h 396"/>
              <a:gd name="T50" fmla="*/ 506696 w 280"/>
              <a:gd name="T51" fmla="*/ 565988 h 396"/>
              <a:gd name="T52" fmla="*/ 491683 w 280"/>
              <a:gd name="T53" fmla="*/ 595974 h 396"/>
              <a:gd name="T54" fmla="*/ 367824 w 280"/>
              <a:gd name="T55" fmla="*/ 948311 h 396"/>
              <a:gd name="T56" fmla="*/ 379084 w 280"/>
              <a:gd name="T57" fmla="*/ 1326886 h 396"/>
              <a:gd name="T58" fmla="*/ 420370 w 280"/>
              <a:gd name="T59" fmla="*/ 1326886 h 396"/>
              <a:gd name="T60" fmla="*/ 424123 w 280"/>
              <a:gd name="T61" fmla="*/ 1285655 h 396"/>
              <a:gd name="T62" fmla="*/ 420370 w 280"/>
              <a:gd name="T63" fmla="*/ 982045 h 396"/>
              <a:gd name="T64" fmla="*/ 551736 w 280"/>
              <a:gd name="T65" fmla="*/ 652198 h 396"/>
              <a:gd name="T66" fmla="*/ 765674 w 280"/>
              <a:gd name="T67" fmla="*/ 985794 h 396"/>
              <a:gd name="T68" fmla="*/ 641815 w 280"/>
              <a:gd name="T69" fmla="*/ 1439334 h 396"/>
              <a:gd name="T70" fmla="*/ 645568 w 280"/>
              <a:gd name="T71" fmla="*/ 1476816 h 396"/>
              <a:gd name="T72" fmla="*/ 664335 w 280"/>
              <a:gd name="T73" fmla="*/ 1484313 h 396"/>
              <a:gd name="T74" fmla="*/ 683101 w 280"/>
              <a:gd name="T75" fmla="*/ 1480565 h 396"/>
              <a:gd name="T76" fmla="*/ 1017145 w 280"/>
              <a:gd name="T77" fmla="*/ 1004535 h 396"/>
              <a:gd name="T78" fmla="*/ 784440 w 280"/>
              <a:gd name="T79" fmla="*/ 359833 h 3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80" h="396">
                <a:moveTo>
                  <a:pt x="112" y="381"/>
                </a:moveTo>
                <a:cubicBezTo>
                  <a:pt x="111" y="381"/>
                  <a:pt x="16" y="335"/>
                  <a:pt x="16" y="260"/>
                </a:cubicBezTo>
                <a:cubicBezTo>
                  <a:pt x="16" y="227"/>
                  <a:pt x="34" y="202"/>
                  <a:pt x="55" y="172"/>
                </a:cubicBezTo>
                <a:cubicBezTo>
                  <a:pt x="82" y="135"/>
                  <a:pt x="112" y="93"/>
                  <a:pt x="115" y="24"/>
                </a:cubicBezTo>
                <a:cubicBezTo>
                  <a:pt x="129" y="36"/>
                  <a:pt x="152" y="56"/>
                  <a:pt x="176" y="82"/>
                </a:cubicBezTo>
                <a:cubicBezTo>
                  <a:pt x="179" y="85"/>
                  <a:pt x="185" y="86"/>
                  <a:pt x="188" y="83"/>
                </a:cubicBezTo>
                <a:cubicBezTo>
                  <a:pt x="191" y="80"/>
                  <a:pt x="191" y="75"/>
                  <a:pt x="188" y="71"/>
                </a:cubicBezTo>
                <a:cubicBezTo>
                  <a:pt x="151" y="31"/>
                  <a:pt x="116" y="5"/>
                  <a:pt x="111" y="2"/>
                </a:cubicBezTo>
                <a:cubicBezTo>
                  <a:pt x="110" y="1"/>
                  <a:pt x="109" y="0"/>
                  <a:pt x="108" y="0"/>
                </a:cubicBezTo>
                <a:cubicBezTo>
                  <a:pt x="104" y="0"/>
                  <a:pt x="100" y="2"/>
                  <a:pt x="99" y="6"/>
                </a:cubicBezTo>
                <a:cubicBezTo>
                  <a:pt x="99" y="7"/>
                  <a:pt x="99" y="7"/>
                  <a:pt x="99" y="8"/>
                </a:cubicBezTo>
                <a:cubicBezTo>
                  <a:pt x="99" y="8"/>
                  <a:pt x="99" y="8"/>
                  <a:pt x="99" y="8"/>
                </a:cubicBezTo>
                <a:cubicBezTo>
                  <a:pt x="100" y="81"/>
                  <a:pt x="69" y="125"/>
                  <a:pt x="42" y="163"/>
                </a:cubicBezTo>
                <a:cubicBezTo>
                  <a:pt x="21" y="193"/>
                  <a:pt x="0" y="222"/>
                  <a:pt x="0" y="260"/>
                </a:cubicBezTo>
                <a:cubicBezTo>
                  <a:pt x="0" y="345"/>
                  <a:pt x="101" y="394"/>
                  <a:pt x="105" y="396"/>
                </a:cubicBezTo>
                <a:cubicBezTo>
                  <a:pt x="106" y="396"/>
                  <a:pt x="107" y="396"/>
                  <a:pt x="109" y="396"/>
                </a:cubicBezTo>
                <a:cubicBezTo>
                  <a:pt x="112" y="396"/>
                  <a:pt x="114" y="395"/>
                  <a:pt x="116" y="392"/>
                </a:cubicBezTo>
                <a:cubicBezTo>
                  <a:pt x="118" y="388"/>
                  <a:pt x="116" y="383"/>
                  <a:pt x="112" y="381"/>
                </a:cubicBezTo>
                <a:close/>
                <a:moveTo>
                  <a:pt x="209" y="96"/>
                </a:moveTo>
                <a:cubicBezTo>
                  <a:pt x="206" y="92"/>
                  <a:pt x="201" y="92"/>
                  <a:pt x="198" y="94"/>
                </a:cubicBezTo>
                <a:cubicBezTo>
                  <a:pt x="195" y="97"/>
                  <a:pt x="194" y="102"/>
                  <a:pt x="197" y="106"/>
                </a:cubicBezTo>
                <a:cubicBezTo>
                  <a:pt x="228" y="145"/>
                  <a:pt x="264" y="205"/>
                  <a:pt x="255" y="266"/>
                </a:cubicBezTo>
                <a:cubicBezTo>
                  <a:pt x="250" y="298"/>
                  <a:pt x="234" y="328"/>
                  <a:pt x="205" y="356"/>
                </a:cubicBezTo>
                <a:cubicBezTo>
                  <a:pt x="216" y="331"/>
                  <a:pt x="225" y="297"/>
                  <a:pt x="220" y="260"/>
                </a:cubicBezTo>
                <a:cubicBezTo>
                  <a:pt x="213" y="218"/>
                  <a:pt x="187" y="181"/>
                  <a:pt x="143" y="151"/>
                </a:cubicBezTo>
                <a:cubicBezTo>
                  <a:pt x="141" y="150"/>
                  <a:pt x="137" y="150"/>
                  <a:pt x="135" y="151"/>
                </a:cubicBezTo>
                <a:cubicBezTo>
                  <a:pt x="132" y="153"/>
                  <a:pt x="131" y="156"/>
                  <a:pt x="131" y="159"/>
                </a:cubicBezTo>
                <a:cubicBezTo>
                  <a:pt x="131" y="159"/>
                  <a:pt x="135" y="198"/>
                  <a:pt x="98" y="253"/>
                </a:cubicBezTo>
                <a:cubicBezTo>
                  <a:pt x="74" y="289"/>
                  <a:pt x="75" y="327"/>
                  <a:pt x="101" y="354"/>
                </a:cubicBezTo>
                <a:cubicBezTo>
                  <a:pt x="104" y="357"/>
                  <a:pt x="109" y="357"/>
                  <a:pt x="112" y="354"/>
                </a:cubicBezTo>
                <a:cubicBezTo>
                  <a:pt x="116" y="351"/>
                  <a:pt x="116" y="346"/>
                  <a:pt x="113" y="343"/>
                </a:cubicBezTo>
                <a:cubicBezTo>
                  <a:pt x="91" y="321"/>
                  <a:pt x="91" y="292"/>
                  <a:pt x="112" y="262"/>
                </a:cubicBezTo>
                <a:cubicBezTo>
                  <a:pt x="138" y="223"/>
                  <a:pt x="145" y="192"/>
                  <a:pt x="147" y="174"/>
                </a:cubicBezTo>
                <a:cubicBezTo>
                  <a:pt x="179" y="199"/>
                  <a:pt x="198" y="229"/>
                  <a:pt x="204" y="263"/>
                </a:cubicBezTo>
                <a:cubicBezTo>
                  <a:pt x="214" y="326"/>
                  <a:pt x="171" y="383"/>
                  <a:pt x="171" y="384"/>
                </a:cubicBezTo>
                <a:cubicBezTo>
                  <a:pt x="169" y="387"/>
                  <a:pt x="169" y="391"/>
                  <a:pt x="172" y="394"/>
                </a:cubicBezTo>
                <a:cubicBezTo>
                  <a:pt x="173" y="396"/>
                  <a:pt x="175" y="396"/>
                  <a:pt x="177" y="396"/>
                </a:cubicBezTo>
                <a:cubicBezTo>
                  <a:pt x="179" y="396"/>
                  <a:pt x="181" y="396"/>
                  <a:pt x="182" y="395"/>
                </a:cubicBezTo>
                <a:cubicBezTo>
                  <a:pt x="234" y="359"/>
                  <a:pt x="264" y="316"/>
                  <a:pt x="271" y="268"/>
                </a:cubicBezTo>
                <a:cubicBezTo>
                  <a:pt x="280" y="201"/>
                  <a:pt x="243" y="137"/>
                  <a:pt x="209" y="96"/>
                </a:cubicBezTo>
                <a:close/>
              </a:path>
            </a:pathLst>
          </a:custGeom>
          <a:solidFill>
            <a:srgbClr val="FF0000"/>
          </a:solidFill>
          <a:ln>
            <a:noFill/>
          </a:ln>
          <a:ex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Ericsson Hilda Light" panose="00000400000000000000" pitchFamily="2" charset="0"/>
            </a:endParaRPr>
          </a:p>
        </p:txBody>
      </p:sp>
    </p:spTree>
    <p:extLst>
      <p:ext uri="{BB962C8B-B14F-4D97-AF65-F5344CB8AC3E}">
        <p14:creationId xmlns:p14="http://schemas.microsoft.com/office/powerpoint/2010/main" val="1389722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2"/>
          <p:cNvSpPr>
            <a:spLocks noGrp="1"/>
          </p:cNvSpPr>
          <p:nvPr>
            <p:ph type="title"/>
          </p:nvPr>
        </p:nvSpPr>
        <p:spPr/>
        <p:txBody>
          <a:bodyPr/>
          <a:lstStyle/>
          <a:p>
            <a:r>
              <a:rPr lang="en-US" altLang="en-US" dirty="0"/>
              <a:t>Change Management</a:t>
            </a:r>
            <a:br>
              <a:rPr lang="en-US" altLang="en-US" dirty="0"/>
            </a:br>
            <a:r>
              <a:rPr lang="en-US" altLang="en-US" dirty="0"/>
              <a:t>Networks &amp; DGS </a:t>
            </a:r>
          </a:p>
        </p:txBody>
      </p:sp>
      <p:cxnSp>
        <p:nvCxnSpPr>
          <p:cNvPr id="10" name="Straight Connector 9"/>
          <p:cNvCxnSpPr/>
          <p:nvPr/>
        </p:nvCxnSpPr>
        <p:spPr bwMode="auto">
          <a:xfrm>
            <a:off x="4167091" y="1760859"/>
            <a:ext cx="0" cy="4114800"/>
          </a:xfrm>
          <a:prstGeom prst="line">
            <a:avLst/>
          </a:prstGeom>
          <a:solidFill>
            <a:schemeClr val="accent1"/>
          </a:solidFill>
          <a:ln w="38100" cap="rnd" cmpd="sng" algn="ctr">
            <a:solidFill>
              <a:srgbClr val="D1D2D4"/>
            </a:solidFill>
            <a:prstDash val="solid"/>
            <a:round/>
            <a:headEnd type="none" w="med" len="med"/>
            <a:tailEnd type="none" w="med" len="med"/>
          </a:ln>
          <a:effectLst/>
        </p:spPr>
      </p:cxnSp>
      <p:cxnSp>
        <p:nvCxnSpPr>
          <p:cNvPr id="18" name="Straight Connector 17"/>
          <p:cNvCxnSpPr/>
          <p:nvPr/>
        </p:nvCxnSpPr>
        <p:spPr bwMode="auto">
          <a:xfrm>
            <a:off x="8021615" y="1725934"/>
            <a:ext cx="0" cy="4114800"/>
          </a:xfrm>
          <a:prstGeom prst="line">
            <a:avLst/>
          </a:prstGeom>
          <a:solidFill>
            <a:schemeClr val="accent1"/>
          </a:solidFill>
          <a:ln w="38100" cap="rnd" cmpd="sng" algn="ctr">
            <a:solidFill>
              <a:srgbClr val="D1D2D4"/>
            </a:solidFill>
            <a:prstDash val="solid"/>
            <a:round/>
            <a:headEnd type="none" w="med" len="med"/>
            <a:tailEnd type="none" w="med" len="med"/>
          </a:ln>
          <a:effectLst/>
        </p:spPr>
      </p:cxnSp>
      <p:grpSp>
        <p:nvGrpSpPr>
          <p:cNvPr id="19" name="Group 18"/>
          <p:cNvGrpSpPr/>
          <p:nvPr/>
        </p:nvGrpSpPr>
        <p:grpSpPr>
          <a:xfrm>
            <a:off x="221213" y="2653915"/>
            <a:ext cx="3782286" cy="3362555"/>
            <a:chOff x="221213" y="2653915"/>
            <a:chExt cx="3782286" cy="3336157"/>
          </a:xfrm>
        </p:grpSpPr>
        <p:sp>
          <p:nvSpPr>
            <p:cNvPr id="3" name="Oval 2"/>
            <p:cNvSpPr/>
            <p:nvPr/>
          </p:nvSpPr>
          <p:spPr bwMode="auto">
            <a:xfrm>
              <a:off x="2146831" y="4125098"/>
              <a:ext cx="274320" cy="274320"/>
            </a:xfrm>
            <a:prstGeom prst="ellips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cxnSp>
          <p:nvCxnSpPr>
            <p:cNvPr id="5" name="Straight Connector 4"/>
            <p:cNvCxnSpPr/>
            <p:nvPr/>
          </p:nvCxnSpPr>
          <p:spPr bwMode="auto">
            <a:xfrm flipV="1">
              <a:off x="1927757" y="4381794"/>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21" name="Straight Connector 20"/>
            <p:cNvCxnSpPr/>
            <p:nvPr/>
          </p:nvCxnSpPr>
          <p:spPr bwMode="auto">
            <a:xfrm flipV="1">
              <a:off x="2489731" y="4065277"/>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22" name="Straight Connector 21"/>
            <p:cNvCxnSpPr/>
            <p:nvPr/>
          </p:nvCxnSpPr>
          <p:spPr bwMode="auto">
            <a:xfrm flipV="1">
              <a:off x="2283991" y="4484714"/>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23" name="Straight Connector 22"/>
            <p:cNvCxnSpPr/>
            <p:nvPr/>
          </p:nvCxnSpPr>
          <p:spPr bwMode="auto">
            <a:xfrm flipV="1">
              <a:off x="2283991" y="3875210"/>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26" name="Straight Connector 25"/>
            <p:cNvCxnSpPr/>
            <p:nvPr/>
          </p:nvCxnSpPr>
          <p:spPr bwMode="auto">
            <a:xfrm>
              <a:off x="1927757" y="4063189"/>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27" name="Straight Connector 26"/>
            <p:cNvCxnSpPr/>
            <p:nvPr/>
          </p:nvCxnSpPr>
          <p:spPr bwMode="auto">
            <a:xfrm>
              <a:off x="2489731" y="4379706"/>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sp>
          <p:nvSpPr>
            <p:cNvPr id="11" name="Oval 10"/>
            <p:cNvSpPr>
              <a:spLocks noChangeAspect="1"/>
            </p:cNvSpPr>
            <p:nvPr/>
          </p:nvSpPr>
          <p:spPr bwMode="auto">
            <a:xfrm>
              <a:off x="1164434" y="3488923"/>
              <a:ext cx="731520" cy="731520"/>
            </a:xfrm>
            <a:prstGeom prst="ellipse">
              <a:avLst/>
            </a:prstGeom>
            <a:solidFill>
              <a:srgbClr val="92D05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29" name="Oval 28"/>
            <p:cNvSpPr>
              <a:spLocks noChangeAspect="1"/>
            </p:cNvSpPr>
            <p:nvPr/>
          </p:nvSpPr>
          <p:spPr bwMode="auto">
            <a:xfrm>
              <a:off x="1918231" y="3058393"/>
              <a:ext cx="731520" cy="731520"/>
            </a:xfrm>
            <a:prstGeom prst="ellipse">
              <a:avLst/>
            </a:prstGeom>
            <a:solidFill>
              <a:srgbClr val="00B0F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30" name="Oval 29"/>
            <p:cNvSpPr>
              <a:spLocks noChangeAspect="1"/>
            </p:cNvSpPr>
            <p:nvPr/>
          </p:nvSpPr>
          <p:spPr bwMode="auto">
            <a:xfrm>
              <a:off x="1164434" y="4298834"/>
              <a:ext cx="731520" cy="731520"/>
            </a:xfrm>
            <a:prstGeom prst="ellipse">
              <a:avLst/>
            </a:prstGeom>
            <a:solidFill>
              <a:srgbClr val="00A9D4"/>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31" name="Oval 30"/>
            <p:cNvSpPr>
              <a:spLocks noChangeAspect="1"/>
            </p:cNvSpPr>
            <p:nvPr/>
          </p:nvSpPr>
          <p:spPr bwMode="auto">
            <a:xfrm>
              <a:off x="2669385" y="3488923"/>
              <a:ext cx="731520" cy="731520"/>
            </a:xfrm>
            <a:prstGeom prst="ellipse">
              <a:avLst/>
            </a:prstGeom>
            <a:solidFill>
              <a:srgbClr val="00A9D4"/>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32" name="Oval 31"/>
            <p:cNvSpPr>
              <a:spLocks noChangeAspect="1"/>
            </p:cNvSpPr>
            <p:nvPr/>
          </p:nvSpPr>
          <p:spPr bwMode="auto">
            <a:xfrm>
              <a:off x="2669385" y="4298834"/>
              <a:ext cx="731520" cy="731520"/>
            </a:xfrm>
            <a:prstGeom prst="ellipse">
              <a:avLst/>
            </a:prstGeom>
            <a:solidFill>
              <a:srgbClr val="00A9D4"/>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33" name="Oval 32"/>
            <p:cNvSpPr>
              <a:spLocks noChangeAspect="1"/>
            </p:cNvSpPr>
            <p:nvPr/>
          </p:nvSpPr>
          <p:spPr bwMode="auto">
            <a:xfrm>
              <a:off x="1920612" y="4734603"/>
              <a:ext cx="731520" cy="731520"/>
            </a:xfrm>
            <a:prstGeom prst="ellipse">
              <a:avLst/>
            </a:prstGeom>
            <a:solidFill>
              <a:srgbClr val="00B0F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37" name="Freeform 3"/>
            <p:cNvSpPr>
              <a:spLocks noChangeAspect="1" noEditPoints="1"/>
            </p:cNvSpPr>
            <p:nvPr/>
          </p:nvSpPr>
          <p:spPr bwMode="auto">
            <a:xfrm>
              <a:off x="2793578" y="3671803"/>
              <a:ext cx="483134" cy="365760"/>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8" name="Freeform 3"/>
            <p:cNvSpPr>
              <a:spLocks noChangeAspect="1" noEditPoints="1"/>
            </p:cNvSpPr>
            <p:nvPr/>
          </p:nvSpPr>
          <p:spPr bwMode="auto">
            <a:xfrm>
              <a:off x="2050368" y="3119353"/>
              <a:ext cx="467247" cy="548640"/>
            </a:xfrm>
            <a:custGeom>
              <a:avLst/>
              <a:gdLst>
                <a:gd name="T0" fmla="*/ 2147483647 w 384"/>
                <a:gd name="T1" fmla="*/ 2147483647 h 451"/>
                <a:gd name="T2" fmla="*/ 2147483647 w 384"/>
                <a:gd name="T3" fmla="*/ 2147483647 h 451"/>
                <a:gd name="T4" fmla="*/ 2147483647 w 384"/>
                <a:gd name="T5" fmla="*/ 2147483647 h 451"/>
                <a:gd name="T6" fmla="*/ 2147483647 w 384"/>
                <a:gd name="T7" fmla="*/ 2147483647 h 451"/>
                <a:gd name="T8" fmla="*/ 2147483647 w 384"/>
                <a:gd name="T9" fmla="*/ 2147483647 h 451"/>
                <a:gd name="T10" fmla="*/ 2147483647 w 384"/>
                <a:gd name="T11" fmla="*/ 2147483647 h 451"/>
                <a:gd name="T12" fmla="*/ 2147483647 w 384"/>
                <a:gd name="T13" fmla="*/ 2147483647 h 451"/>
                <a:gd name="T14" fmla="*/ 2147483647 w 384"/>
                <a:gd name="T15" fmla="*/ 2147483647 h 451"/>
                <a:gd name="T16" fmla="*/ 2147483647 w 384"/>
                <a:gd name="T17" fmla="*/ 2147483647 h 451"/>
                <a:gd name="T18" fmla="*/ 2147483647 w 384"/>
                <a:gd name="T19" fmla="*/ 2147483647 h 451"/>
                <a:gd name="T20" fmla="*/ 2147483647 w 384"/>
                <a:gd name="T21" fmla="*/ 2147483647 h 451"/>
                <a:gd name="T22" fmla="*/ 0 w 384"/>
                <a:gd name="T23" fmla="*/ 2147483647 h 451"/>
                <a:gd name="T24" fmla="*/ 0 w 384"/>
                <a:gd name="T25" fmla="*/ 2147483647 h 451"/>
                <a:gd name="T26" fmla="*/ 2147483647 w 384"/>
                <a:gd name="T27" fmla="*/ 2147483647 h 451"/>
                <a:gd name="T28" fmla="*/ 2147483647 w 384"/>
                <a:gd name="T29" fmla="*/ 2147483647 h 451"/>
                <a:gd name="T30" fmla="*/ 2147483647 w 384"/>
                <a:gd name="T31" fmla="*/ 2147483647 h 451"/>
                <a:gd name="T32" fmla="*/ 2147483647 w 384"/>
                <a:gd name="T33" fmla="*/ 2147483647 h 451"/>
                <a:gd name="T34" fmla="*/ 2147483647 w 384"/>
                <a:gd name="T35" fmla="*/ 2147483647 h 451"/>
                <a:gd name="T36" fmla="*/ 2147483647 w 384"/>
                <a:gd name="T37" fmla="*/ 2147483647 h 451"/>
                <a:gd name="T38" fmla="*/ 2147483647 w 384"/>
                <a:gd name="T39" fmla="*/ 2147483647 h 451"/>
                <a:gd name="T40" fmla="*/ 2147483647 w 384"/>
                <a:gd name="T41" fmla="*/ 2147483647 h 451"/>
                <a:gd name="T42" fmla="*/ 2147483647 w 384"/>
                <a:gd name="T43" fmla="*/ 2147483647 h 451"/>
                <a:gd name="T44" fmla="*/ 2147483647 w 384"/>
                <a:gd name="T45" fmla="*/ 2147483647 h 451"/>
                <a:gd name="T46" fmla="*/ 2147483647 w 384"/>
                <a:gd name="T47" fmla="*/ 2147483647 h 451"/>
                <a:gd name="T48" fmla="*/ 2147483647 w 384"/>
                <a:gd name="T49" fmla="*/ 2147483647 h 451"/>
                <a:gd name="T50" fmla="*/ 2147483647 w 384"/>
                <a:gd name="T51" fmla="*/ 2147483647 h 451"/>
                <a:gd name="T52" fmla="*/ 2147483647 w 384"/>
                <a:gd name="T53" fmla="*/ 2147483647 h 451"/>
                <a:gd name="T54" fmla="*/ 2147483647 w 384"/>
                <a:gd name="T55" fmla="*/ 2147483647 h 451"/>
                <a:gd name="T56" fmla="*/ 2147483647 w 384"/>
                <a:gd name="T57" fmla="*/ 2147483647 h 451"/>
                <a:gd name="T58" fmla="*/ 2147483647 w 384"/>
                <a:gd name="T59" fmla="*/ 2147483647 h 451"/>
                <a:gd name="T60" fmla="*/ 2147483647 w 384"/>
                <a:gd name="T61" fmla="*/ 2147483647 h 451"/>
                <a:gd name="T62" fmla="*/ 2147483647 w 384"/>
                <a:gd name="T63" fmla="*/ 2147483647 h 451"/>
                <a:gd name="T64" fmla="*/ 2147483647 w 384"/>
                <a:gd name="T65" fmla="*/ 2147483647 h 451"/>
                <a:gd name="T66" fmla="*/ 2147483647 w 384"/>
                <a:gd name="T67" fmla="*/ 2147483647 h 451"/>
                <a:gd name="T68" fmla="*/ 2147483647 w 384"/>
                <a:gd name="T69" fmla="*/ 2147483647 h 451"/>
                <a:gd name="T70" fmla="*/ 2147483647 w 384"/>
                <a:gd name="T71" fmla="*/ 2147483647 h 451"/>
                <a:gd name="T72" fmla="*/ 2147483647 w 384"/>
                <a:gd name="T73" fmla="*/ 2147483647 h 451"/>
                <a:gd name="T74" fmla="*/ 2147483647 w 384"/>
                <a:gd name="T75" fmla="*/ 2147483647 h 451"/>
                <a:gd name="T76" fmla="*/ 2147483647 w 384"/>
                <a:gd name="T77" fmla="*/ 2147483647 h 451"/>
                <a:gd name="T78" fmla="*/ 2147483647 w 384"/>
                <a:gd name="T79" fmla="*/ 2147483647 h 451"/>
                <a:gd name="T80" fmla="*/ 2147483647 w 384"/>
                <a:gd name="T81" fmla="*/ 2147483647 h 451"/>
                <a:gd name="T82" fmla="*/ 2147483647 w 384"/>
                <a:gd name="T83" fmla="*/ 2147483647 h 451"/>
                <a:gd name="T84" fmla="*/ 2147483647 w 384"/>
                <a:gd name="T85" fmla="*/ 2147483647 h 451"/>
                <a:gd name="T86" fmla="*/ 2147483647 w 384"/>
                <a:gd name="T87" fmla="*/ 2147483647 h 451"/>
                <a:gd name="T88" fmla="*/ 2147483647 w 384"/>
                <a:gd name="T89" fmla="*/ 2147483647 h 451"/>
                <a:gd name="T90" fmla="*/ 2147483647 w 384"/>
                <a:gd name="T91" fmla="*/ 2147483647 h 451"/>
                <a:gd name="T92" fmla="*/ 2147483647 w 384"/>
                <a:gd name="T93" fmla="*/ 2147483647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84" h="451">
                  <a:moveTo>
                    <a:pt x="240" y="101"/>
                  </a:moveTo>
                  <a:cubicBezTo>
                    <a:pt x="236" y="101"/>
                    <a:pt x="232" y="104"/>
                    <a:pt x="232" y="109"/>
                  </a:cubicBezTo>
                  <a:cubicBezTo>
                    <a:pt x="231" y="113"/>
                    <a:pt x="235" y="117"/>
                    <a:pt x="239" y="117"/>
                  </a:cubicBezTo>
                  <a:cubicBezTo>
                    <a:pt x="303" y="122"/>
                    <a:pt x="368" y="172"/>
                    <a:pt x="368" y="259"/>
                  </a:cubicBezTo>
                  <a:cubicBezTo>
                    <a:pt x="368" y="275"/>
                    <a:pt x="366" y="290"/>
                    <a:pt x="362" y="305"/>
                  </a:cubicBezTo>
                  <a:cubicBezTo>
                    <a:pt x="361" y="291"/>
                    <a:pt x="351" y="279"/>
                    <a:pt x="341" y="274"/>
                  </a:cubicBezTo>
                  <a:cubicBezTo>
                    <a:pt x="347" y="267"/>
                    <a:pt x="350" y="258"/>
                    <a:pt x="350" y="248"/>
                  </a:cubicBezTo>
                  <a:cubicBezTo>
                    <a:pt x="350" y="225"/>
                    <a:pt x="331" y="207"/>
                    <a:pt x="309" y="207"/>
                  </a:cubicBezTo>
                  <a:cubicBezTo>
                    <a:pt x="286" y="207"/>
                    <a:pt x="267" y="225"/>
                    <a:pt x="267" y="248"/>
                  </a:cubicBezTo>
                  <a:cubicBezTo>
                    <a:pt x="267" y="258"/>
                    <a:pt x="271" y="267"/>
                    <a:pt x="277" y="275"/>
                  </a:cubicBezTo>
                  <a:cubicBezTo>
                    <a:pt x="269" y="279"/>
                    <a:pt x="260" y="287"/>
                    <a:pt x="258" y="301"/>
                  </a:cubicBezTo>
                  <a:cubicBezTo>
                    <a:pt x="252" y="294"/>
                    <a:pt x="245" y="289"/>
                    <a:pt x="239" y="286"/>
                  </a:cubicBezTo>
                  <a:cubicBezTo>
                    <a:pt x="249" y="274"/>
                    <a:pt x="256" y="259"/>
                    <a:pt x="256" y="243"/>
                  </a:cubicBezTo>
                  <a:cubicBezTo>
                    <a:pt x="256" y="208"/>
                    <a:pt x="227" y="180"/>
                    <a:pt x="192" y="180"/>
                  </a:cubicBezTo>
                  <a:cubicBezTo>
                    <a:pt x="158" y="180"/>
                    <a:pt x="129" y="208"/>
                    <a:pt x="129" y="243"/>
                  </a:cubicBezTo>
                  <a:cubicBezTo>
                    <a:pt x="129" y="259"/>
                    <a:pt x="136" y="274"/>
                    <a:pt x="146" y="286"/>
                  </a:cubicBezTo>
                  <a:cubicBezTo>
                    <a:pt x="140" y="289"/>
                    <a:pt x="133" y="294"/>
                    <a:pt x="127" y="301"/>
                  </a:cubicBezTo>
                  <a:cubicBezTo>
                    <a:pt x="125" y="287"/>
                    <a:pt x="116" y="279"/>
                    <a:pt x="108" y="275"/>
                  </a:cubicBezTo>
                  <a:cubicBezTo>
                    <a:pt x="114" y="267"/>
                    <a:pt x="118" y="258"/>
                    <a:pt x="118" y="248"/>
                  </a:cubicBezTo>
                  <a:cubicBezTo>
                    <a:pt x="118" y="225"/>
                    <a:pt x="99" y="207"/>
                    <a:pt x="76" y="207"/>
                  </a:cubicBezTo>
                  <a:cubicBezTo>
                    <a:pt x="54" y="207"/>
                    <a:pt x="35" y="225"/>
                    <a:pt x="35" y="248"/>
                  </a:cubicBezTo>
                  <a:cubicBezTo>
                    <a:pt x="35" y="258"/>
                    <a:pt x="38" y="267"/>
                    <a:pt x="44" y="274"/>
                  </a:cubicBezTo>
                  <a:cubicBezTo>
                    <a:pt x="34" y="279"/>
                    <a:pt x="24" y="292"/>
                    <a:pt x="23" y="307"/>
                  </a:cubicBezTo>
                  <a:cubicBezTo>
                    <a:pt x="18" y="292"/>
                    <a:pt x="16" y="276"/>
                    <a:pt x="16" y="260"/>
                  </a:cubicBezTo>
                  <a:cubicBezTo>
                    <a:pt x="16" y="124"/>
                    <a:pt x="106" y="90"/>
                    <a:pt x="162" y="83"/>
                  </a:cubicBezTo>
                  <a:cubicBezTo>
                    <a:pt x="166" y="99"/>
                    <a:pt x="166" y="99"/>
                    <a:pt x="166" y="99"/>
                  </a:cubicBezTo>
                  <a:cubicBezTo>
                    <a:pt x="167" y="102"/>
                    <a:pt x="169" y="104"/>
                    <a:pt x="172" y="105"/>
                  </a:cubicBezTo>
                  <a:cubicBezTo>
                    <a:pt x="175" y="106"/>
                    <a:pt x="178" y="104"/>
                    <a:pt x="180" y="102"/>
                  </a:cubicBezTo>
                  <a:cubicBezTo>
                    <a:pt x="225" y="43"/>
                    <a:pt x="225" y="43"/>
                    <a:pt x="225" y="43"/>
                  </a:cubicBezTo>
                  <a:cubicBezTo>
                    <a:pt x="226" y="41"/>
                    <a:pt x="227" y="38"/>
                    <a:pt x="226" y="36"/>
                  </a:cubicBezTo>
                  <a:cubicBezTo>
                    <a:pt x="226" y="34"/>
                    <a:pt x="224" y="32"/>
                    <a:pt x="222" y="31"/>
                  </a:cubicBezTo>
                  <a:cubicBezTo>
                    <a:pt x="154" y="1"/>
                    <a:pt x="154" y="1"/>
                    <a:pt x="154" y="1"/>
                  </a:cubicBezTo>
                  <a:cubicBezTo>
                    <a:pt x="151" y="0"/>
                    <a:pt x="148" y="1"/>
                    <a:pt x="145" y="3"/>
                  </a:cubicBezTo>
                  <a:cubicBezTo>
                    <a:pt x="143" y="5"/>
                    <a:pt x="142" y="8"/>
                    <a:pt x="143" y="11"/>
                  </a:cubicBezTo>
                  <a:cubicBezTo>
                    <a:pt x="147" y="26"/>
                    <a:pt x="147" y="26"/>
                    <a:pt x="147" y="26"/>
                  </a:cubicBezTo>
                  <a:cubicBezTo>
                    <a:pt x="108" y="38"/>
                    <a:pt x="1" y="115"/>
                    <a:pt x="0" y="258"/>
                  </a:cubicBezTo>
                  <a:cubicBezTo>
                    <a:pt x="0" y="259"/>
                    <a:pt x="0" y="259"/>
                    <a:pt x="0" y="259"/>
                  </a:cubicBezTo>
                  <a:cubicBezTo>
                    <a:pt x="0" y="259"/>
                    <a:pt x="0" y="259"/>
                    <a:pt x="0" y="259"/>
                  </a:cubicBezTo>
                  <a:cubicBezTo>
                    <a:pt x="0" y="259"/>
                    <a:pt x="0" y="259"/>
                    <a:pt x="0" y="259"/>
                  </a:cubicBezTo>
                  <a:cubicBezTo>
                    <a:pt x="0" y="259"/>
                    <a:pt x="0" y="259"/>
                    <a:pt x="0" y="259"/>
                  </a:cubicBezTo>
                  <a:cubicBezTo>
                    <a:pt x="0" y="365"/>
                    <a:pt x="86" y="451"/>
                    <a:pt x="192" y="451"/>
                  </a:cubicBezTo>
                  <a:cubicBezTo>
                    <a:pt x="298" y="451"/>
                    <a:pt x="384" y="365"/>
                    <a:pt x="384" y="259"/>
                  </a:cubicBezTo>
                  <a:cubicBezTo>
                    <a:pt x="384" y="162"/>
                    <a:pt x="312" y="107"/>
                    <a:pt x="240" y="101"/>
                  </a:cubicBezTo>
                  <a:close/>
                  <a:moveTo>
                    <a:pt x="159" y="39"/>
                  </a:moveTo>
                  <a:cubicBezTo>
                    <a:pt x="161" y="39"/>
                    <a:pt x="163" y="37"/>
                    <a:pt x="164" y="35"/>
                  </a:cubicBezTo>
                  <a:cubicBezTo>
                    <a:pt x="165" y="34"/>
                    <a:pt x="165" y="31"/>
                    <a:pt x="165" y="29"/>
                  </a:cubicBezTo>
                  <a:cubicBezTo>
                    <a:pt x="163" y="23"/>
                    <a:pt x="163" y="23"/>
                    <a:pt x="163" y="23"/>
                  </a:cubicBezTo>
                  <a:cubicBezTo>
                    <a:pt x="206" y="41"/>
                    <a:pt x="206" y="41"/>
                    <a:pt x="206" y="41"/>
                  </a:cubicBezTo>
                  <a:cubicBezTo>
                    <a:pt x="177" y="79"/>
                    <a:pt x="177" y="79"/>
                    <a:pt x="177" y="79"/>
                  </a:cubicBezTo>
                  <a:cubicBezTo>
                    <a:pt x="176" y="74"/>
                    <a:pt x="176" y="74"/>
                    <a:pt x="176" y="74"/>
                  </a:cubicBezTo>
                  <a:cubicBezTo>
                    <a:pt x="175" y="71"/>
                    <a:pt x="172" y="68"/>
                    <a:pt x="169" y="68"/>
                  </a:cubicBezTo>
                  <a:cubicBezTo>
                    <a:pt x="169" y="68"/>
                    <a:pt x="168" y="68"/>
                    <a:pt x="167" y="68"/>
                  </a:cubicBezTo>
                  <a:cubicBezTo>
                    <a:pt x="163" y="69"/>
                    <a:pt x="163" y="69"/>
                    <a:pt x="163" y="69"/>
                  </a:cubicBezTo>
                  <a:cubicBezTo>
                    <a:pt x="143" y="71"/>
                    <a:pt x="106" y="75"/>
                    <a:pt x="75" y="99"/>
                  </a:cubicBezTo>
                  <a:cubicBezTo>
                    <a:pt x="110" y="51"/>
                    <a:pt x="158" y="39"/>
                    <a:pt x="159" y="39"/>
                  </a:cubicBezTo>
                  <a:close/>
                  <a:moveTo>
                    <a:pt x="76" y="223"/>
                  </a:moveTo>
                  <a:cubicBezTo>
                    <a:pt x="90" y="223"/>
                    <a:pt x="102" y="234"/>
                    <a:pt x="102" y="248"/>
                  </a:cubicBezTo>
                  <a:cubicBezTo>
                    <a:pt x="102" y="262"/>
                    <a:pt x="90" y="273"/>
                    <a:pt x="76" y="273"/>
                  </a:cubicBezTo>
                  <a:cubicBezTo>
                    <a:pt x="62" y="273"/>
                    <a:pt x="51" y="262"/>
                    <a:pt x="51" y="248"/>
                  </a:cubicBezTo>
                  <a:cubicBezTo>
                    <a:pt x="51" y="234"/>
                    <a:pt x="62" y="223"/>
                    <a:pt x="76" y="223"/>
                  </a:cubicBezTo>
                  <a:close/>
                  <a:moveTo>
                    <a:pt x="112" y="415"/>
                  </a:moveTo>
                  <a:cubicBezTo>
                    <a:pt x="111" y="415"/>
                    <a:pt x="111" y="415"/>
                    <a:pt x="111" y="415"/>
                  </a:cubicBezTo>
                  <a:cubicBezTo>
                    <a:pt x="109" y="414"/>
                    <a:pt x="107" y="413"/>
                    <a:pt x="106" y="412"/>
                  </a:cubicBezTo>
                  <a:cubicBezTo>
                    <a:pt x="105" y="412"/>
                    <a:pt x="104" y="411"/>
                    <a:pt x="103" y="410"/>
                  </a:cubicBezTo>
                  <a:cubicBezTo>
                    <a:pt x="100" y="409"/>
                    <a:pt x="98" y="407"/>
                    <a:pt x="95" y="406"/>
                  </a:cubicBezTo>
                  <a:cubicBezTo>
                    <a:pt x="94" y="405"/>
                    <a:pt x="93" y="404"/>
                    <a:pt x="91" y="403"/>
                  </a:cubicBezTo>
                  <a:cubicBezTo>
                    <a:pt x="89" y="402"/>
                    <a:pt x="88" y="401"/>
                    <a:pt x="86" y="399"/>
                  </a:cubicBezTo>
                  <a:cubicBezTo>
                    <a:pt x="84" y="398"/>
                    <a:pt x="83" y="397"/>
                    <a:pt x="81" y="395"/>
                  </a:cubicBezTo>
                  <a:cubicBezTo>
                    <a:pt x="80" y="395"/>
                    <a:pt x="80" y="394"/>
                    <a:pt x="79" y="394"/>
                  </a:cubicBezTo>
                  <a:cubicBezTo>
                    <a:pt x="63" y="380"/>
                    <a:pt x="49" y="364"/>
                    <a:pt x="39" y="345"/>
                  </a:cubicBezTo>
                  <a:cubicBezTo>
                    <a:pt x="39" y="309"/>
                    <a:pt x="39" y="309"/>
                    <a:pt x="39" y="309"/>
                  </a:cubicBezTo>
                  <a:cubicBezTo>
                    <a:pt x="39" y="297"/>
                    <a:pt x="50" y="287"/>
                    <a:pt x="55" y="286"/>
                  </a:cubicBezTo>
                  <a:cubicBezTo>
                    <a:pt x="56" y="286"/>
                    <a:pt x="57" y="285"/>
                    <a:pt x="58" y="285"/>
                  </a:cubicBezTo>
                  <a:cubicBezTo>
                    <a:pt x="63" y="288"/>
                    <a:pt x="70" y="289"/>
                    <a:pt x="76" y="289"/>
                  </a:cubicBezTo>
                  <a:cubicBezTo>
                    <a:pt x="83" y="289"/>
                    <a:pt x="88" y="288"/>
                    <a:pt x="94" y="286"/>
                  </a:cubicBezTo>
                  <a:cubicBezTo>
                    <a:pt x="94" y="286"/>
                    <a:pt x="94" y="286"/>
                    <a:pt x="94" y="286"/>
                  </a:cubicBezTo>
                  <a:cubicBezTo>
                    <a:pt x="104" y="290"/>
                    <a:pt x="112" y="294"/>
                    <a:pt x="112" y="308"/>
                  </a:cubicBezTo>
                  <a:lnTo>
                    <a:pt x="112" y="415"/>
                  </a:lnTo>
                  <a:close/>
                  <a:moveTo>
                    <a:pt x="145" y="243"/>
                  </a:moveTo>
                  <a:cubicBezTo>
                    <a:pt x="145" y="217"/>
                    <a:pt x="167" y="196"/>
                    <a:pt x="192" y="196"/>
                  </a:cubicBezTo>
                  <a:cubicBezTo>
                    <a:pt x="218" y="196"/>
                    <a:pt x="240" y="217"/>
                    <a:pt x="240" y="243"/>
                  </a:cubicBezTo>
                  <a:cubicBezTo>
                    <a:pt x="240" y="269"/>
                    <a:pt x="218" y="290"/>
                    <a:pt x="192" y="290"/>
                  </a:cubicBezTo>
                  <a:cubicBezTo>
                    <a:pt x="167" y="290"/>
                    <a:pt x="145" y="269"/>
                    <a:pt x="145" y="243"/>
                  </a:cubicBezTo>
                  <a:close/>
                  <a:moveTo>
                    <a:pt x="257" y="422"/>
                  </a:moveTo>
                  <a:cubicBezTo>
                    <a:pt x="256" y="423"/>
                    <a:pt x="255" y="423"/>
                    <a:pt x="253" y="424"/>
                  </a:cubicBezTo>
                  <a:cubicBezTo>
                    <a:pt x="253" y="424"/>
                    <a:pt x="252" y="424"/>
                    <a:pt x="252" y="424"/>
                  </a:cubicBezTo>
                  <a:cubicBezTo>
                    <a:pt x="250" y="425"/>
                    <a:pt x="248" y="426"/>
                    <a:pt x="247" y="426"/>
                  </a:cubicBezTo>
                  <a:cubicBezTo>
                    <a:pt x="245" y="427"/>
                    <a:pt x="244" y="427"/>
                    <a:pt x="243" y="427"/>
                  </a:cubicBezTo>
                  <a:cubicBezTo>
                    <a:pt x="242" y="428"/>
                    <a:pt x="241" y="428"/>
                    <a:pt x="240" y="428"/>
                  </a:cubicBezTo>
                  <a:cubicBezTo>
                    <a:pt x="238" y="429"/>
                    <a:pt x="236" y="429"/>
                    <a:pt x="234" y="430"/>
                  </a:cubicBezTo>
                  <a:cubicBezTo>
                    <a:pt x="234" y="430"/>
                    <a:pt x="233" y="430"/>
                    <a:pt x="233" y="430"/>
                  </a:cubicBezTo>
                  <a:cubicBezTo>
                    <a:pt x="218" y="434"/>
                    <a:pt x="202" y="435"/>
                    <a:pt x="186" y="435"/>
                  </a:cubicBezTo>
                  <a:cubicBezTo>
                    <a:pt x="186" y="435"/>
                    <a:pt x="185" y="435"/>
                    <a:pt x="185" y="435"/>
                  </a:cubicBezTo>
                  <a:cubicBezTo>
                    <a:pt x="183" y="435"/>
                    <a:pt x="180" y="434"/>
                    <a:pt x="178" y="434"/>
                  </a:cubicBezTo>
                  <a:cubicBezTo>
                    <a:pt x="178" y="434"/>
                    <a:pt x="177" y="434"/>
                    <a:pt x="176" y="434"/>
                  </a:cubicBezTo>
                  <a:cubicBezTo>
                    <a:pt x="174" y="434"/>
                    <a:pt x="172" y="434"/>
                    <a:pt x="170" y="433"/>
                  </a:cubicBezTo>
                  <a:cubicBezTo>
                    <a:pt x="169" y="433"/>
                    <a:pt x="168" y="433"/>
                    <a:pt x="168" y="433"/>
                  </a:cubicBezTo>
                  <a:cubicBezTo>
                    <a:pt x="166" y="433"/>
                    <a:pt x="163" y="433"/>
                    <a:pt x="161" y="432"/>
                  </a:cubicBezTo>
                  <a:cubicBezTo>
                    <a:pt x="161" y="432"/>
                    <a:pt x="160" y="432"/>
                    <a:pt x="159" y="432"/>
                  </a:cubicBezTo>
                  <a:cubicBezTo>
                    <a:pt x="157" y="431"/>
                    <a:pt x="155" y="431"/>
                    <a:pt x="153" y="430"/>
                  </a:cubicBezTo>
                  <a:cubicBezTo>
                    <a:pt x="152" y="430"/>
                    <a:pt x="152" y="430"/>
                    <a:pt x="151" y="430"/>
                  </a:cubicBezTo>
                  <a:cubicBezTo>
                    <a:pt x="149" y="430"/>
                    <a:pt x="147" y="429"/>
                    <a:pt x="145" y="428"/>
                  </a:cubicBezTo>
                  <a:cubicBezTo>
                    <a:pt x="144" y="428"/>
                    <a:pt x="144" y="428"/>
                    <a:pt x="143" y="428"/>
                  </a:cubicBezTo>
                  <a:cubicBezTo>
                    <a:pt x="141" y="427"/>
                    <a:pt x="139" y="427"/>
                    <a:pt x="136" y="426"/>
                  </a:cubicBezTo>
                  <a:cubicBezTo>
                    <a:pt x="136" y="426"/>
                    <a:pt x="136" y="426"/>
                    <a:pt x="135" y="425"/>
                  </a:cubicBezTo>
                  <a:cubicBezTo>
                    <a:pt x="133" y="425"/>
                    <a:pt x="131" y="424"/>
                    <a:pt x="128" y="423"/>
                  </a:cubicBezTo>
                  <a:cubicBezTo>
                    <a:pt x="128" y="423"/>
                    <a:pt x="128" y="423"/>
                    <a:pt x="128" y="423"/>
                  </a:cubicBezTo>
                  <a:cubicBezTo>
                    <a:pt x="128" y="340"/>
                    <a:pt x="128" y="340"/>
                    <a:pt x="128" y="340"/>
                  </a:cubicBezTo>
                  <a:cubicBezTo>
                    <a:pt x="128" y="316"/>
                    <a:pt x="147" y="303"/>
                    <a:pt x="160" y="297"/>
                  </a:cubicBezTo>
                  <a:cubicBezTo>
                    <a:pt x="169" y="302"/>
                    <a:pt x="181" y="306"/>
                    <a:pt x="192" y="306"/>
                  </a:cubicBezTo>
                  <a:cubicBezTo>
                    <a:pt x="204" y="306"/>
                    <a:pt x="216" y="302"/>
                    <a:pt x="225" y="297"/>
                  </a:cubicBezTo>
                  <a:cubicBezTo>
                    <a:pt x="238" y="303"/>
                    <a:pt x="257" y="316"/>
                    <a:pt x="257" y="340"/>
                  </a:cubicBezTo>
                  <a:lnTo>
                    <a:pt x="257" y="422"/>
                  </a:lnTo>
                  <a:close/>
                  <a:moveTo>
                    <a:pt x="309" y="223"/>
                  </a:moveTo>
                  <a:cubicBezTo>
                    <a:pt x="323" y="223"/>
                    <a:pt x="334" y="234"/>
                    <a:pt x="334" y="248"/>
                  </a:cubicBezTo>
                  <a:cubicBezTo>
                    <a:pt x="334" y="262"/>
                    <a:pt x="323" y="273"/>
                    <a:pt x="309" y="273"/>
                  </a:cubicBezTo>
                  <a:cubicBezTo>
                    <a:pt x="295" y="273"/>
                    <a:pt x="283" y="262"/>
                    <a:pt x="283" y="248"/>
                  </a:cubicBezTo>
                  <a:cubicBezTo>
                    <a:pt x="283" y="234"/>
                    <a:pt x="295" y="223"/>
                    <a:pt x="309" y="223"/>
                  </a:cubicBezTo>
                  <a:close/>
                  <a:moveTo>
                    <a:pt x="346" y="344"/>
                  </a:moveTo>
                  <a:cubicBezTo>
                    <a:pt x="330" y="374"/>
                    <a:pt x="304" y="399"/>
                    <a:pt x="273" y="415"/>
                  </a:cubicBezTo>
                  <a:cubicBezTo>
                    <a:pt x="273" y="308"/>
                    <a:pt x="273" y="308"/>
                    <a:pt x="273" y="308"/>
                  </a:cubicBezTo>
                  <a:cubicBezTo>
                    <a:pt x="273" y="294"/>
                    <a:pt x="281" y="290"/>
                    <a:pt x="291" y="286"/>
                  </a:cubicBezTo>
                  <a:cubicBezTo>
                    <a:pt x="291" y="286"/>
                    <a:pt x="291" y="286"/>
                    <a:pt x="291" y="286"/>
                  </a:cubicBezTo>
                  <a:cubicBezTo>
                    <a:pt x="297" y="288"/>
                    <a:pt x="302" y="289"/>
                    <a:pt x="309" y="289"/>
                  </a:cubicBezTo>
                  <a:cubicBezTo>
                    <a:pt x="315" y="289"/>
                    <a:pt x="322" y="288"/>
                    <a:pt x="327" y="285"/>
                  </a:cubicBezTo>
                  <a:cubicBezTo>
                    <a:pt x="328" y="285"/>
                    <a:pt x="329" y="286"/>
                    <a:pt x="330" y="286"/>
                  </a:cubicBezTo>
                  <a:cubicBezTo>
                    <a:pt x="335" y="287"/>
                    <a:pt x="346" y="297"/>
                    <a:pt x="346" y="309"/>
                  </a:cubicBezTo>
                  <a:lnTo>
                    <a:pt x="346" y="344"/>
                  </a:lnTo>
                  <a:close/>
                  <a:moveTo>
                    <a:pt x="231" y="326"/>
                  </a:moveTo>
                  <a:cubicBezTo>
                    <a:pt x="227" y="326"/>
                    <a:pt x="223" y="330"/>
                    <a:pt x="223" y="334"/>
                  </a:cubicBezTo>
                  <a:cubicBezTo>
                    <a:pt x="223" y="406"/>
                    <a:pt x="223" y="406"/>
                    <a:pt x="223" y="406"/>
                  </a:cubicBezTo>
                  <a:cubicBezTo>
                    <a:pt x="223" y="410"/>
                    <a:pt x="227" y="414"/>
                    <a:pt x="231" y="414"/>
                  </a:cubicBezTo>
                  <a:cubicBezTo>
                    <a:pt x="236" y="414"/>
                    <a:pt x="239" y="410"/>
                    <a:pt x="239" y="406"/>
                  </a:cubicBezTo>
                  <a:cubicBezTo>
                    <a:pt x="239" y="334"/>
                    <a:pt x="239" y="334"/>
                    <a:pt x="239" y="334"/>
                  </a:cubicBezTo>
                  <a:cubicBezTo>
                    <a:pt x="239" y="330"/>
                    <a:pt x="236" y="326"/>
                    <a:pt x="231" y="326"/>
                  </a:cubicBezTo>
                  <a:close/>
                  <a:moveTo>
                    <a:pt x="153" y="326"/>
                  </a:moveTo>
                  <a:cubicBezTo>
                    <a:pt x="149" y="326"/>
                    <a:pt x="145" y="330"/>
                    <a:pt x="145" y="334"/>
                  </a:cubicBezTo>
                  <a:cubicBezTo>
                    <a:pt x="145" y="406"/>
                    <a:pt x="145" y="406"/>
                    <a:pt x="145" y="406"/>
                  </a:cubicBezTo>
                  <a:cubicBezTo>
                    <a:pt x="145" y="410"/>
                    <a:pt x="149" y="414"/>
                    <a:pt x="153" y="414"/>
                  </a:cubicBezTo>
                  <a:cubicBezTo>
                    <a:pt x="158" y="414"/>
                    <a:pt x="161" y="410"/>
                    <a:pt x="161" y="406"/>
                  </a:cubicBezTo>
                  <a:cubicBezTo>
                    <a:pt x="161" y="334"/>
                    <a:pt x="161" y="334"/>
                    <a:pt x="161" y="334"/>
                  </a:cubicBezTo>
                  <a:cubicBezTo>
                    <a:pt x="161" y="330"/>
                    <a:pt x="158" y="326"/>
                    <a:pt x="153" y="3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39" name="Freeform 3"/>
            <p:cNvSpPr>
              <a:spLocks noChangeAspect="1" noEditPoints="1"/>
            </p:cNvSpPr>
            <p:nvPr/>
          </p:nvSpPr>
          <p:spPr bwMode="auto">
            <a:xfrm>
              <a:off x="1269251" y="3708379"/>
              <a:ext cx="521886" cy="292608"/>
            </a:xfrm>
            <a:custGeom>
              <a:avLst/>
              <a:gdLst>
                <a:gd name="T0" fmla="*/ 2147483647 w 478"/>
                <a:gd name="T1" fmla="*/ 2147483647 h 268"/>
                <a:gd name="T2" fmla="*/ 2147483647 w 478"/>
                <a:gd name="T3" fmla="*/ 2147483647 h 268"/>
                <a:gd name="T4" fmla="*/ 2147483647 w 478"/>
                <a:gd name="T5" fmla="*/ 2147483647 h 268"/>
                <a:gd name="T6" fmla="*/ 2147483647 w 478"/>
                <a:gd name="T7" fmla="*/ 2147483647 h 268"/>
                <a:gd name="T8" fmla="*/ 2147483647 w 478"/>
                <a:gd name="T9" fmla="*/ 2147483647 h 268"/>
                <a:gd name="T10" fmla="*/ 2147483647 w 478"/>
                <a:gd name="T11" fmla="*/ 2147483647 h 268"/>
                <a:gd name="T12" fmla="*/ 2147483647 w 478"/>
                <a:gd name="T13" fmla="*/ 2147483647 h 268"/>
                <a:gd name="T14" fmla="*/ 2147483647 w 478"/>
                <a:gd name="T15" fmla="*/ 2147483647 h 268"/>
                <a:gd name="T16" fmla="*/ 2147483647 w 478"/>
                <a:gd name="T17" fmla="*/ 2147483647 h 268"/>
                <a:gd name="T18" fmla="*/ 2147483647 w 478"/>
                <a:gd name="T19" fmla="*/ 2147483647 h 268"/>
                <a:gd name="T20" fmla="*/ 2147483647 w 478"/>
                <a:gd name="T21" fmla="*/ 2147483647 h 268"/>
                <a:gd name="T22" fmla="*/ 2147483647 w 478"/>
                <a:gd name="T23" fmla="*/ 2147483647 h 268"/>
                <a:gd name="T24" fmla="*/ 2147483647 w 478"/>
                <a:gd name="T25" fmla="*/ 2147483647 h 268"/>
                <a:gd name="T26" fmla="*/ 2147483647 w 478"/>
                <a:gd name="T27" fmla="*/ 2147483647 h 268"/>
                <a:gd name="T28" fmla="*/ 2147483647 w 478"/>
                <a:gd name="T29" fmla="*/ 2147483647 h 268"/>
                <a:gd name="T30" fmla="*/ 2147483647 w 478"/>
                <a:gd name="T31" fmla="*/ 2147483647 h 268"/>
                <a:gd name="T32" fmla="*/ 2147483647 w 478"/>
                <a:gd name="T33" fmla="*/ 0 h 268"/>
                <a:gd name="T34" fmla="*/ 2147483647 w 478"/>
                <a:gd name="T35" fmla="*/ 2147483647 h 268"/>
                <a:gd name="T36" fmla="*/ 2147483647 w 478"/>
                <a:gd name="T37" fmla="*/ 2147483647 h 268"/>
                <a:gd name="T38" fmla="*/ 2147483647 w 478"/>
                <a:gd name="T39" fmla="*/ 2147483647 h 268"/>
                <a:gd name="T40" fmla="*/ 2147483647 w 478"/>
                <a:gd name="T41" fmla="*/ 2147483647 h 268"/>
                <a:gd name="T42" fmla="*/ 0 w 478"/>
                <a:gd name="T43" fmla="*/ 2147483647 h 268"/>
                <a:gd name="T44" fmla="*/ 2147483647 w 478"/>
                <a:gd name="T45" fmla="*/ 2147483647 h 268"/>
                <a:gd name="T46" fmla="*/ 2147483647 w 478"/>
                <a:gd name="T47" fmla="*/ 2147483647 h 268"/>
                <a:gd name="T48" fmla="*/ 2147483647 w 478"/>
                <a:gd name="T49" fmla="*/ 2147483647 h 268"/>
                <a:gd name="T50" fmla="*/ 2147483647 w 478"/>
                <a:gd name="T51" fmla="*/ 2147483647 h 268"/>
                <a:gd name="T52" fmla="*/ 2147483647 w 478"/>
                <a:gd name="T53" fmla="*/ 2147483647 h 268"/>
                <a:gd name="T54" fmla="*/ 2147483647 w 478"/>
                <a:gd name="T55" fmla="*/ 2147483647 h 268"/>
                <a:gd name="T56" fmla="*/ 2147483647 w 478"/>
                <a:gd name="T57" fmla="*/ 2147483647 h 268"/>
                <a:gd name="T58" fmla="*/ 2147483647 w 478"/>
                <a:gd name="T59" fmla="*/ 2147483647 h 268"/>
                <a:gd name="T60" fmla="*/ 2147483647 w 478"/>
                <a:gd name="T61" fmla="*/ 2147483647 h 268"/>
                <a:gd name="T62" fmla="*/ 2147483647 w 478"/>
                <a:gd name="T63" fmla="*/ 2147483647 h 268"/>
                <a:gd name="T64" fmla="*/ 2147483647 w 478"/>
                <a:gd name="T65" fmla="*/ 2147483647 h 268"/>
                <a:gd name="T66" fmla="*/ 2147483647 w 478"/>
                <a:gd name="T67" fmla="*/ 2147483647 h 268"/>
                <a:gd name="T68" fmla="*/ 2147483647 w 478"/>
                <a:gd name="T69" fmla="*/ 2147483647 h 268"/>
                <a:gd name="T70" fmla="*/ 2147483647 w 478"/>
                <a:gd name="T71" fmla="*/ 2147483647 h 268"/>
                <a:gd name="T72" fmla="*/ 2147483647 w 478"/>
                <a:gd name="T73" fmla="*/ 2147483647 h 268"/>
                <a:gd name="T74" fmla="*/ 2147483647 w 478"/>
                <a:gd name="T75" fmla="*/ 2147483647 h 268"/>
                <a:gd name="T76" fmla="*/ 2147483647 w 478"/>
                <a:gd name="T77" fmla="*/ 2147483647 h 268"/>
                <a:gd name="T78" fmla="*/ 2147483647 w 478"/>
                <a:gd name="T79" fmla="*/ 2147483647 h 268"/>
                <a:gd name="T80" fmla="*/ 2147483647 w 478"/>
                <a:gd name="T81" fmla="*/ 2147483647 h 268"/>
                <a:gd name="T82" fmla="*/ 2147483647 w 478"/>
                <a:gd name="T83" fmla="*/ 2147483647 h 268"/>
                <a:gd name="T84" fmla="*/ 2147483647 w 478"/>
                <a:gd name="T85" fmla="*/ 2147483647 h 268"/>
                <a:gd name="T86" fmla="*/ 2147483647 w 478"/>
                <a:gd name="T87" fmla="*/ 2147483647 h 268"/>
                <a:gd name="T88" fmla="*/ 2147483647 w 478"/>
                <a:gd name="T89" fmla="*/ 2147483647 h 268"/>
                <a:gd name="T90" fmla="*/ 2147483647 w 478"/>
                <a:gd name="T91" fmla="*/ 2147483647 h 268"/>
                <a:gd name="T92" fmla="*/ 2147483647 w 478"/>
                <a:gd name="T93" fmla="*/ 2147483647 h 268"/>
                <a:gd name="T94" fmla="*/ 2147483647 w 478"/>
                <a:gd name="T95" fmla="*/ 2147483647 h 268"/>
                <a:gd name="T96" fmla="*/ 2147483647 w 478"/>
                <a:gd name="T97" fmla="*/ 2147483647 h 268"/>
                <a:gd name="T98" fmla="*/ 2147483647 w 478"/>
                <a:gd name="T99" fmla="*/ 2147483647 h 268"/>
                <a:gd name="T100" fmla="*/ 2147483647 w 478"/>
                <a:gd name="T101" fmla="*/ 2147483647 h 268"/>
                <a:gd name="T102" fmla="*/ 2147483647 w 478"/>
                <a:gd name="T103" fmla="*/ 2147483647 h 268"/>
                <a:gd name="T104" fmla="*/ 2147483647 w 478"/>
                <a:gd name="T105" fmla="*/ 2147483647 h 268"/>
                <a:gd name="T106" fmla="*/ 2147483647 w 478"/>
                <a:gd name="T107" fmla="*/ 2147483647 h 268"/>
                <a:gd name="T108" fmla="*/ 2147483647 w 478"/>
                <a:gd name="T109" fmla="*/ 2147483647 h 268"/>
                <a:gd name="T110" fmla="*/ 2147483647 w 478"/>
                <a:gd name="T111" fmla="*/ 2147483647 h 268"/>
                <a:gd name="T112" fmla="*/ 2147483647 w 478"/>
                <a:gd name="T113" fmla="*/ 2147483647 h 268"/>
                <a:gd name="T114" fmla="*/ 2147483647 w 478"/>
                <a:gd name="T115" fmla="*/ 2147483647 h 268"/>
                <a:gd name="T116" fmla="*/ 2147483647 w 478"/>
                <a:gd name="T117" fmla="*/ 2147483647 h 268"/>
                <a:gd name="T118" fmla="*/ 2147483647 w 478"/>
                <a:gd name="T119" fmla="*/ 2147483647 h 268"/>
                <a:gd name="T120" fmla="*/ 2147483647 w 478"/>
                <a:gd name="T121" fmla="*/ 2147483647 h 268"/>
                <a:gd name="T122" fmla="*/ 2147483647 w 478"/>
                <a:gd name="T123" fmla="*/ 2147483647 h 2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8" h="268">
                  <a:moveTo>
                    <a:pt x="312" y="106"/>
                  </a:moveTo>
                  <a:cubicBezTo>
                    <a:pt x="312" y="101"/>
                    <a:pt x="308" y="98"/>
                    <a:pt x="304" y="98"/>
                  </a:cubicBezTo>
                  <a:cubicBezTo>
                    <a:pt x="68" y="98"/>
                    <a:pt x="68" y="98"/>
                    <a:pt x="68" y="98"/>
                  </a:cubicBezTo>
                  <a:cubicBezTo>
                    <a:pt x="64" y="98"/>
                    <a:pt x="60" y="101"/>
                    <a:pt x="60" y="106"/>
                  </a:cubicBezTo>
                  <a:cubicBezTo>
                    <a:pt x="60" y="110"/>
                    <a:pt x="64" y="114"/>
                    <a:pt x="68" y="114"/>
                  </a:cubicBezTo>
                  <a:cubicBezTo>
                    <a:pt x="304" y="114"/>
                    <a:pt x="304" y="114"/>
                    <a:pt x="304" y="114"/>
                  </a:cubicBezTo>
                  <a:cubicBezTo>
                    <a:pt x="308" y="114"/>
                    <a:pt x="312" y="110"/>
                    <a:pt x="312" y="106"/>
                  </a:cubicBezTo>
                  <a:close/>
                  <a:moveTo>
                    <a:pt x="312" y="50"/>
                  </a:moveTo>
                  <a:cubicBezTo>
                    <a:pt x="312" y="42"/>
                    <a:pt x="312" y="35"/>
                    <a:pt x="312" y="30"/>
                  </a:cubicBezTo>
                  <a:cubicBezTo>
                    <a:pt x="312" y="23"/>
                    <a:pt x="313" y="20"/>
                    <a:pt x="315" y="18"/>
                  </a:cubicBezTo>
                  <a:cubicBezTo>
                    <a:pt x="316" y="16"/>
                    <a:pt x="317" y="16"/>
                    <a:pt x="319" y="16"/>
                  </a:cubicBezTo>
                  <a:cubicBezTo>
                    <a:pt x="321" y="16"/>
                    <a:pt x="325" y="17"/>
                    <a:pt x="329" y="21"/>
                  </a:cubicBezTo>
                  <a:cubicBezTo>
                    <a:pt x="334" y="25"/>
                    <a:pt x="343" y="32"/>
                    <a:pt x="352" y="39"/>
                  </a:cubicBezTo>
                  <a:cubicBezTo>
                    <a:pt x="356" y="42"/>
                    <a:pt x="361" y="41"/>
                    <a:pt x="364" y="38"/>
                  </a:cubicBezTo>
                  <a:cubicBezTo>
                    <a:pt x="366" y="34"/>
                    <a:pt x="366" y="29"/>
                    <a:pt x="362" y="27"/>
                  </a:cubicBezTo>
                  <a:cubicBezTo>
                    <a:pt x="353" y="19"/>
                    <a:pt x="344" y="12"/>
                    <a:pt x="339" y="8"/>
                  </a:cubicBezTo>
                  <a:cubicBezTo>
                    <a:pt x="333" y="3"/>
                    <a:pt x="326" y="0"/>
                    <a:pt x="319" y="0"/>
                  </a:cubicBezTo>
                  <a:cubicBezTo>
                    <a:pt x="312" y="0"/>
                    <a:pt x="306" y="3"/>
                    <a:pt x="302" y="8"/>
                  </a:cubicBezTo>
                  <a:cubicBezTo>
                    <a:pt x="298" y="14"/>
                    <a:pt x="296" y="21"/>
                    <a:pt x="296" y="30"/>
                  </a:cubicBezTo>
                  <a:cubicBezTo>
                    <a:pt x="296" y="33"/>
                    <a:pt x="296" y="37"/>
                    <a:pt x="296" y="42"/>
                  </a:cubicBezTo>
                  <a:cubicBezTo>
                    <a:pt x="8" y="42"/>
                    <a:pt x="8" y="42"/>
                    <a:pt x="8" y="42"/>
                  </a:cubicBezTo>
                  <a:cubicBezTo>
                    <a:pt x="4" y="42"/>
                    <a:pt x="0" y="46"/>
                    <a:pt x="0" y="50"/>
                  </a:cubicBezTo>
                  <a:cubicBezTo>
                    <a:pt x="0" y="54"/>
                    <a:pt x="4" y="58"/>
                    <a:pt x="8" y="58"/>
                  </a:cubicBezTo>
                  <a:cubicBezTo>
                    <a:pt x="304" y="58"/>
                    <a:pt x="304" y="58"/>
                    <a:pt x="304" y="58"/>
                  </a:cubicBezTo>
                  <a:cubicBezTo>
                    <a:pt x="308" y="58"/>
                    <a:pt x="312" y="54"/>
                    <a:pt x="312" y="50"/>
                  </a:cubicBezTo>
                  <a:close/>
                  <a:moveTo>
                    <a:pt x="312" y="162"/>
                  </a:moveTo>
                  <a:cubicBezTo>
                    <a:pt x="312" y="157"/>
                    <a:pt x="308" y="154"/>
                    <a:pt x="304" y="154"/>
                  </a:cubicBezTo>
                  <a:cubicBezTo>
                    <a:pt x="130" y="154"/>
                    <a:pt x="130" y="154"/>
                    <a:pt x="130" y="154"/>
                  </a:cubicBezTo>
                  <a:cubicBezTo>
                    <a:pt x="126" y="154"/>
                    <a:pt x="122" y="157"/>
                    <a:pt x="122" y="162"/>
                  </a:cubicBezTo>
                  <a:cubicBezTo>
                    <a:pt x="122" y="166"/>
                    <a:pt x="126" y="170"/>
                    <a:pt x="130" y="170"/>
                  </a:cubicBezTo>
                  <a:cubicBezTo>
                    <a:pt x="304" y="170"/>
                    <a:pt x="304" y="170"/>
                    <a:pt x="304" y="170"/>
                  </a:cubicBezTo>
                  <a:cubicBezTo>
                    <a:pt x="308" y="170"/>
                    <a:pt x="312" y="166"/>
                    <a:pt x="312" y="162"/>
                  </a:cubicBezTo>
                  <a:close/>
                  <a:moveTo>
                    <a:pt x="464" y="107"/>
                  </a:moveTo>
                  <a:cubicBezTo>
                    <a:pt x="451" y="96"/>
                    <a:pt x="399" y="56"/>
                    <a:pt x="399" y="56"/>
                  </a:cubicBezTo>
                  <a:cubicBezTo>
                    <a:pt x="399" y="56"/>
                    <a:pt x="395" y="52"/>
                    <a:pt x="388" y="47"/>
                  </a:cubicBezTo>
                  <a:cubicBezTo>
                    <a:pt x="384" y="44"/>
                    <a:pt x="379" y="45"/>
                    <a:pt x="377" y="48"/>
                  </a:cubicBezTo>
                  <a:cubicBezTo>
                    <a:pt x="374" y="52"/>
                    <a:pt x="374" y="57"/>
                    <a:pt x="378" y="59"/>
                  </a:cubicBezTo>
                  <a:cubicBezTo>
                    <a:pt x="378" y="59"/>
                    <a:pt x="378" y="59"/>
                    <a:pt x="378" y="59"/>
                  </a:cubicBezTo>
                  <a:cubicBezTo>
                    <a:pt x="385" y="65"/>
                    <a:pt x="389" y="68"/>
                    <a:pt x="389" y="68"/>
                  </a:cubicBezTo>
                  <a:cubicBezTo>
                    <a:pt x="389" y="68"/>
                    <a:pt x="441" y="109"/>
                    <a:pt x="454" y="120"/>
                  </a:cubicBezTo>
                  <a:cubicBezTo>
                    <a:pt x="460" y="125"/>
                    <a:pt x="462" y="128"/>
                    <a:pt x="462" y="134"/>
                  </a:cubicBezTo>
                  <a:cubicBezTo>
                    <a:pt x="462" y="139"/>
                    <a:pt x="460" y="142"/>
                    <a:pt x="454" y="147"/>
                  </a:cubicBezTo>
                  <a:cubicBezTo>
                    <a:pt x="441" y="158"/>
                    <a:pt x="389" y="199"/>
                    <a:pt x="389" y="199"/>
                  </a:cubicBezTo>
                  <a:cubicBezTo>
                    <a:pt x="389" y="199"/>
                    <a:pt x="345" y="234"/>
                    <a:pt x="329" y="247"/>
                  </a:cubicBezTo>
                  <a:cubicBezTo>
                    <a:pt x="324" y="251"/>
                    <a:pt x="320" y="252"/>
                    <a:pt x="318" y="252"/>
                  </a:cubicBezTo>
                  <a:cubicBezTo>
                    <a:pt x="317" y="252"/>
                    <a:pt x="316" y="252"/>
                    <a:pt x="315" y="250"/>
                  </a:cubicBezTo>
                  <a:cubicBezTo>
                    <a:pt x="313" y="248"/>
                    <a:pt x="312" y="244"/>
                    <a:pt x="312" y="237"/>
                  </a:cubicBezTo>
                  <a:cubicBezTo>
                    <a:pt x="312" y="232"/>
                    <a:pt x="312" y="226"/>
                    <a:pt x="312" y="218"/>
                  </a:cubicBezTo>
                  <a:cubicBezTo>
                    <a:pt x="312" y="213"/>
                    <a:pt x="308" y="210"/>
                    <a:pt x="304" y="210"/>
                  </a:cubicBezTo>
                  <a:cubicBezTo>
                    <a:pt x="176" y="210"/>
                    <a:pt x="176" y="210"/>
                    <a:pt x="176" y="210"/>
                  </a:cubicBezTo>
                  <a:cubicBezTo>
                    <a:pt x="172" y="210"/>
                    <a:pt x="168" y="213"/>
                    <a:pt x="168" y="218"/>
                  </a:cubicBezTo>
                  <a:cubicBezTo>
                    <a:pt x="168" y="222"/>
                    <a:pt x="172" y="226"/>
                    <a:pt x="176" y="226"/>
                  </a:cubicBezTo>
                  <a:cubicBezTo>
                    <a:pt x="296" y="226"/>
                    <a:pt x="296" y="226"/>
                    <a:pt x="296" y="226"/>
                  </a:cubicBezTo>
                  <a:cubicBezTo>
                    <a:pt x="296" y="230"/>
                    <a:pt x="296" y="234"/>
                    <a:pt x="296" y="237"/>
                  </a:cubicBezTo>
                  <a:cubicBezTo>
                    <a:pt x="296" y="246"/>
                    <a:pt x="298" y="253"/>
                    <a:pt x="302" y="259"/>
                  </a:cubicBezTo>
                  <a:cubicBezTo>
                    <a:pt x="305" y="264"/>
                    <a:pt x="312" y="268"/>
                    <a:pt x="318" y="268"/>
                  </a:cubicBezTo>
                  <a:cubicBezTo>
                    <a:pt x="318" y="268"/>
                    <a:pt x="318" y="268"/>
                    <a:pt x="318" y="268"/>
                  </a:cubicBezTo>
                  <a:cubicBezTo>
                    <a:pt x="326" y="268"/>
                    <a:pt x="333" y="264"/>
                    <a:pt x="339" y="259"/>
                  </a:cubicBezTo>
                  <a:cubicBezTo>
                    <a:pt x="354" y="246"/>
                    <a:pt x="399" y="212"/>
                    <a:pt x="399" y="211"/>
                  </a:cubicBezTo>
                  <a:cubicBezTo>
                    <a:pt x="399" y="211"/>
                    <a:pt x="451" y="171"/>
                    <a:pt x="464" y="160"/>
                  </a:cubicBezTo>
                  <a:cubicBezTo>
                    <a:pt x="472" y="153"/>
                    <a:pt x="478" y="144"/>
                    <a:pt x="478" y="134"/>
                  </a:cubicBezTo>
                  <a:cubicBezTo>
                    <a:pt x="478" y="123"/>
                    <a:pt x="472" y="114"/>
                    <a:pt x="46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41" name="Freeform 3"/>
            <p:cNvSpPr>
              <a:spLocks noChangeAspect="1" noEditPoints="1"/>
            </p:cNvSpPr>
            <p:nvPr/>
          </p:nvSpPr>
          <p:spPr bwMode="auto">
            <a:xfrm>
              <a:off x="1255874" y="4500910"/>
              <a:ext cx="548640" cy="327368"/>
            </a:xfrm>
            <a:custGeom>
              <a:avLst/>
              <a:gdLst>
                <a:gd name="T0" fmla="*/ 2147483647 w 486"/>
                <a:gd name="T1" fmla="*/ 2147483647 h 290"/>
                <a:gd name="T2" fmla="*/ 2147483647 w 486"/>
                <a:gd name="T3" fmla="*/ 2147483647 h 290"/>
                <a:gd name="T4" fmla="*/ 2147483647 w 486"/>
                <a:gd name="T5" fmla="*/ 2147483647 h 290"/>
                <a:gd name="T6" fmla="*/ 2147483647 w 486"/>
                <a:gd name="T7" fmla="*/ 2147483647 h 290"/>
                <a:gd name="T8" fmla="*/ 2147483647 w 486"/>
                <a:gd name="T9" fmla="*/ 2147483647 h 290"/>
                <a:gd name="T10" fmla="*/ 2147483647 w 486"/>
                <a:gd name="T11" fmla="*/ 2147483647 h 290"/>
                <a:gd name="T12" fmla="*/ 2147483647 w 486"/>
                <a:gd name="T13" fmla="*/ 2147483647 h 290"/>
                <a:gd name="T14" fmla="*/ 2147483647 w 486"/>
                <a:gd name="T15" fmla="*/ 2147483647 h 290"/>
                <a:gd name="T16" fmla="*/ 2147483647 w 486"/>
                <a:gd name="T17" fmla="*/ 2147483647 h 290"/>
                <a:gd name="T18" fmla="*/ 2147483647 w 486"/>
                <a:gd name="T19" fmla="*/ 2147483647 h 290"/>
                <a:gd name="T20" fmla="*/ 2147483647 w 486"/>
                <a:gd name="T21" fmla="*/ 2147483647 h 290"/>
                <a:gd name="T22" fmla="*/ 2147483647 w 486"/>
                <a:gd name="T23" fmla="*/ 2147483647 h 290"/>
                <a:gd name="T24" fmla="*/ 2147483647 w 486"/>
                <a:gd name="T25" fmla="*/ 2147483647 h 290"/>
                <a:gd name="T26" fmla="*/ 2147483647 w 486"/>
                <a:gd name="T27" fmla="*/ 2147483647 h 290"/>
                <a:gd name="T28" fmla="*/ 2147483647 w 486"/>
                <a:gd name="T29" fmla="*/ 2147483647 h 290"/>
                <a:gd name="T30" fmla="*/ 2147483647 w 486"/>
                <a:gd name="T31" fmla="*/ 2147483647 h 290"/>
                <a:gd name="T32" fmla="*/ 2147483647 w 486"/>
                <a:gd name="T33" fmla="*/ 2147483647 h 290"/>
                <a:gd name="T34" fmla="*/ 2147483647 w 486"/>
                <a:gd name="T35" fmla="*/ 2147483647 h 290"/>
                <a:gd name="T36" fmla="*/ 2147483647 w 486"/>
                <a:gd name="T37" fmla="*/ 2147483647 h 290"/>
                <a:gd name="T38" fmla="*/ 2147483647 w 486"/>
                <a:gd name="T39" fmla="*/ 2147483647 h 290"/>
                <a:gd name="T40" fmla="*/ 2147483647 w 486"/>
                <a:gd name="T41" fmla="*/ 2147483647 h 290"/>
                <a:gd name="T42" fmla="*/ 2147483647 w 486"/>
                <a:gd name="T43" fmla="*/ 2147483647 h 290"/>
                <a:gd name="T44" fmla="*/ 2147483647 w 486"/>
                <a:gd name="T45" fmla="*/ 2147483647 h 290"/>
                <a:gd name="T46" fmla="*/ 2147483647 w 486"/>
                <a:gd name="T47" fmla="*/ 2147483647 h 290"/>
                <a:gd name="T48" fmla="*/ 2147483647 w 486"/>
                <a:gd name="T49" fmla="*/ 2147483647 h 290"/>
                <a:gd name="T50" fmla="*/ 2147483647 w 486"/>
                <a:gd name="T51" fmla="*/ 2147483647 h 290"/>
                <a:gd name="T52" fmla="*/ 2147483647 w 486"/>
                <a:gd name="T53" fmla="*/ 2147483647 h 290"/>
                <a:gd name="T54" fmla="*/ 2147483647 w 486"/>
                <a:gd name="T55" fmla="*/ 2147483647 h 290"/>
                <a:gd name="T56" fmla="*/ 2147483647 w 486"/>
                <a:gd name="T57" fmla="*/ 2147483647 h 290"/>
                <a:gd name="T58" fmla="*/ 2147483647 w 486"/>
                <a:gd name="T59" fmla="*/ 2147483647 h 290"/>
                <a:gd name="T60" fmla="*/ 2147483647 w 486"/>
                <a:gd name="T61" fmla="*/ 2147483647 h 290"/>
                <a:gd name="T62" fmla="*/ 2147483647 w 486"/>
                <a:gd name="T63" fmla="*/ 2147483647 h 290"/>
                <a:gd name="T64" fmla="*/ 2147483647 w 486"/>
                <a:gd name="T65" fmla="*/ 2147483647 h 290"/>
                <a:gd name="T66" fmla="*/ 2147483647 w 486"/>
                <a:gd name="T67" fmla="*/ 2147483647 h 290"/>
                <a:gd name="T68" fmla="*/ 2147483647 w 486"/>
                <a:gd name="T69" fmla="*/ 2147483647 h 290"/>
                <a:gd name="T70" fmla="*/ 2147483647 w 486"/>
                <a:gd name="T71" fmla="*/ 2147483647 h 290"/>
                <a:gd name="T72" fmla="*/ 2147483647 w 486"/>
                <a:gd name="T73" fmla="*/ 2147483647 h 290"/>
                <a:gd name="T74" fmla="*/ 2147483647 w 486"/>
                <a:gd name="T75" fmla="*/ 2147483647 h 290"/>
                <a:gd name="T76" fmla="*/ 2147483647 w 486"/>
                <a:gd name="T77" fmla="*/ 2147483647 h 290"/>
                <a:gd name="T78" fmla="*/ 2147483647 w 486"/>
                <a:gd name="T79" fmla="*/ 2147483647 h 290"/>
                <a:gd name="T80" fmla="*/ 2147483647 w 486"/>
                <a:gd name="T81" fmla="*/ 2147483647 h 290"/>
                <a:gd name="T82" fmla="*/ 2147483647 w 486"/>
                <a:gd name="T83" fmla="*/ 2147483647 h 290"/>
                <a:gd name="T84" fmla="*/ 2147483647 w 486"/>
                <a:gd name="T85" fmla="*/ 2147483647 h 290"/>
                <a:gd name="T86" fmla="*/ 2147483647 w 486"/>
                <a:gd name="T87" fmla="*/ 2147483647 h 290"/>
                <a:gd name="T88" fmla="*/ 2147483647 w 486"/>
                <a:gd name="T89" fmla="*/ 2147483647 h 290"/>
                <a:gd name="T90" fmla="*/ 2147483647 w 486"/>
                <a:gd name="T91" fmla="*/ 2147483647 h 290"/>
                <a:gd name="T92" fmla="*/ 2147483647 w 486"/>
                <a:gd name="T93" fmla="*/ 2147483647 h 290"/>
                <a:gd name="T94" fmla="*/ 2147483647 w 486"/>
                <a:gd name="T95" fmla="*/ 2147483647 h 290"/>
                <a:gd name="T96" fmla="*/ 2147483647 w 486"/>
                <a:gd name="T97" fmla="*/ 2147483647 h 290"/>
                <a:gd name="T98" fmla="*/ 2147483647 w 486"/>
                <a:gd name="T99" fmla="*/ 2147483647 h 290"/>
                <a:gd name="T100" fmla="*/ 2147483647 w 486"/>
                <a:gd name="T101" fmla="*/ 2147483647 h 290"/>
                <a:gd name="T102" fmla="*/ 2147483647 w 486"/>
                <a:gd name="T103" fmla="*/ 2147483647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86" h="290">
                  <a:moveTo>
                    <a:pt x="408" y="62"/>
                  </a:moveTo>
                  <a:cubicBezTo>
                    <a:pt x="414" y="65"/>
                    <a:pt x="421" y="66"/>
                    <a:pt x="426" y="66"/>
                  </a:cubicBezTo>
                  <a:cubicBezTo>
                    <a:pt x="478" y="66"/>
                    <a:pt x="478" y="66"/>
                    <a:pt x="478" y="66"/>
                  </a:cubicBezTo>
                  <a:cubicBezTo>
                    <a:pt x="483" y="66"/>
                    <a:pt x="486" y="63"/>
                    <a:pt x="486" y="58"/>
                  </a:cubicBezTo>
                  <a:cubicBezTo>
                    <a:pt x="486" y="54"/>
                    <a:pt x="483" y="50"/>
                    <a:pt x="478" y="50"/>
                  </a:cubicBezTo>
                  <a:cubicBezTo>
                    <a:pt x="426" y="50"/>
                    <a:pt x="426" y="50"/>
                    <a:pt x="426" y="50"/>
                  </a:cubicBezTo>
                  <a:cubicBezTo>
                    <a:pt x="424" y="50"/>
                    <a:pt x="418" y="49"/>
                    <a:pt x="413" y="47"/>
                  </a:cubicBezTo>
                  <a:cubicBezTo>
                    <a:pt x="409" y="46"/>
                    <a:pt x="405" y="48"/>
                    <a:pt x="403" y="52"/>
                  </a:cubicBezTo>
                  <a:cubicBezTo>
                    <a:pt x="402" y="56"/>
                    <a:pt x="404" y="61"/>
                    <a:pt x="408" y="62"/>
                  </a:cubicBezTo>
                  <a:close/>
                  <a:moveTo>
                    <a:pt x="478" y="189"/>
                  </a:moveTo>
                  <a:cubicBezTo>
                    <a:pt x="424" y="189"/>
                    <a:pt x="424" y="189"/>
                    <a:pt x="424" y="189"/>
                  </a:cubicBezTo>
                  <a:cubicBezTo>
                    <a:pt x="408" y="173"/>
                    <a:pt x="344" y="106"/>
                    <a:pt x="327" y="91"/>
                  </a:cubicBezTo>
                  <a:cubicBezTo>
                    <a:pt x="311" y="76"/>
                    <a:pt x="276" y="71"/>
                    <a:pt x="245" y="66"/>
                  </a:cubicBezTo>
                  <a:cubicBezTo>
                    <a:pt x="235" y="64"/>
                    <a:pt x="225" y="62"/>
                    <a:pt x="218" y="61"/>
                  </a:cubicBezTo>
                  <a:cubicBezTo>
                    <a:pt x="196" y="56"/>
                    <a:pt x="184" y="68"/>
                    <a:pt x="178" y="74"/>
                  </a:cubicBezTo>
                  <a:cubicBezTo>
                    <a:pt x="177" y="75"/>
                    <a:pt x="176" y="76"/>
                    <a:pt x="176" y="76"/>
                  </a:cubicBezTo>
                  <a:cubicBezTo>
                    <a:pt x="175" y="77"/>
                    <a:pt x="174" y="77"/>
                    <a:pt x="174" y="78"/>
                  </a:cubicBezTo>
                  <a:cubicBezTo>
                    <a:pt x="167" y="83"/>
                    <a:pt x="151" y="98"/>
                    <a:pt x="130" y="99"/>
                  </a:cubicBezTo>
                  <a:cubicBezTo>
                    <a:pt x="126" y="100"/>
                    <a:pt x="118" y="99"/>
                    <a:pt x="117" y="95"/>
                  </a:cubicBezTo>
                  <a:cubicBezTo>
                    <a:pt x="115" y="92"/>
                    <a:pt x="117" y="88"/>
                    <a:pt x="117" y="87"/>
                  </a:cubicBezTo>
                  <a:cubicBezTo>
                    <a:pt x="119" y="86"/>
                    <a:pt x="125" y="82"/>
                    <a:pt x="131" y="78"/>
                  </a:cubicBezTo>
                  <a:cubicBezTo>
                    <a:pt x="140" y="71"/>
                    <a:pt x="154" y="62"/>
                    <a:pt x="164" y="54"/>
                  </a:cubicBezTo>
                  <a:cubicBezTo>
                    <a:pt x="179" y="42"/>
                    <a:pt x="212" y="23"/>
                    <a:pt x="222" y="19"/>
                  </a:cubicBezTo>
                  <a:cubicBezTo>
                    <a:pt x="228" y="17"/>
                    <a:pt x="267" y="19"/>
                    <a:pt x="299" y="22"/>
                  </a:cubicBezTo>
                  <a:cubicBezTo>
                    <a:pt x="313" y="23"/>
                    <a:pt x="329" y="25"/>
                    <a:pt x="332" y="26"/>
                  </a:cubicBezTo>
                  <a:cubicBezTo>
                    <a:pt x="337" y="28"/>
                    <a:pt x="375" y="46"/>
                    <a:pt x="377" y="47"/>
                  </a:cubicBezTo>
                  <a:cubicBezTo>
                    <a:pt x="378" y="48"/>
                    <a:pt x="379" y="48"/>
                    <a:pt x="380" y="48"/>
                  </a:cubicBezTo>
                  <a:cubicBezTo>
                    <a:pt x="385" y="48"/>
                    <a:pt x="388" y="44"/>
                    <a:pt x="388" y="40"/>
                  </a:cubicBezTo>
                  <a:cubicBezTo>
                    <a:pt x="388" y="37"/>
                    <a:pt x="387" y="35"/>
                    <a:pt x="384" y="33"/>
                  </a:cubicBezTo>
                  <a:cubicBezTo>
                    <a:pt x="384" y="33"/>
                    <a:pt x="384" y="33"/>
                    <a:pt x="384" y="33"/>
                  </a:cubicBezTo>
                  <a:cubicBezTo>
                    <a:pt x="384" y="33"/>
                    <a:pt x="384" y="33"/>
                    <a:pt x="384" y="33"/>
                  </a:cubicBezTo>
                  <a:cubicBezTo>
                    <a:pt x="383" y="33"/>
                    <a:pt x="383" y="33"/>
                    <a:pt x="383" y="33"/>
                  </a:cubicBezTo>
                  <a:cubicBezTo>
                    <a:pt x="377" y="30"/>
                    <a:pt x="342" y="13"/>
                    <a:pt x="339" y="11"/>
                  </a:cubicBezTo>
                  <a:cubicBezTo>
                    <a:pt x="337" y="11"/>
                    <a:pt x="333" y="9"/>
                    <a:pt x="301" y="6"/>
                  </a:cubicBezTo>
                  <a:cubicBezTo>
                    <a:pt x="284" y="4"/>
                    <a:pt x="228" y="0"/>
                    <a:pt x="217" y="4"/>
                  </a:cubicBezTo>
                  <a:cubicBezTo>
                    <a:pt x="204" y="9"/>
                    <a:pt x="170" y="29"/>
                    <a:pt x="154" y="42"/>
                  </a:cubicBezTo>
                  <a:cubicBezTo>
                    <a:pt x="151" y="44"/>
                    <a:pt x="148" y="46"/>
                    <a:pt x="145" y="49"/>
                  </a:cubicBezTo>
                  <a:cubicBezTo>
                    <a:pt x="123" y="49"/>
                    <a:pt x="105" y="56"/>
                    <a:pt x="87" y="63"/>
                  </a:cubicBezTo>
                  <a:cubicBezTo>
                    <a:pt x="68" y="71"/>
                    <a:pt x="52" y="77"/>
                    <a:pt x="37" y="77"/>
                  </a:cubicBezTo>
                  <a:cubicBezTo>
                    <a:pt x="8" y="77"/>
                    <a:pt x="8" y="77"/>
                    <a:pt x="8" y="77"/>
                  </a:cubicBezTo>
                  <a:cubicBezTo>
                    <a:pt x="3" y="77"/>
                    <a:pt x="0" y="81"/>
                    <a:pt x="0" y="85"/>
                  </a:cubicBezTo>
                  <a:cubicBezTo>
                    <a:pt x="0" y="90"/>
                    <a:pt x="3" y="93"/>
                    <a:pt x="8" y="93"/>
                  </a:cubicBezTo>
                  <a:cubicBezTo>
                    <a:pt x="37" y="93"/>
                    <a:pt x="37" y="93"/>
                    <a:pt x="37" y="93"/>
                  </a:cubicBezTo>
                  <a:cubicBezTo>
                    <a:pt x="56" y="93"/>
                    <a:pt x="75" y="85"/>
                    <a:pt x="93" y="78"/>
                  </a:cubicBezTo>
                  <a:cubicBezTo>
                    <a:pt x="99" y="75"/>
                    <a:pt x="110" y="70"/>
                    <a:pt x="117" y="68"/>
                  </a:cubicBezTo>
                  <a:cubicBezTo>
                    <a:pt x="112" y="72"/>
                    <a:pt x="108" y="74"/>
                    <a:pt x="107" y="75"/>
                  </a:cubicBezTo>
                  <a:cubicBezTo>
                    <a:pt x="101" y="80"/>
                    <a:pt x="98" y="92"/>
                    <a:pt x="102" y="101"/>
                  </a:cubicBezTo>
                  <a:cubicBezTo>
                    <a:pt x="104" y="106"/>
                    <a:pt x="110" y="117"/>
                    <a:pt x="131" y="115"/>
                  </a:cubicBezTo>
                  <a:cubicBezTo>
                    <a:pt x="158" y="113"/>
                    <a:pt x="177" y="96"/>
                    <a:pt x="184" y="90"/>
                  </a:cubicBezTo>
                  <a:cubicBezTo>
                    <a:pt x="185" y="89"/>
                    <a:pt x="185" y="89"/>
                    <a:pt x="186" y="88"/>
                  </a:cubicBezTo>
                  <a:cubicBezTo>
                    <a:pt x="187" y="88"/>
                    <a:pt x="188" y="87"/>
                    <a:pt x="189" y="86"/>
                  </a:cubicBezTo>
                  <a:cubicBezTo>
                    <a:pt x="194" y="81"/>
                    <a:pt x="201" y="74"/>
                    <a:pt x="214" y="76"/>
                  </a:cubicBezTo>
                  <a:cubicBezTo>
                    <a:pt x="222" y="78"/>
                    <a:pt x="232" y="80"/>
                    <a:pt x="242" y="81"/>
                  </a:cubicBezTo>
                  <a:cubicBezTo>
                    <a:pt x="270" y="86"/>
                    <a:pt x="304" y="91"/>
                    <a:pt x="316" y="103"/>
                  </a:cubicBezTo>
                  <a:cubicBezTo>
                    <a:pt x="332" y="117"/>
                    <a:pt x="395" y="182"/>
                    <a:pt x="412" y="200"/>
                  </a:cubicBezTo>
                  <a:cubicBezTo>
                    <a:pt x="412" y="200"/>
                    <a:pt x="412" y="200"/>
                    <a:pt x="412" y="200"/>
                  </a:cubicBezTo>
                  <a:cubicBezTo>
                    <a:pt x="414" y="202"/>
                    <a:pt x="416" y="204"/>
                    <a:pt x="416" y="204"/>
                  </a:cubicBezTo>
                  <a:cubicBezTo>
                    <a:pt x="418" y="206"/>
                    <a:pt x="420" y="210"/>
                    <a:pt x="420" y="212"/>
                  </a:cubicBezTo>
                  <a:cubicBezTo>
                    <a:pt x="420" y="215"/>
                    <a:pt x="419" y="218"/>
                    <a:pt x="417" y="220"/>
                  </a:cubicBezTo>
                  <a:cubicBezTo>
                    <a:pt x="415" y="222"/>
                    <a:pt x="412" y="223"/>
                    <a:pt x="410" y="223"/>
                  </a:cubicBezTo>
                  <a:cubicBezTo>
                    <a:pt x="407" y="223"/>
                    <a:pt x="404" y="222"/>
                    <a:pt x="402" y="220"/>
                  </a:cubicBezTo>
                  <a:cubicBezTo>
                    <a:pt x="360" y="178"/>
                    <a:pt x="360" y="178"/>
                    <a:pt x="360" y="178"/>
                  </a:cubicBezTo>
                  <a:cubicBezTo>
                    <a:pt x="357" y="175"/>
                    <a:pt x="352" y="175"/>
                    <a:pt x="349" y="178"/>
                  </a:cubicBezTo>
                  <a:cubicBezTo>
                    <a:pt x="347" y="179"/>
                    <a:pt x="347" y="182"/>
                    <a:pt x="347" y="184"/>
                  </a:cubicBezTo>
                  <a:cubicBezTo>
                    <a:pt x="347" y="186"/>
                    <a:pt x="347" y="188"/>
                    <a:pt x="349" y="189"/>
                  </a:cubicBezTo>
                  <a:cubicBezTo>
                    <a:pt x="387" y="227"/>
                    <a:pt x="387" y="227"/>
                    <a:pt x="387" y="227"/>
                  </a:cubicBezTo>
                  <a:cubicBezTo>
                    <a:pt x="389" y="229"/>
                    <a:pt x="390" y="232"/>
                    <a:pt x="390" y="235"/>
                  </a:cubicBezTo>
                  <a:cubicBezTo>
                    <a:pt x="390" y="237"/>
                    <a:pt x="389" y="240"/>
                    <a:pt x="387" y="242"/>
                  </a:cubicBezTo>
                  <a:cubicBezTo>
                    <a:pt x="385" y="244"/>
                    <a:pt x="382" y="245"/>
                    <a:pt x="379" y="245"/>
                  </a:cubicBezTo>
                  <a:cubicBezTo>
                    <a:pt x="377" y="245"/>
                    <a:pt x="374" y="244"/>
                    <a:pt x="372" y="242"/>
                  </a:cubicBezTo>
                  <a:cubicBezTo>
                    <a:pt x="327" y="197"/>
                    <a:pt x="327" y="197"/>
                    <a:pt x="327" y="197"/>
                  </a:cubicBezTo>
                  <a:cubicBezTo>
                    <a:pt x="324" y="194"/>
                    <a:pt x="319" y="194"/>
                    <a:pt x="316" y="197"/>
                  </a:cubicBezTo>
                  <a:cubicBezTo>
                    <a:pt x="315" y="199"/>
                    <a:pt x="314" y="201"/>
                    <a:pt x="314" y="203"/>
                  </a:cubicBezTo>
                  <a:cubicBezTo>
                    <a:pt x="314" y="205"/>
                    <a:pt x="315" y="207"/>
                    <a:pt x="316" y="209"/>
                  </a:cubicBezTo>
                  <a:cubicBezTo>
                    <a:pt x="353" y="246"/>
                    <a:pt x="353" y="246"/>
                    <a:pt x="353" y="246"/>
                  </a:cubicBezTo>
                  <a:cubicBezTo>
                    <a:pt x="355" y="248"/>
                    <a:pt x="356" y="251"/>
                    <a:pt x="356" y="253"/>
                  </a:cubicBezTo>
                  <a:cubicBezTo>
                    <a:pt x="356" y="256"/>
                    <a:pt x="355" y="259"/>
                    <a:pt x="353" y="261"/>
                  </a:cubicBezTo>
                  <a:cubicBezTo>
                    <a:pt x="351" y="263"/>
                    <a:pt x="348" y="264"/>
                    <a:pt x="346" y="264"/>
                  </a:cubicBezTo>
                  <a:cubicBezTo>
                    <a:pt x="343" y="264"/>
                    <a:pt x="340" y="263"/>
                    <a:pt x="338" y="261"/>
                  </a:cubicBezTo>
                  <a:cubicBezTo>
                    <a:pt x="305" y="227"/>
                    <a:pt x="305" y="227"/>
                    <a:pt x="305" y="227"/>
                  </a:cubicBezTo>
                  <a:cubicBezTo>
                    <a:pt x="301" y="224"/>
                    <a:pt x="296" y="224"/>
                    <a:pt x="293" y="227"/>
                  </a:cubicBezTo>
                  <a:cubicBezTo>
                    <a:pt x="292" y="229"/>
                    <a:pt x="291" y="231"/>
                    <a:pt x="291" y="233"/>
                  </a:cubicBezTo>
                  <a:cubicBezTo>
                    <a:pt x="291" y="235"/>
                    <a:pt x="292" y="237"/>
                    <a:pt x="293" y="238"/>
                  </a:cubicBezTo>
                  <a:cubicBezTo>
                    <a:pt x="313" y="258"/>
                    <a:pt x="313" y="258"/>
                    <a:pt x="313" y="258"/>
                  </a:cubicBezTo>
                  <a:cubicBezTo>
                    <a:pt x="314" y="259"/>
                    <a:pt x="314" y="261"/>
                    <a:pt x="314" y="263"/>
                  </a:cubicBezTo>
                  <a:cubicBezTo>
                    <a:pt x="314" y="266"/>
                    <a:pt x="313" y="269"/>
                    <a:pt x="311" y="271"/>
                  </a:cubicBezTo>
                  <a:cubicBezTo>
                    <a:pt x="309" y="273"/>
                    <a:pt x="306" y="274"/>
                    <a:pt x="304" y="274"/>
                  </a:cubicBezTo>
                  <a:cubicBezTo>
                    <a:pt x="301" y="274"/>
                    <a:pt x="298" y="273"/>
                    <a:pt x="296" y="271"/>
                  </a:cubicBezTo>
                  <a:cubicBezTo>
                    <a:pt x="283" y="258"/>
                    <a:pt x="283" y="258"/>
                    <a:pt x="283" y="258"/>
                  </a:cubicBezTo>
                  <a:cubicBezTo>
                    <a:pt x="283" y="258"/>
                    <a:pt x="280" y="255"/>
                    <a:pt x="274" y="251"/>
                  </a:cubicBezTo>
                  <a:cubicBezTo>
                    <a:pt x="278" y="247"/>
                    <a:pt x="278" y="247"/>
                    <a:pt x="278" y="247"/>
                  </a:cubicBezTo>
                  <a:cubicBezTo>
                    <a:pt x="283" y="242"/>
                    <a:pt x="286" y="235"/>
                    <a:pt x="286" y="228"/>
                  </a:cubicBezTo>
                  <a:cubicBezTo>
                    <a:pt x="286" y="221"/>
                    <a:pt x="283" y="213"/>
                    <a:pt x="278" y="208"/>
                  </a:cubicBezTo>
                  <a:cubicBezTo>
                    <a:pt x="272" y="203"/>
                    <a:pt x="265" y="200"/>
                    <a:pt x="258" y="200"/>
                  </a:cubicBezTo>
                  <a:cubicBezTo>
                    <a:pt x="258" y="200"/>
                    <a:pt x="258" y="200"/>
                    <a:pt x="258" y="200"/>
                  </a:cubicBezTo>
                  <a:cubicBezTo>
                    <a:pt x="258" y="200"/>
                    <a:pt x="258" y="200"/>
                    <a:pt x="258" y="200"/>
                  </a:cubicBezTo>
                  <a:cubicBezTo>
                    <a:pt x="258" y="193"/>
                    <a:pt x="255" y="185"/>
                    <a:pt x="249" y="180"/>
                  </a:cubicBezTo>
                  <a:cubicBezTo>
                    <a:pt x="244" y="175"/>
                    <a:pt x="237" y="172"/>
                    <a:pt x="230" y="172"/>
                  </a:cubicBezTo>
                  <a:cubicBezTo>
                    <a:pt x="226" y="172"/>
                    <a:pt x="223" y="173"/>
                    <a:pt x="219" y="174"/>
                  </a:cubicBezTo>
                  <a:cubicBezTo>
                    <a:pt x="218" y="169"/>
                    <a:pt x="216" y="165"/>
                    <a:pt x="212" y="161"/>
                  </a:cubicBezTo>
                  <a:cubicBezTo>
                    <a:pt x="207" y="156"/>
                    <a:pt x="199" y="153"/>
                    <a:pt x="192" y="153"/>
                  </a:cubicBezTo>
                  <a:cubicBezTo>
                    <a:pt x="185" y="153"/>
                    <a:pt x="178" y="156"/>
                    <a:pt x="173" y="161"/>
                  </a:cubicBezTo>
                  <a:cubicBezTo>
                    <a:pt x="142" y="192"/>
                    <a:pt x="142" y="192"/>
                    <a:pt x="142" y="192"/>
                  </a:cubicBezTo>
                  <a:cubicBezTo>
                    <a:pt x="140" y="188"/>
                    <a:pt x="138" y="185"/>
                    <a:pt x="135" y="182"/>
                  </a:cubicBezTo>
                  <a:cubicBezTo>
                    <a:pt x="130" y="176"/>
                    <a:pt x="123" y="173"/>
                    <a:pt x="116" y="173"/>
                  </a:cubicBezTo>
                  <a:cubicBezTo>
                    <a:pt x="108" y="173"/>
                    <a:pt x="101" y="176"/>
                    <a:pt x="96" y="182"/>
                  </a:cubicBezTo>
                  <a:cubicBezTo>
                    <a:pt x="70" y="208"/>
                    <a:pt x="70" y="208"/>
                    <a:pt x="70" y="208"/>
                  </a:cubicBezTo>
                  <a:cubicBezTo>
                    <a:pt x="65" y="213"/>
                    <a:pt x="62" y="218"/>
                    <a:pt x="62" y="224"/>
                  </a:cubicBezTo>
                  <a:cubicBezTo>
                    <a:pt x="8" y="224"/>
                    <a:pt x="8" y="224"/>
                    <a:pt x="8" y="224"/>
                  </a:cubicBezTo>
                  <a:cubicBezTo>
                    <a:pt x="3" y="224"/>
                    <a:pt x="0" y="228"/>
                    <a:pt x="0" y="232"/>
                  </a:cubicBezTo>
                  <a:cubicBezTo>
                    <a:pt x="0" y="237"/>
                    <a:pt x="3" y="240"/>
                    <a:pt x="8" y="240"/>
                  </a:cubicBezTo>
                  <a:cubicBezTo>
                    <a:pt x="64" y="240"/>
                    <a:pt x="64" y="240"/>
                    <a:pt x="64" y="240"/>
                  </a:cubicBezTo>
                  <a:cubicBezTo>
                    <a:pt x="66" y="243"/>
                    <a:pt x="67" y="245"/>
                    <a:pt x="70" y="247"/>
                  </a:cubicBezTo>
                  <a:cubicBezTo>
                    <a:pt x="75" y="253"/>
                    <a:pt x="82" y="256"/>
                    <a:pt x="89" y="256"/>
                  </a:cubicBezTo>
                  <a:cubicBezTo>
                    <a:pt x="89" y="256"/>
                    <a:pt x="89" y="256"/>
                    <a:pt x="89" y="256"/>
                  </a:cubicBezTo>
                  <a:cubicBezTo>
                    <a:pt x="96" y="256"/>
                    <a:pt x="104" y="253"/>
                    <a:pt x="109" y="247"/>
                  </a:cubicBezTo>
                  <a:cubicBezTo>
                    <a:pt x="109" y="247"/>
                    <a:pt x="109" y="247"/>
                    <a:pt x="109" y="247"/>
                  </a:cubicBezTo>
                  <a:cubicBezTo>
                    <a:pt x="111" y="246"/>
                    <a:pt x="111" y="246"/>
                    <a:pt x="111" y="246"/>
                  </a:cubicBezTo>
                  <a:cubicBezTo>
                    <a:pt x="112" y="249"/>
                    <a:pt x="114" y="253"/>
                    <a:pt x="117" y="256"/>
                  </a:cubicBezTo>
                  <a:cubicBezTo>
                    <a:pt x="123" y="261"/>
                    <a:pt x="130" y="264"/>
                    <a:pt x="137" y="264"/>
                  </a:cubicBezTo>
                  <a:cubicBezTo>
                    <a:pt x="137" y="264"/>
                    <a:pt x="137" y="264"/>
                    <a:pt x="137" y="264"/>
                  </a:cubicBezTo>
                  <a:cubicBezTo>
                    <a:pt x="144" y="264"/>
                    <a:pt x="151" y="261"/>
                    <a:pt x="157" y="256"/>
                  </a:cubicBezTo>
                  <a:cubicBezTo>
                    <a:pt x="159" y="254"/>
                    <a:pt x="159" y="254"/>
                    <a:pt x="159" y="254"/>
                  </a:cubicBezTo>
                  <a:cubicBezTo>
                    <a:pt x="160" y="257"/>
                    <a:pt x="162" y="261"/>
                    <a:pt x="165" y="264"/>
                  </a:cubicBezTo>
                  <a:cubicBezTo>
                    <a:pt x="171" y="269"/>
                    <a:pt x="178" y="272"/>
                    <a:pt x="185" y="272"/>
                  </a:cubicBezTo>
                  <a:cubicBezTo>
                    <a:pt x="185" y="272"/>
                    <a:pt x="185" y="272"/>
                    <a:pt x="185" y="272"/>
                  </a:cubicBezTo>
                  <a:cubicBezTo>
                    <a:pt x="192" y="272"/>
                    <a:pt x="199" y="269"/>
                    <a:pt x="205" y="264"/>
                  </a:cubicBezTo>
                  <a:cubicBezTo>
                    <a:pt x="205" y="264"/>
                    <a:pt x="205" y="264"/>
                    <a:pt x="205" y="264"/>
                  </a:cubicBezTo>
                  <a:cubicBezTo>
                    <a:pt x="205" y="263"/>
                    <a:pt x="205" y="263"/>
                    <a:pt x="205" y="263"/>
                  </a:cubicBezTo>
                  <a:cubicBezTo>
                    <a:pt x="207" y="267"/>
                    <a:pt x="209" y="271"/>
                    <a:pt x="212" y="274"/>
                  </a:cubicBezTo>
                  <a:cubicBezTo>
                    <a:pt x="217" y="279"/>
                    <a:pt x="224" y="282"/>
                    <a:pt x="232" y="282"/>
                  </a:cubicBezTo>
                  <a:cubicBezTo>
                    <a:pt x="232" y="282"/>
                    <a:pt x="232" y="282"/>
                    <a:pt x="232" y="282"/>
                  </a:cubicBezTo>
                  <a:cubicBezTo>
                    <a:pt x="239" y="282"/>
                    <a:pt x="246" y="279"/>
                    <a:pt x="251" y="274"/>
                  </a:cubicBezTo>
                  <a:cubicBezTo>
                    <a:pt x="251" y="274"/>
                    <a:pt x="251" y="274"/>
                    <a:pt x="251" y="274"/>
                  </a:cubicBezTo>
                  <a:cubicBezTo>
                    <a:pt x="263" y="262"/>
                    <a:pt x="263" y="262"/>
                    <a:pt x="263" y="262"/>
                  </a:cubicBezTo>
                  <a:cubicBezTo>
                    <a:pt x="266" y="264"/>
                    <a:pt x="268" y="266"/>
                    <a:pt x="269" y="267"/>
                  </a:cubicBezTo>
                  <a:cubicBezTo>
                    <a:pt x="271" y="269"/>
                    <a:pt x="272" y="270"/>
                    <a:pt x="272" y="270"/>
                  </a:cubicBezTo>
                  <a:cubicBezTo>
                    <a:pt x="285" y="282"/>
                    <a:pt x="285" y="282"/>
                    <a:pt x="285" y="282"/>
                  </a:cubicBezTo>
                  <a:cubicBezTo>
                    <a:pt x="290" y="287"/>
                    <a:pt x="297" y="290"/>
                    <a:pt x="304" y="290"/>
                  </a:cubicBezTo>
                  <a:cubicBezTo>
                    <a:pt x="304" y="290"/>
                    <a:pt x="304" y="290"/>
                    <a:pt x="304" y="290"/>
                  </a:cubicBezTo>
                  <a:cubicBezTo>
                    <a:pt x="310" y="290"/>
                    <a:pt x="317" y="287"/>
                    <a:pt x="322" y="282"/>
                  </a:cubicBezTo>
                  <a:cubicBezTo>
                    <a:pt x="325" y="280"/>
                    <a:pt x="327" y="277"/>
                    <a:pt x="328" y="273"/>
                  </a:cubicBezTo>
                  <a:cubicBezTo>
                    <a:pt x="333" y="278"/>
                    <a:pt x="340" y="280"/>
                    <a:pt x="346" y="280"/>
                  </a:cubicBezTo>
                  <a:cubicBezTo>
                    <a:pt x="353" y="280"/>
                    <a:pt x="359" y="277"/>
                    <a:pt x="365" y="272"/>
                  </a:cubicBezTo>
                  <a:cubicBezTo>
                    <a:pt x="368" y="269"/>
                    <a:pt x="370" y="264"/>
                    <a:pt x="371" y="260"/>
                  </a:cubicBezTo>
                  <a:cubicBezTo>
                    <a:pt x="374" y="261"/>
                    <a:pt x="377" y="261"/>
                    <a:pt x="379" y="261"/>
                  </a:cubicBezTo>
                  <a:cubicBezTo>
                    <a:pt x="386" y="261"/>
                    <a:pt x="393" y="258"/>
                    <a:pt x="398" y="253"/>
                  </a:cubicBezTo>
                  <a:cubicBezTo>
                    <a:pt x="402" y="249"/>
                    <a:pt x="405" y="244"/>
                    <a:pt x="406" y="239"/>
                  </a:cubicBezTo>
                  <a:cubicBezTo>
                    <a:pt x="407" y="239"/>
                    <a:pt x="408" y="239"/>
                    <a:pt x="410" y="239"/>
                  </a:cubicBezTo>
                  <a:cubicBezTo>
                    <a:pt x="416" y="239"/>
                    <a:pt x="423" y="236"/>
                    <a:pt x="428" y="231"/>
                  </a:cubicBezTo>
                  <a:cubicBezTo>
                    <a:pt x="434" y="226"/>
                    <a:pt x="436" y="219"/>
                    <a:pt x="436" y="212"/>
                  </a:cubicBezTo>
                  <a:cubicBezTo>
                    <a:pt x="436" y="210"/>
                    <a:pt x="436" y="208"/>
                    <a:pt x="435" y="205"/>
                  </a:cubicBezTo>
                  <a:cubicBezTo>
                    <a:pt x="478" y="205"/>
                    <a:pt x="478" y="205"/>
                    <a:pt x="478" y="205"/>
                  </a:cubicBezTo>
                  <a:cubicBezTo>
                    <a:pt x="483" y="205"/>
                    <a:pt x="486" y="202"/>
                    <a:pt x="486" y="197"/>
                  </a:cubicBezTo>
                  <a:cubicBezTo>
                    <a:pt x="486" y="193"/>
                    <a:pt x="483" y="189"/>
                    <a:pt x="478" y="189"/>
                  </a:cubicBezTo>
                  <a:close/>
                  <a:moveTo>
                    <a:pt x="98" y="236"/>
                  </a:moveTo>
                  <a:cubicBezTo>
                    <a:pt x="98" y="236"/>
                    <a:pt x="98" y="236"/>
                    <a:pt x="98" y="236"/>
                  </a:cubicBezTo>
                  <a:cubicBezTo>
                    <a:pt x="95" y="238"/>
                    <a:pt x="92" y="240"/>
                    <a:pt x="89" y="240"/>
                  </a:cubicBezTo>
                  <a:cubicBezTo>
                    <a:pt x="86" y="240"/>
                    <a:pt x="83" y="238"/>
                    <a:pt x="81" y="236"/>
                  </a:cubicBezTo>
                  <a:cubicBezTo>
                    <a:pt x="78" y="234"/>
                    <a:pt x="77" y="231"/>
                    <a:pt x="77" y="228"/>
                  </a:cubicBezTo>
                  <a:cubicBezTo>
                    <a:pt x="77" y="225"/>
                    <a:pt x="78" y="222"/>
                    <a:pt x="81" y="219"/>
                  </a:cubicBezTo>
                  <a:cubicBezTo>
                    <a:pt x="107" y="193"/>
                    <a:pt x="107" y="193"/>
                    <a:pt x="107" y="193"/>
                  </a:cubicBezTo>
                  <a:cubicBezTo>
                    <a:pt x="109" y="191"/>
                    <a:pt x="112" y="189"/>
                    <a:pt x="116" y="189"/>
                  </a:cubicBezTo>
                  <a:cubicBezTo>
                    <a:pt x="119" y="189"/>
                    <a:pt x="122" y="191"/>
                    <a:pt x="124" y="193"/>
                  </a:cubicBezTo>
                  <a:cubicBezTo>
                    <a:pt x="126" y="195"/>
                    <a:pt x="127" y="198"/>
                    <a:pt x="127" y="201"/>
                  </a:cubicBezTo>
                  <a:cubicBezTo>
                    <a:pt x="127" y="204"/>
                    <a:pt x="126" y="207"/>
                    <a:pt x="124" y="210"/>
                  </a:cubicBezTo>
                  <a:lnTo>
                    <a:pt x="98" y="236"/>
                  </a:lnTo>
                  <a:close/>
                  <a:moveTo>
                    <a:pt x="165" y="225"/>
                  </a:moveTo>
                  <a:cubicBezTo>
                    <a:pt x="145" y="245"/>
                    <a:pt x="145" y="245"/>
                    <a:pt x="145" y="245"/>
                  </a:cubicBezTo>
                  <a:cubicBezTo>
                    <a:pt x="143" y="247"/>
                    <a:pt x="140" y="248"/>
                    <a:pt x="137" y="248"/>
                  </a:cubicBezTo>
                  <a:cubicBezTo>
                    <a:pt x="134" y="248"/>
                    <a:pt x="131" y="247"/>
                    <a:pt x="129" y="245"/>
                  </a:cubicBezTo>
                  <a:cubicBezTo>
                    <a:pt x="126" y="242"/>
                    <a:pt x="125" y="239"/>
                    <a:pt x="125" y="236"/>
                  </a:cubicBezTo>
                  <a:cubicBezTo>
                    <a:pt x="125" y="233"/>
                    <a:pt x="126" y="230"/>
                    <a:pt x="129" y="228"/>
                  </a:cubicBezTo>
                  <a:cubicBezTo>
                    <a:pt x="184" y="172"/>
                    <a:pt x="184" y="172"/>
                    <a:pt x="184" y="172"/>
                  </a:cubicBezTo>
                  <a:cubicBezTo>
                    <a:pt x="186" y="170"/>
                    <a:pt x="189" y="169"/>
                    <a:pt x="192" y="169"/>
                  </a:cubicBezTo>
                  <a:cubicBezTo>
                    <a:pt x="195" y="169"/>
                    <a:pt x="198" y="170"/>
                    <a:pt x="201" y="172"/>
                  </a:cubicBezTo>
                  <a:cubicBezTo>
                    <a:pt x="203" y="175"/>
                    <a:pt x="204" y="178"/>
                    <a:pt x="204" y="181"/>
                  </a:cubicBezTo>
                  <a:cubicBezTo>
                    <a:pt x="204" y="184"/>
                    <a:pt x="203" y="187"/>
                    <a:pt x="201" y="189"/>
                  </a:cubicBezTo>
                  <a:cubicBezTo>
                    <a:pt x="165" y="224"/>
                    <a:pt x="165" y="224"/>
                    <a:pt x="165" y="224"/>
                  </a:cubicBezTo>
                  <a:cubicBezTo>
                    <a:pt x="165" y="224"/>
                    <a:pt x="165" y="225"/>
                    <a:pt x="165" y="225"/>
                  </a:cubicBezTo>
                  <a:close/>
                  <a:moveTo>
                    <a:pt x="212" y="234"/>
                  </a:moveTo>
                  <a:cubicBezTo>
                    <a:pt x="194" y="253"/>
                    <a:pt x="194" y="253"/>
                    <a:pt x="194" y="253"/>
                  </a:cubicBezTo>
                  <a:cubicBezTo>
                    <a:pt x="194" y="253"/>
                    <a:pt x="194" y="253"/>
                    <a:pt x="194" y="253"/>
                  </a:cubicBezTo>
                  <a:cubicBezTo>
                    <a:pt x="191" y="255"/>
                    <a:pt x="188" y="256"/>
                    <a:pt x="185" y="256"/>
                  </a:cubicBezTo>
                  <a:cubicBezTo>
                    <a:pt x="182" y="256"/>
                    <a:pt x="179" y="255"/>
                    <a:pt x="177" y="253"/>
                  </a:cubicBezTo>
                  <a:cubicBezTo>
                    <a:pt x="174" y="250"/>
                    <a:pt x="173" y="247"/>
                    <a:pt x="173" y="244"/>
                  </a:cubicBezTo>
                  <a:cubicBezTo>
                    <a:pt x="173" y="241"/>
                    <a:pt x="174" y="238"/>
                    <a:pt x="177" y="236"/>
                  </a:cubicBezTo>
                  <a:cubicBezTo>
                    <a:pt x="212" y="201"/>
                    <a:pt x="212" y="201"/>
                    <a:pt x="212" y="201"/>
                  </a:cubicBezTo>
                  <a:cubicBezTo>
                    <a:pt x="212" y="200"/>
                    <a:pt x="212" y="200"/>
                    <a:pt x="212" y="200"/>
                  </a:cubicBezTo>
                  <a:cubicBezTo>
                    <a:pt x="221" y="191"/>
                    <a:pt x="221" y="191"/>
                    <a:pt x="221" y="191"/>
                  </a:cubicBezTo>
                  <a:cubicBezTo>
                    <a:pt x="224" y="189"/>
                    <a:pt x="227" y="188"/>
                    <a:pt x="230" y="188"/>
                  </a:cubicBezTo>
                  <a:cubicBezTo>
                    <a:pt x="233" y="188"/>
                    <a:pt x="236" y="189"/>
                    <a:pt x="238" y="191"/>
                  </a:cubicBezTo>
                  <a:cubicBezTo>
                    <a:pt x="240" y="194"/>
                    <a:pt x="242" y="197"/>
                    <a:pt x="242" y="200"/>
                  </a:cubicBezTo>
                  <a:cubicBezTo>
                    <a:pt x="242" y="203"/>
                    <a:pt x="240" y="206"/>
                    <a:pt x="238" y="208"/>
                  </a:cubicBezTo>
                  <a:cubicBezTo>
                    <a:pt x="212" y="234"/>
                    <a:pt x="212" y="234"/>
                    <a:pt x="212" y="234"/>
                  </a:cubicBezTo>
                  <a:cubicBezTo>
                    <a:pt x="212" y="234"/>
                    <a:pt x="212" y="234"/>
                    <a:pt x="212" y="234"/>
                  </a:cubicBezTo>
                  <a:close/>
                  <a:moveTo>
                    <a:pt x="266" y="236"/>
                  </a:moveTo>
                  <a:cubicBezTo>
                    <a:pt x="240" y="262"/>
                    <a:pt x="240" y="262"/>
                    <a:pt x="240" y="262"/>
                  </a:cubicBezTo>
                  <a:cubicBezTo>
                    <a:pt x="238" y="265"/>
                    <a:pt x="235" y="266"/>
                    <a:pt x="232" y="266"/>
                  </a:cubicBezTo>
                  <a:cubicBezTo>
                    <a:pt x="229" y="266"/>
                    <a:pt x="226" y="265"/>
                    <a:pt x="223" y="262"/>
                  </a:cubicBezTo>
                  <a:cubicBezTo>
                    <a:pt x="221" y="260"/>
                    <a:pt x="220" y="257"/>
                    <a:pt x="220" y="254"/>
                  </a:cubicBezTo>
                  <a:cubicBezTo>
                    <a:pt x="220" y="251"/>
                    <a:pt x="221" y="248"/>
                    <a:pt x="223" y="246"/>
                  </a:cubicBezTo>
                  <a:cubicBezTo>
                    <a:pt x="249" y="219"/>
                    <a:pt x="249" y="219"/>
                    <a:pt x="249" y="219"/>
                  </a:cubicBezTo>
                  <a:cubicBezTo>
                    <a:pt x="249" y="219"/>
                    <a:pt x="249" y="219"/>
                    <a:pt x="249" y="219"/>
                  </a:cubicBezTo>
                  <a:cubicBezTo>
                    <a:pt x="250" y="219"/>
                    <a:pt x="250" y="219"/>
                    <a:pt x="250" y="219"/>
                  </a:cubicBezTo>
                  <a:cubicBezTo>
                    <a:pt x="252" y="217"/>
                    <a:pt x="255" y="216"/>
                    <a:pt x="258" y="216"/>
                  </a:cubicBezTo>
                  <a:cubicBezTo>
                    <a:pt x="261" y="216"/>
                    <a:pt x="264" y="217"/>
                    <a:pt x="266" y="219"/>
                  </a:cubicBezTo>
                  <a:cubicBezTo>
                    <a:pt x="269" y="222"/>
                    <a:pt x="270" y="225"/>
                    <a:pt x="270" y="228"/>
                  </a:cubicBezTo>
                  <a:cubicBezTo>
                    <a:pt x="270" y="231"/>
                    <a:pt x="269" y="234"/>
                    <a:pt x="266" y="2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44" name="Freeform 3"/>
            <p:cNvSpPr>
              <a:spLocks noChangeAspect="1" noEditPoints="1"/>
            </p:cNvSpPr>
            <p:nvPr/>
          </p:nvSpPr>
          <p:spPr bwMode="auto">
            <a:xfrm>
              <a:off x="2086399" y="4868652"/>
              <a:ext cx="399946" cy="463422"/>
            </a:xfrm>
            <a:custGeom>
              <a:avLst/>
              <a:gdLst>
                <a:gd name="T0" fmla="*/ 2147483647 w 355"/>
                <a:gd name="T1" fmla="*/ 2147483647 h 411"/>
                <a:gd name="T2" fmla="*/ 2147483647 w 355"/>
                <a:gd name="T3" fmla="*/ 2147483647 h 411"/>
                <a:gd name="T4" fmla="*/ 2147483647 w 355"/>
                <a:gd name="T5" fmla="*/ 2147483647 h 411"/>
                <a:gd name="T6" fmla="*/ 2147483647 w 355"/>
                <a:gd name="T7" fmla="*/ 2147483647 h 411"/>
                <a:gd name="T8" fmla="*/ 2147483647 w 355"/>
                <a:gd name="T9" fmla="*/ 2147483647 h 411"/>
                <a:gd name="T10" fmla="*/ 2147483647 w 355"/>
                <a:gd name="T11" fmla="*/ 2147483647 h 411"/>
                <a:gd name="T12" fmla="*/ 2147483647 w 355"/>
                <a:gd name="T13" fmla="*/ 2147483647 h 411"/>
                <a:gd name="T14" fmla="*/ 2147483647 w 355"/>
                <a:gd name="T15" fmla="*/ 2147483647 h 411"/>
                <a:gd name="T16" fmla="*/ 2147483647 w 355"/>
                <a:gd name="T17" fmla="*/ 2147483647 h 411"/>
                <a:gd name="T18" fmla="*/ 2147483647 w 355"/>
                <a:gd name="T19" fmla="*/ 2147483647 h 411"/>
                <a:gd name="T20" fmla="*/ 2147483647 w 355"/>
                <a:gd name="T21" fmla="*/ 2147483647 h 411"/>
                <a:gd name="T22" fmla="*/ 2147483647 w 355"/>
                <a:gd name="T23" fmla="*/ 2147483647 h 411"/>
                <a:gd name="T24" fmla="*/ 2147483647 w 355"/>
                <a:gd name="T25" fmla="*/ 2147483647 h 411"/>
                <a:gd name="T26" fmla="*/ 2147483647 w 355"/>
                <a:gd name="T27" fmla="*/ 2147483647 h 411"/>
                <a:gd name="T28" fmla="*/ 2147483647 w 355"/>
                <a:gd name="T29" fmla="*/ 2147483647 h 411"/>
                <a:gd name="T30" fmla="*/ 2147483647 w 355"/>
                <a:gd name="T31" fmla="*/ 2147483647 h 411"/>
                <a:gd name="T32" fmla="*/ 2147483647 w 355"/>
                <a:gd name="T33" fmla="*/ 2147483647 h 411"/>
                <a:gd name="T34" fmla="*/ 2147483647 w 355"/>
                <a:gd name="T35" fmla="*/ 2147483647 h 411"/>
                <a:gd name="T36" fmla="*/ 2147483647 w 355"/>
                <a:gd name="T37" fmla="*/ 2147483647 h 411"/>
                <a:gd name="T38" fmla="*/ 2147483647 w 355"/>
                <a:gd name="T39" fmla="*/ 2147483647 h 411"/>
                <a:gd name="T40" fmla="*/ 2147483647 w 355"/>
                <a:gd name="T41" fmla="*/ 2147483647 h 411"/>
                <a:gd name="T42" fmla="*/ 2147483647 w 355"/>
                <a:gd name="T43" fmla="*/ 2147483647 h 411"/>
                <a:gd name="T44" fmla="*/ 2147483647 w 355"/>
                <a:gd name="T45" fmla="*/ 2147483647 h 411"/>
                <a:gd name="T46" fmla="*/ 2147483647 w 355"/>
                <a:gd name="T47" fmla="*/ 2147483647 h 411"/>
                <a:gd name="T48" fmla="*/ 2147483647 w 355"/>
                <a:gd name="T49" fmla="*/ 2147483647 h 411"/>
                <a:gd name="T50" fmla="*/ 2147483647 w 355"/>
                <a:gd name="T51" fmla="*/ 2147483647 h 411"/>
                <a:gd name="T52" fmla="*/ 2147483647 w 355"/>
                <a:gd name="T53" fmla="*/ 2147483647 h 411"/>
                <a:gd name="T54" fmla="*/ 2147483647 w 355"/>
                <a:gd name="T55" fmla="*/ 2147483647 h 411"/>
                <a:gd name="T56" fmla="*/ 2147483647 w 355"/>
                <a:gd name="T57" fmla="*/ 2147483647 h 411"/>
                <a:gd name="T58" fmla="*/ 2147483647 w 355"/>
                <a:gd name="T59" fmla="*/ 2147483647 h 411"/>
                <a:gd name="T60" fmla="*/ 2147483647 w 355"/>
                <a:gd name="T61" fmla="*/ 2147483647 h 411"/>
                <a:gd name="T62" fmla="*/ 2147483647 w 355"/>
                <a:gd name="T63" fmla="*/ 2147483647 h 411"/>
                <a:gd name="T64" fmla="*/ 2147483647 w 355"/>
                <a:gd name="T65" fmla="*/ 2147483647 h 411"/>
                <a:gd name="T66" fmla="*/ 2147483647 w 355"/>
                <a:gd name="T67" fmla="*/ 2147483647 h 411"/>
                <a:gd name="T68" fmla="*/ 2147483647 w 355"/>
                <a:gd name="T69" fmla="*/ 2147483647 h 411"/>
                <a:gd name="T70" fmla="*/ 2147483647 w 355"/>
                <a:gd name="T71" fmla="*/ 2147483647 h 411"/>
                <a:gd name="T72" fmla="*/ 2147483647 w 355"/>
                <a:gd name="T73" fmla="*/ 2147483647 h 411"/>
                <a:gd name="T74" fmla="*/ 2147483647 w 355"/>
                <a:gd name="T75" fmla="*/ 2147483647 h 411"/>
                <a:gd name="T76" fmla="*/ 2147483647 w 355"/>
                <a:gd name="T77" fmla="*/ 2147483647 h 411"/>
                <a:gd name="T78" fmla="*/ 2147483647 w 355"/>
                <a:gd name="T79" fmla="*/ 2147483647 h 411"/>
                <a:gd name="T80" fmla="*/ 2147483647 w 355"/>
                <a:gd name="T81" fmla="*/ 2147483647 h 411"/>
                <a:gd name="T82" fmla="*/ 2147483647 w 355"/>
                <a:gd name="T83" fmla="*/ 2147483647 h 411"/>
                <a:gd name="T84" fmla="*/ 2147483647 w 355"/>
                <a:gd name="T85" fmla="*/ 2147483647 h 411"/>
                <a:gd name="T86" fmla="*/ 2147483647 w 355"/>
                <a:gd name="T87" fmla="*/ 2147483647 h 411"/>
                <a:gd name="T88" fmla="*/ 2147483647 w 355"/>
                <a:gd name="T89" fmla="*/ 2147483647 h 411"/>
                <a:gd name="T90" fmla="*/ 2147483647 w 355"/>
                <a:gd name="T91" fmla="*/ 2147483647 h 411"/>
                <a:gd name="T92" fmla="*/ 2147483647 w 355"/>
                <a:gd name="T93" fmla="*/ 2147483647 h 411"/>
                <a:gd name="T94" fmla="*/ 2147483647 w 355"/>
                <a:gd name="T95" fmla="*/ 2147483647 h 411"/>
                <a:gd name="T96" fmla="*/ 2147483647 w 355"/>
                <a:gd name="T97" fmla="*/ 2147483647 h 411"/>
                <a:gd name="T98" fmla="*/ 2147483647 w 355"/>
                <a:gd name="T99" fmla="*/ 2147483647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45" name="Freeform 3"/>
            <p:cNvSpPr>
              <a:spLocks noChangeAspect="1"/>
            </p:cNvSpPr>
            <p:nvPr/>
          </p:nvSpPr>
          <p:spPr bwMode="auto">
            <a:xfrm>
              <a:off x="2829405" y="4458854"/>
              <a:ext cx="411480" cy="411480"/>
            </a:xfrm>
            <a:custGeom>
              <a:avLst/>
              <a:gdLst>
                <a:gd name="T0" fmla="*/ 2147483647 w 349"/>
                <a:gd name="T1" fmla="*/ 2147483647 h 349"/>
                <a:gd name="T2" fmla="*/ 2147483647 w 349"/>
                <a:gd name="T3" fmla="*/ 2147483647 h 349"/>
                <a:gd name="T4" fmla="*/ 2147483647 w 349"/>
                <a:gd name="T5" fmla="*/ 2147483647 h 349"/>
                <a:gd name="T6" fmla="*/ 2147483647 w 349"/>
                <a:gd name="T7" fmla="*/ 2147483647 h 349"/>
                <a:gd name="T8" fmla="*/ 2147483647 w 349"/>
                <a:gd name="T9" fmla="*/ 2147483647 h 349"/>
                <a:gd name="T10" fmla="*/ 2147483647 w 349"/>
                <a:gd name="T11" fmla="*/ 2147483647 h 349"/>
                <a:gd name="T12" fmla="*/ 2147483647 w 349"/>
                <a:gd name="T13" fmla="*/ 2147483647 h 349"/>
                <a:gd name="T14" fmla="*/ 2147483647 w 349"/>
                <a:gd name="T15" fmla="*/ 2147483647 h 349"/>
                <a:gd name="T16" fmla="*/ 2147483647 w 349"/>
                <a:gd name="T17" fmla="*/ 2147483647 h 349"/>
                <a:gd name="T18" fmla="*/ 2147483647 w 349"/>
                <a:gd name="T19" fmla="*/ 2147483647 h 349"/>
                <a:gd name="T20" fmla="*/ 2147483647 w 349"/>
                <a:gd name="T21" fmla="*/ 2147483647 h 349"/>
                <a:gd name="T22" fmla="*/ 2147483647 w 349"/>
                <a:gd name="T23" fmla="*/ 2147483647 h 349"/>
                <a:gd name="T24" fmla="*/ 2147483647 w 349"/>
                <a:gd name="T25" fmla="*/ 2147483647 h 349"/>
                <a:gd name="T26" fmla="*/ 2147483647 w 349"/>
                <a:gd name="T27" fmla="*/ 2147483647 h 349"/>
                <a:gd name="T28" fmla="*/ 2147483647 w 349"/>
                <a:gd name="T29" fmla="*/ 2147483647 h 349"/>
                <a:gd name="T30" fmla="*/ 2147483647 w 349"/>
                <a:gd name="T31" fmla="*/ 2147483647 h 349"/>
                <a:gd name="T32" fmla="*/ 2147483647 w 349"/>
                <a:gd name="T33" fmla="*/ 2147483647 h 349"/>
                <a:gd name="T34" fmla="*/ 2147483647 w 349"/>
                <a:gd name="T35" fmla="*/ 2147483647 h 349"/>
                <a:gd name="T36" fmla="*/ 2147483647 w 349"/>
                <a:gd name="T37" fmla="*/ 2147483647 h 349"/>
                <a:gd name="T38" fmla="*/ 2147483647 w 349"/>
                <a:gd name="T39" fmla="*/ 2147483647 h 349"/>
                <a:gd name="T40" fmla="*/ 2147483647 w 349"/>
                <a:gd name="T41" fmla="*/ 2147483647 h 349"/>
                <a:gd name="T42" fmla="*/ 2147483647 w 349"/>
                <a:gd name="T43" fmla="*/ 2147483647 h 349"/>
                <a:gd name="T44" fmla="*/ 2147483647 w 349"/>
                <a:gd name="T45" fmla="*/ 2147483647 h 349"/>
                <a:gd name="T46" fmla="*/ 2147483647 w 349"/>
                <a:gd name="T47" fmla="*/ 2147483647 h 349"/>
                <a:gd name="T48" fmla="*/ 2147483647 w 349"/>
                <a:gd name="T49" fmla="*/ 2147483647 h 349"/>
                <a:gd name="T50" fmla="*/ 2147483647 w 349"/>
                <a:gd name="T51" fmla="*/ 2147483647 h 349"/>
                <a:gd name="T52" fmla="*/ 2147483647 w 349"/>
                <a:gd name="T53" fmla="*/ 2147483647 h 349"/>
                <a:gd name="T54" fmla="*/ 2147483647 w 349"/>
                <a:gd name="T55" fmla="*/ 2147483647 h 349"/>
                <a:gd name="T56" fmla="*/ 2147483647 w 349"/>
                <a:gd name="T57" fmla="*/ 2147483647 h 349"/>
                <a:gd name="T58" fmla="*/ 2147483647 w 349"/>
                <a:gd name="T59" fmla="*/ 2147483647 h 349"/>
                <a:gd name="T60" fmla="*/ 2147483647 w 349"/>
                <a:gd name="T61" fmla="*/ 2147483647 h 349"/>
                <a:gd name="T62" fmla="*/ 2147483647 w 349"/>
                <a:gd name="T63" fmla="*/ 2147483647 h 349"/>
                <a:gd name="T64" fmla="*/ 2147483647 w 349"/>
                <a:gd name="T65" fmla="*/ 2147483647 h 349"/>
                <a:gd name="T66" fmla="*/ 2147483647 w 349"/>
                <a:gd name="T67" fmla="*/ 2147483647 h 349"/>
                <a:gd name="T68" fmla="*/ 2147483647 w 349"/>
                <a:gd name="T69" fmla="*/ 2147483647 h 349"/>
                <a:gd name="T70" fmla="*/ 2147483647 w 349"/>
                <a:gd name="T71" fmla="*/ 2147483647 h 349"/>
                <a:gd name="T72" fmla="*/ 2147483647 w 349"/>
                <a:gd name="T73" fmla="*/ 2147483647 h 349"/>
                <a:gd name="T74" fmla="*/ 2147483647 w 349"/>
                <a:gd name="T75" fmla="*/ 2147483647 h 349"/>
                <a:gd name="T76" fmla="*/ 2147483647 w 349"/>
                <a:gd name="T77" fmla="*/ 0 h 349"/>
                <a:gd name="T78" fmla="*/ 2147483647 w 349"/>
                <a:gd name="T79" fmla="*/ 2147483647 h 349"/>
                <a:gd name="T80" fmla="*/ 2147483647 w 349"/>
                <a:gd name="T81" fmla="*/ 2147483647 h 349"/>
                <a:gd name="T82" fmla="*/ 2147483647 w 349"/>
                <a:gd name="T83" fmla="*/ 2147483647 h 349"/>
                <a:gd name="T84" fmla="*/ 2147483647 w 349"/>
                <a:gd name="T85" fmla="*/ 2147483647 h 349"/>
                <a:gd name="T86" fmla="*/ 2147483647 w 349"/>
                <a:gd name="T87" fmla="*/ 2147483647 h 349"/>
                <a:gd name="T88" fmla="*/ 0 w 349"/>
                <a:gd name="T89" fmla="*/ 2147483647 h 349"/>
                <a:gd name="T90" fmla="*/ 2147483647 w 349"/>
                <a:gd name="T91" fmla="*/ 2147483647 h 349"/>
                <a:gd name="T92" fmla="*/ 2147483647 w 349"/>
                <a:gd name="T93" fmla="*/ 2147483647 h 349"/>
                <a:gd name="T94" fmla="*/ 2147483647 w 349"/>
                <a:gd name="T95" fmla="*/ 2147483647 h 349"/>
                <a:gd name="T96" fmla="*/ 2147483647 w 349"/>
                <a:gd name="T97" fmla="*/ 2147483647 h 349"/>
                <a:gd name="T98" fmla="*/ 0 w 349"/>
                <a:gd name="T99" fmla="*/ 2147483647 h 349"/>
                <a:gd name="T100" fmla="*/ 2147483647 w 349"/>
                <a:gd name="T101" fmla="*/ 2147483647 h 349"/>
                <a:gd name="T102" fmla="*/ 2147483647 w 349"/>
                <a:gd name="T103" fmla="*/ 2147483647 h 349"/>
                <a:gd name="T104" fmla="*/ 2147483647 w 349"/>
                <a:gd name="T105" fmla="*/ 2147483647 h 349"/>
                <a:gd name="T106" fmla="*/ 2147483647 w 349"/>
                <a:gd name="T107" fmla="*/ 2147483647 h 349"/>
                <a:gd name="T108" fmla="*/ 2147483647 w 349"/>
                <a:gd name="T109" fmla="*/ 2147483647 h 349"/>
                <a:gd name="T110" fmla="*/ 2147483647 w 349"/>
                <a:gd name="T111" fmla="*/ 2147483647 h 349"/>
                <a:gd name="T112" fmla="*/ 2147483647 w 349"/>
                <a:gd name="T113" fmla="*/ 2147483647 h 3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49" h="349">
                  <a:moveTo>
                    <a:pt x="348" y="327"/>
                  </a:moveTo>
                  <a:cubicBezTo>
                    <a:pt x="340" y="328"/>
                    <a:pt x="340" y="328"/>
                    <a:pt x="340" y="328"/>
                  </a:cubicBezTo>
                  <a:cubicBezTo>
                    <a:pt x="348" y="327"/>
                    <a:pt x="348" y="327"/>
                    <a:pt x="348" y="327"/>
                  </a:cubicBezTo>
                  <a:cubicBezTo>
                    <a:pt x="348" y="319"/>
                    <a:pt x="340" y="257"/>
                    <a:pt x="340" y="254"/>
                  </a:cubicBezTo>
                  <a:cubicBezTo>
                    <a:pt x="340" y="250"/>
                    <a:pt x="338" y="247"/>
                    <a:pt x="336" y="243"/>
                  </a:cubicBezTo>
                  <a:cubicBezTo>
                    <a:pt x="334" y="240"/>
                    <a:pt x="329" y="238"/>
                    <a:pt x="325" y="238"/>
                  </a:cubicBezTo>
                  <a:cubicBezTo>
                    <a:pt x="320" y="238"/>
                    <a:pt x="315" y="241"/>
                    <a:pt x="311" y="244"/>
                  </a:cubicBezTo>
                  <a:cubicBezTo>
                    <a:pt x="311" y="245"/>
                    <a:pt x="311" y="245"/>
                    <a:pt x="311" y="245"/>
                  </a:cubicBezTo>
                  <a:cubicBezTo>
                    <a:pt x="298" y="233"/>
                    <a:pt x="298" y="233"/>
                    <a:pt x="298" y="233"/>
                  </a:cubicBezTo>
                  <a:cubicBezTo>
                    <a:pt x="306" y="215"/>
                    <a:pt x="311" y="196"/>
                    <a:pt x="311" y="175"/>
                  </a:cubicBezTo>
                  <a:cubicBezTo>
                    <a:pt x="311" y="154"/>
                    <a:pt x="306" y="134"/>
                    <a:pt x="298" y="117"/>
                  </a:cubicBezTo>
                  <a:cubicBezTo>
                    <a:pt x="311" y="104"/>
                    <a:pt x="311" y="104"/>
                    <a:pt x="311" y="104"/>
                  </a:cubicBezTo>
                  <a:cubicBezTo>
                    <a:pt x="311" y="105"/>
                    <a:pt x="311" y="105"/>
                    <a:pt x="311" y="105"/>
                  </a:cubicBezTo>
                  <a:cubicBezTo>
                    <a:pt x="315" y="109"/>
                    <a:pt x="320" y="112"/>
                    <a:pt x="325" y="112"/>
                  </a:cubicBezTo>
                  <a:cubicBezTo>
                    <a:pt x="329" y="112"/>
                    <a:pt x="334" y="109"/>
                    <a:pt x="336" y="106"/>
                  </a:cubicBezTo>
                  <a:cubicBezTo>
                    <a:pt x="338" y="103"/>
                    <a:pt x="339" y="99"/>
                    <a:pt x="340" y="95"/>
                  </a:cubicBezTo>
                  <a:cubicBezTo>
                    <a:pt x="340" y="92"/>
                    <a:pt x="341" y="83"/>
                    <a:pt x="342" y="72"/>
                  </a:cubicBezTo>
                  <a:cubicBezTo>
                    <a:pt x="343" y="68"/>
                    <a:pt x="340" y="64"/>
                    <a:pt x="335" y="63"/>
                  </a:cubicBezTo>
                  <a:cubicBezTo>
                    <a:pt x="331" y="63"/>
                    <a:pt x="327" y="66"/>
                    <a:pt x="327" y="70"/>
                  </a:cubicBezTo>
                  <a:cubicBezTo>
                    <a:pt x="325" y="81"/>
                    <a:pt x="324" y="91"/>
                    <a:pt x="324" y="94"/>
                  </a:cubicBezTo>
                  <a:cubicBezTo>
                    <a:pt x="324" y="94"/>
                    <a:pt x="324" y="95"/>
                    <a:pt x="324" y="95"/>
                  </a:cubicBezTo>
                  <a:cubicBezTo>
                    <a:pt x="323" y="95"/>
                    <a:pt x="323" y="94"/>
                    <a:pt x="323" y="94"/>
                  </a:cubicBezTo>
                  <a:cubicBezTo>
                    <a:pt x="321" y="92"/>
                    <a:pt x="316" y="87"/>
                    <a:pt x="316" y="87"/>
                  </a:cubicBezTo>
                  <a:cubicBezTo>
                    <a:pt x="315" y="86"/>
                    <a:pt x="313" y="85"/>
                    <a:pt x="311" y="85"/>
                  </a:cubicBezTo>
                  <a:cubicBezTo>
                    <a:pt x="308" y="85"/>
                    <a:pt x="306" y="86"/>
                    <a:pt x="305" y="87"/>
                  </a:cubicBezTo>
                  <a:cubicBezTo>
                    <a:pt x="283" y="109"/>
                    <a:pt x="283" y="109"/>
                    <a:pt x="283" y="109"/>
                  </a:cubicBezTo>
                  <a:cubicBezTo>
                    <a:pt x="280" y="112"/>
                    <a:pt x="280" y="115"/>
                    <a:pt x="281" y="119"/>
                  </a:cubicBezTo>
                  <a:cubicBezTo>
                    <a:pt x="281" y="119"/>
                    <a:pt x="281" y="119"/>
                    <a:pt x="281" y="119"/>
                  </a:cubicBezTo>
                  <a:cubicBezTo>
                    <a:pt x="281" y="119"/>
                    <a:pt x="281" y="119"/>
                    <a:pt x="281" y="119"/>
                  </a:cubicBezTo>
                  <a:cubicBezTo>
                    <a:pt x="290" y="136"/>
                    <a:pt x="295" y="155"/>
                    <a:pt x="295" y="175"/>
                  </a:cubicBezTo>
                  <a:cubicBezTo>
                    <a:pt x="295" y="195"/>
                    <a:pt x="290" y="214"/>
                    <a:pt x="281" y="231"/>
                  </a:cubicBezTo>
                  <a:cubicBezTo>
                    <a:pt x="280" y="234"/>
                    <a:pt x="280" y="238"/>
                    <a:pt x="283" y="240"/>
                  </a:cubicBezTo>
                  <a:cubicBezTo>
                    <a:pt x="305" y="262"/>
                    <a:pt x="305" y="262"/>
                    <a:pt x="305" y="262"/>
                  </a:cubicBezTo>
                  <a:cubicBezTo>
                    <a:pt x="306" y="264"/>
                    <a:pt x="308" y="265"/>
                    <a:pt x="311" y="265"/>
                  </a:cubicBezTo>
                  <a:cubicBezTo>
                    <a:pt x="313" y="265"/>
                    <a:pt x="315" y="264"/>
                    <a:pt x="316" y="262"/>
                  </a:cubicBezTo>
                  <a:cubicBezTo>
                    <a:pt x="316" y="262"/>
                    <a:pt x="321" y="257"/>
                    <a:pt x="323" y="256"/>
                  </a:cubicBezTo>
                  <a:cubicBezTo>
                    <a:pt x="323" y="255"/>
                    <a:pt x="324" y="255"/>
                    <a:pt x="324" y="255"/>
                  </a:cubicBezTo>
                  <a:cubicBezTo>
                    <a:pt x="324" y="255"/>
                    <a:pt x="324" y="255"/>
                    <a:pt x="324" y="256"/>
                  </a:cubicBezTo>
                  <a:cubicBezTo>
                    <a:pt x="324" y="259"/>
                    <a:pt x="332" y="320"/>
                    <a:pt x="332" y="329"/>
                  </a:cubicBezTo>
                  <a:cubicBezTo>
                    <a:pt x="333" y="329"/>
                    <a:pt x="333" y="330"/>
                    <a:pt x="333" y="330"/>
                  </a:cubicBezTo>
                  <a:cubicBezTo>
                    <a:pt x="332" y="331"/>
                    <a:pt x="332" y="331"/>
                    <a:pt x="332" y="332"/>
                  </a:cubicBezTo>
                  <a:cubicBezTo>
                    <a:pt x="331" y="333"/>
                    <a:pt x="331" y="333"/>
                    <a:pt x="329" y="333"/>
                  </a:cubicBezTo>
                  <a:cubicBezTo>
                    <a:pt x="329" y="333"/>
                    <a:pt x="329" y="333"/>
                    <a:pt x="328" y="333"/>
                  </a:cubicBezTo>
                  <a:cubicBezTo>
                    <a:pt x="320" y="332"/>
                    <a:pt x="265" y="325"/>
                    <a:pt x="255" y="324"/>
                  </a:cubicBezTo>
                  <a:cubicBezTo>
                    <a:pt x="255" y="324"/>
                    <a:pt x="254" y="324"/>
                    <a:pt x="254" y="324"/>
                  </a:cubicBezTo>
                  <a:cubicBezTo>
                    <a:pt x="254" y="324"/>
                    <a:pt x="255" y="324"/>
                    <a:pt x="255" y="323"/>
                  </a:cubicBezTo>
                  <a:cubicBezTo>
                    <a:pt x="257" y="322"/>
                    <a:pt x="262" y="317"/>
                    <a:pt x="262" y="317"/>
                  </a:cubicBezTo>
                  <a:cubicBezTo>
                    <a:pt x="263" y="315"/>
                    <a:pt x="264" y="313"/>
                    <a:pt x="264" y="311"/>
                  </a:cubicBezTo>
                  <a:cubicBezTo>
                    <a:pt x="264" y="309"/>
                    <a:pt x="263" y="307"/>
                    <a:pt x="262" y="305"/>
                  </a:cubicBezTo>
                  <a:cubicBezTo>
                    <a:pt x="239" y="283"/>
                    <a:pt x="239" y="283"/>
                    <a:pt x="239" y="283"/>
                  </a:cubicBezTo>
                  <a:cubicBezTo>
                    <a:pt x="237" y="281"/>
                    <a:pt x="233" y="280"/>
                    <a:pt x="230" y="282"/>
                  </a:cubicBezTo>
                  <a:cubicBezTo>
                    <a:pt x="213" y="291"/>
                    <a:pt x="194" y="296"/>
                    <a:pt x="174" y="296"/>
                  </a:cubicBezTo>
                  <a:cubicBezTo>
                    <a:pt x="154" y="296"/>
                    <a:pt x="135" y="291"/>
                    <a:pt x="118" y="282"/>
                  </a:cubicBezTo>
                  <a:cubicBezTo>
                    <a:pt x="118" y="282"/>
                    <a:pt x="118" y="282"/>
                    <a:pt x="118" y="282"/>
                  </a:cubicBezTo>
                  <a:cubicBezTo>
                    <a:pt x="115" y="280"/>
                    <a:pt x="111" y="281"/>
                    <a:pt x="109" y="284"/>
                  </a:cubicBezTo>
                  <a:cubicBezTo>
                    <a:pt x="87" y="305"/>
                    <a:pt x="87" y="305"/>
                    <a:pt x="87" y="305"/>
                  </a:cubicBezTo>
                  <a:cubicBezTo>
                    <a:pt x="85" y="307"/>
                    <a:pt x="84" y="309"/>
                    <a:pt x="84" y="311"/>
                  </a:cubicBezTo>
                  <a:cubicBezTo>
                    <a:pt x="84" y="313"/>
                    <a:pt x="85" y="315"/>
                    <a:pt x="87" y="317"/>
                  </a:cubicBezTo>
                  <a:cubicBezTo>
                    <a:pt x="87" y="317"/>
                    <a:pt x="92" y="322"/>
                    <a:pt x="93" y="323"/>
                  </a:cubicBezTo>
                  <a:cubicBezTo>
                    <a:pt x="94" y="324"/>
                    <a:pt x="94" y="324"/>
                    <a:pt x="94" y="325"/>
                  </a:cubicBezTo>
                  <a:cubicBezTo>
                    <a:pt x="94" y="325"/>
                    <a:pt x="94" y="325"/>
                    <a:pt x="93" y="325"/>
                  </a:cubicBezTo>
                  <a:cubicBezTo>
                    <a:pt x="90" y="325"/>
                    <a:pt x="28" y="332"/>
                    <a:pt x="20" y="333"/>
                  </a:cubicBezTo>
                  <a:cubicBezTo>
                    <a:pt x="20" y="333"/>
                    <a:pt x="19" y="333"/>
                    <a:pt x="19" y="333"/>
                  </a:cubicBezTo>
                  <a:cubicBezTo>
                    <a:pt x="18" y="333"/>
                    <a:pt x="18" y="333"/>
                    <a:pt x="17" y="332"/>
                  </a:cubicBezTo>
                  <a:cubicBezTo>
                    <a:pt x="16" y="332"/>
                    <a:pt x="16" y="332"/>
                    <a:pt x="16" y="330"/>
                  </a:cubicBezTo>
                  <a:cubicBezTo>
                    <a:pt x="16" y="330"/>
                    <a:pt x="16" y="329"/>
                    <a:pt x="16" y="329"/>
                  </a:cubicBezTo>
                  <a:cubicBezTo>
                    <a:pt x="17" y="321"/>
                    <a:pt x="24" y="265"/>
                    <a:pt x="25" y="256"/>
                  </a:cubicBezTo>
                  <a:cubicBezTo>
                    <a:pt x="25" y="255"/>
                    <a:pt x="25" y="255"/>
                    <a:pt x="25" y="255"/>
                  </a:cubicBezTo>
                  <a:cubicBezTo>
                    <a:pt x="25" y="255"/>
                    <a:pt x="25" y="255"/>
                    <a:pt x="26" y="256"/>
                  </a:cubicBezTo>
                  <a:cubicBezTo>
                    <a:pt x="27" y="257"/>
                    <a:pt x="32" y="262"/>
                    <a:pt x="32" y="262"/>
                  </a:cubicBezTo>
                  <a:cubicBezTo>
                    <a:pt x="34" y="264"/>
                    <a:pt x="36" y="265"/>
                    <a:pt x="38" y="265"/>
                  </a:cubicBezTo>
                  <a:cubicBezTo>
                    <a:pt x="40" y="265"/>
                    <a:pt x="42" y="264"/>
                    <a:pt x="44" y="262"/>
                  </a:cubicBezTo>
                  <a:cubicBezTo>
                    <a:pt x="66" y="240"/>
                    <a:pt x="66" y="240"/>
                    <a:pt x="66" y="240"/>
                  </a:cubicBezTo>
                  <a:cubicBezTo>
                    <a:pt x="68" y="238"/>
                    <a:pt x="69" y="234"/>
                    <a:pt x="67" y="231"/>
                  </a:cubicBezTo>
                  <a:cubicBezTo>
                    <a:pt x="58" y="214"/>
                    <a:pt x="53" y="195"/>
                    <a:pt x="53" y="175"/>
                  </a:cubicBezTo>
                  <a:cubicBezTo>
                    <a:pt x="53" y="155"/>
                    <a:pt x="58" y="136"/>
                    <a:pt x="67" y="119"/>
                  </a:cubicBezTo>
                  <a:cubicBezTo>
                    <a:pt x="69" y="116"/>
                    <a:pt x="68" y="112"/>
                    <a:pt x="66" y="110"/>
                  </a:cubicBezTo>
                  <a:cubicBezTo>
                    <a:pt x="44" y="87"/>
                    <a:pt x="44" y="87"/>
                    <a:pt x="44" y="87"/>
                  </a:cubicBezTo>
                  <a:cubicBezTo>
                    <a:pt x="42" y="86"/>
                    <a:pt x="40" y="85"/>
                    <a:pt x="38" y="85"/>
                  </a:cubicBezTo>
                  <a:cubicBezTo>
                    <a:pt x="36" y="85"/>
                    <a:pt x="34" y="86"/>
                    <a:pt x="32" y="87"/>
                  </a:cubicBezTo>
                  <a:cubicBezTo>
                    <a:pt x="32" y="87"/>
                    <a:pt x="27" y="92"/>
                    <a:pt x="26" y="94"/>
                  </a:cubicBezTo>
                  <a:cubicBezTo>
                    <a:pt x="25" y="94"/>
                    <a:pt x="25" y="95"/>
                    <a:pt x="25" y="95"/>
                  </a:cubicBezTo>
                  <a:cubicBezTo>
                    <a:pt x="24" y="95"/>
                    <a:pt x="24" y="94"/>
                    <a:pt x="24" y="94"/>
                  </a:cubicBezTo>
                  <a:cubicBezTo>
                    <a:pt x="24" y="91"/>
                    <a:pt x="17" y="29"/>
                    <a:pt x="16" y="21"/>
                  </a:cubicBezTo>
                  <a:cubicBezTo>
                    <a:pt x="16" y="20"/>
                    <a:pt x="16" y="20"/>
                    <a:pt x="16" y="20"/>
                  </a:cubicBezTo>
                  <a:cubicBezTo>
                    <a:pt x="16" y="18"/>
                    <a:pt x="16" y="18"/>
                    <a:pt x="17" y="17"/>
                  </a:cubicBezTo>
                  <a:cubicBezTo>
                    <a:pt x="18" y="17"/>
                    <a:pt x="17" y="17"/>
                    <a:pt x="19" y="17"/>
                  </a:cubicBezTo>
                  <a:cubicBezTo>
                    <a:pt x="19" y="17"/>
                    <a:pt x="20" y="17"/>
                    <a:pt x="20" y="17"/>
                  </a:cubicBezTo>
                  <a:cubicBezTo>
                    <a:pt x="28" y="17"/>
                    <a:pt x="84" y="24"/>
                    <a:pt x="93" y="25"/>
                  </a:cubicBezTo>
                  <a:cubicBezTo>
                    <a:pt x="94" y="25"/>
                    <a:pt x="94" y="25"/>
                    <a:pt x="94" y="25"/>
                  </a:cubicBezTo>
                  <a:cubicBezTo>
                    <a:pt x="94" y="26"/>
                    <a:pt x="94" y="26"/>
                    <a:pt x="93" y="26"/>
                  </a:cubicBezTo>
                  <a:cubicBezTo>
                    <a:pt x="92" y="28"/>
                    <a:pt x="87" y="33"/>
                    <a:pt x="87" y="33"/>
                  </a:cubicBezTo>
                  <a:cubicBezTo>
                    <a:pt x="85" y="34"/>
                    <a:pt x="84" y="36"/>
                    <a:pt x="84" y="38"/>
                  </a:cubicBezTo>
                  <a:cubicBezTo>
                    <a:pt x="84" y="41"/>
                    <a:pt x="85" y="43"/>
                    <a:pt x="87" y="44"/>
                  </a:cubicBezTo>
                  <a:cubicBezTo>
                    <a:pt x="109" y="66"/>
                    <a:pt x="109" y="66"/>
                    <a:pt x="109" y="66"/>
                  </a:cubicBezTo>
                  <a:cubicBezTo>
                    <a:pt x="111" y="69"/>
                    <a:pt x="115" y="69"/>
                    <a:pt x="118" y="68"/>
                  </a:cubicBezTo>
                  <a:cubicBezTo>
                    <a:pt x="135" y="59"/>
                    <a:pt x="154" y="54"/>
                    <a:pt x="174" y="54"/>
                  </a:cubicBezTo>
                  <a:cubicBezTo>
                    <a:pt x="194" y="54"/>
                    <a:pt x="213" y="59"/>
                    <a:pt x="230" y="68"/>
                  </a:cubicBezTo>
                  <a:cubicBezTo>
                    <a:pt x="233" y="69"/>
                    <a:pt x="237" y="69"/>
                    <a:pt x="239" y="66"/>
                  </a:cubicBezTo>
                  <a:cubicBezTo>
                    <a:pt x="262" y="44"/>
                    <a:pt x="262" y="44"/>
                    <a:pt x="262" y="44"/>
                  </a:cubicBezTo>
                  <a:cubicBezTo>
                    <a:pt x="263" y="43"/>
                    <a:pt x="264" y="41"/>
                    <a:pt x="264" y="38"/>
                  </a:cubicBezTo>
                  <a:cubicBezTo>
                    <a:pt x="264" y="36"/>
                    <a:pt x="263" y="34"/>
                    <a:pt x="262" y="33"/>
                  </a:cubicBezTo>
                  <a:cubicBezTo>
                    <a:pt x="262" y="33"/>
                    <a:pt x="257" y="28"/>
                    <a:pt x="255" y="26"/>
                  </a:cubicBezTo>
                  <a:cubicBezTo>
                    <a:pt x="255" y="26"/>
                    <a:pt x="254" y="25"/>
                    <a:pt x="254" y="25"/>
                  </a:cubicBezTo>
                  <a:cubicBezTo>
                    <a:pt x="254" y="25"/>
                    <a:pt x="255" y="25"/>
                    <a:pt x="255" y="25"/>
                  </a:cubicBezTo>
                  <a:cubicBezTo>
                    <a:pt x="258" y="25"/>
                    <a:pt x="320" y="17"/>
                    <a:pt x="328" y="17"/>
                  </a:cubicBezTo>
                  <a:cubicBezTo>
                    <a:pt x="329" y="16"/>
                    <a:pt x="329" y="16"/>
                    <a:pt x="329" y="16"/>
                  </a:cubicBezTo>
                  <a:cubicBezTo>
                    <a:pt x="331" y="17"/>
                    <a:pt x="331" y="17"/>
                    <a:pt x="332" y="17"/>
                  </a:cubicBezTo>
                  <a:cubicBezTo>
                    <a:pt x="332" y="18"/>
                    <a:pt x="332" y="18"/>
                    <a:pt x="332" y="20"/>
                  </a:cubicBezTo>
                  <a:cubicBezTo>
                    <a:pt x="332" y="20"/>
                    <a:pt x="332" y="20"/>
                    <a:pt x="332" y="21"/>
                  </a:cubicBezTo>
                  <a:cubicBezTo>
                    <a:pt x="332" y="23"/>
                    <a:pt x="331" y="30"/>
                    <a:pt x="330" y="39"/>
                  </a:cubicBezTo>
                  <a:cubicBezTo>
                    <a:pt x="330" y="43"/>
                    <a:pt x="333" y="47"/>
                    <a:pt x="337" y="48"/>
                  </a:cubicBezTo>
                  <a:cubicBezTo>
                    <a:pt x="342" y="48"/>
                    <a:pt x="346" y="45"/>
                    <a:pt x="346" y="41"/>
                  </a:cubicBezTo>
                  <a:cubicBezTo>
                    <a:pt x="347" y="32"/>
                    <a:pt x="348" y="25"/>
                    <a:pt x="348" y="22"/>
                  </a:cubicBezTo>
                  <a:cubicBezTo>
                    <a:pt x="348" y="21"/>
                    <a:pt x="348" y="21"/>
                    <a:pt x="348" y="20"/>
                  </a:cubicBezTo>
                  <a:cubicBezTo>
                    <a:pt x="349" y="15"/>
                    <a:pt x="347" y="10"/>
                    <a:pt x="343" y="6"/>
                  </a:cubicBezTo>
                  <a:cubicBezTo>
                    <a:pt x="339" y="2"/>
                    <a:pt x="334" y="0"/>
                    <a:pt x="329" y="0"/>
                  </a:cubicBezTo>
                  <a:cubicBezTo>
                    <a:pt x="328" y="0"/>
                    <a:pt x="327" y="1"/>
                    <a:pt x="326" y="1"/>
                  </a:cubicBezTo>
                  <a:cubicBezTo>
                    <a:pt x="318" y="1"/>
                    <a:pt x="256" y="9"/>
                    <a:pt x="253" y="9"/>
                  </a:cubicBezTo>
                  <a:cubicBezTo>
                    <a:pt x="250" y="9"/>
                    <a:pt x="246" y="11"/>
                    <a:pt x="243" y="13"/>
                  </a:cubicBezTo>
                  <a:cubicBezTo>
                    <a:pt x="240" y="15"/>
                    <a:pt x="237" y="20"/>
                    <a:pt x="237" y="24"/>
                  </a:cubicBezTo>
                  <a:cubicBezTo>
                    <a:pt x="237" y="29"/>
                    <a:pt x="240" y="34"/>
                    <a:pt x="244" y="38"/>
                  </a:cubicBezTo>
                  <a:cubicBezTo>
                    <a:pt x="244" y="38"/>
                    <a:pt x="244" y="38"/>
                    <a:pt x="245" y="38"/>
                  </a:cubicBezTo>
                  <a:cubicBezTo>
                    <a:pt x="232" y="51"/>
                    <a:pt x="232" y="51"/>
                    <a:pt x="232" y="51"/>
                  </a:cubicBezTo>
                  <a:cubicBezTo>
                    <a:pt x="215" y="43"/>
                    <a:pt x="195" y="38"/>
                    <a:pt x="174" y="38"/>
                  </a:cubicBezTo>
                  <a:cubicBezTo>
                    <a:pt x="153" y="38"/>
                    <a:pt x="134" y="43"/>
                    <a:pt x="116" y="51"/>
                  </a:cubicBezTo>
                  <a:cubicBezTo>
                    <a:pt x="104" y="38"/>
                    <a:pt x="104" y="38"/>
                    <a:pt x="104" y="38"/>
                  </a:cubicBezTo>
                  <a:cubicBezTo>
                    <a:pt x="104" y="38"/>
                    <a:pt x="104" y="38"/>
                    <a:pt x="105" y="38"/>
                  </a:cubicBezTo>
                  <a:cubicBezTo>
                    <a:pt x="108" y="34"/>
                    <a:pt x="111" y="29"/>
                    <a:pt x="111" y="24"/>
                  </a:cubicBezTo>
                  <a:cubicBezTo>
                    <a:pt x="111" y="20"/>
                    <a:pt x="109" y="15"/>
                    <a:pt x="106" y="13"/>
                  </a:cubicBezTo>
                  <a:cubicBezTo>
                    <a:pt x="102" y="11"/>
                    <a:pt x="99" y="10"/>
                    <a:pt x="95" y="9"/>
                  </a:cubicBezTo>
                  <a:cubicBezTo>
                    <a:pt x="86" y="8"/>
                    <a:pt x="30" y="2"/>
                    <a:pt x="22" y="1"/>
                  </a:cubicBezTo>
                  <a:cubicBezTo>
                    <a:pt x="21" y="1"/>
                    <a:pt x="20" y="1"/>
                    <a:pt x="19" y="1"/>
                  </a:cubicBezTo>
                  <a:cubicBezTo>
                    <a:pt x="14" y="0"/>
                    <a:pt x="9" y="2"/>
                    <a:pt x="5" y="6"/>
                  </a:cubicBezTo>
                  <a:cubicBezTo>
                    <a:pt x="2" y="10"/>
                    <a:pt x="0" y="15"/>
                    <a:pt x="0" y="20"/>
                  </a:cubicBezTo>
                  <a:cubicBezTo>
                    <a:pt x="0" y="21"/>
                    <a:pt x="0" y="22"/>
                    <a:pt x="0" y="23"/>
                  </a:cubicBezTo>
                  <a:cubicBezTo>
                    <a:pt x="1" y="31"/>
                    <a:pt x="8" y="93"/>
                    <a:pt x="8" y="96"/>
                  </a:cubicBezTo>
                  <a:cubicBezTo>
                    <a:pt x="9" y="99"/>
                    <a:pt x="10" y="103"/>
                    <a:pt x="12" y="106"/>
                  </a:cubicBezTo>
                  <a:cubicBezTo>
                    <a:pt x="15" y="109"/>
                    <a:pt x="19" y="112"/>
                    <a:pt x="23" y="112"/>
                  </a:cubicBezTo>
                  <a:cubicBezTo>
                    <a:pt x="29" y="112"/>
                    <a:pt x="33" y="109"/>
                    <a:pt x="37" y="105"/>
                  </a:cubicBezTo>
                  <a:cubicBezTo>
                    <a:pt x="37" y="105"/>
                    <a:pt x="37" y="105"/>
                    <a:pt x="38" y="104"/>
                  </a:cubicBezTo>
                  <a:cubicBezTo>
                    <a:pt x="50" y="117"/>
                    <a:pt x="50" y="117"/>
                    <a:pt x="50" y="117"/>
                  </a:cubicBezTo>
                  <a:cubicBezTo>
                    <a:pt x="42" y="134"/>
                    <a:pt x="37" y="154"/>
                    <a:pt x="37" y="175"/>
                  </a:cubicBezTo>
                  <a:cubicBezTo>
                    <a:pt x="37" y="196"/>
                    <a:pt x="42" y="215"/>
                    <a:pt x="50" y="233"/>
                  </a:cubicBezTo>
                  <a:cubicBezTo>
                    <a:pt x="38" y="245"/>
                    <a:pt x="38" y="245"/>
                    <a:pt x="38" y="245"/>
                  </a:cubicBezTo>
                  <a:cubicBezTo>
                    <a:pt x="38" y="245"/>
                    <a:pt x="37" y="245"/>
                    <a:pt x="37" y="244"/>
                  </a:cubicBezTo>
                  <a:cubicBezTo>
                    <a:pt x="33" y="241"/>
                    <a:pt x="29" y="238"/>
                    <a:pt x="23" y="238"/>
                  </a:cubicBezTo>
                  <a:cubicBezTo>
                    <a:pt x="19" y="238"/>
                    <a:pt x="15" y="240"/>
                    <a:pt x="12" y="243"/>
                  </a:cubicBezTo>
                  <a:cubicBezTo>
                    <a:pt x="10" y="247"/>
                    <a:pt x="9" y="250"/>
                    <a:pt x="9" y="254"/>
                  </a:cubicBezTo>
                  <a:cubicBezTo>
                    <a:pt x="8" y="263"/>
                    <a:pt x="1" y="319"/>
                    <a:pt x="0" y="327"/>
                  </a:cubicBezTo>
                  <a:cubicBezTo>
                    <a:pt x="0" y="328"/>
                    <a:pt x="0" y="329"/>
                    <a:pt x="0" y="330"/>
                  </a:cubicBezTo>
                  <a:cubicBezTo>
                    <a:pt x="0" y="335"/>
                    <a:pt x="2" y="340"/>
                    <a:pt x="5" y="344"/>
                  </a:cubicBezTo>
                  <a:cubicBezTo>
                    <a:pt x="9" y="347"/>
                    <a:pt x="14" y="349"/>
                    <a:pt x="19" y="349"/>
                  </a:cubicBezTo>
                  <a:cubicBezTo>
                    <a:pt x="19" y="349"/>
                    <a:pt x="19" y="349"/>
                    <a:pt x="19" y="349"/>
                  </a:cubicBezTo>
                  <a:cubicBezTo>
                    <a:pt x="20" y="349"/>
                    <a:pt x="21" y="349"/>
                    <a:pt x="22" y="349"/>
                  </a:cubicBezTo>
                  <a:cubicBezTo>
                    <a:pt x="30" y="348"/>
                    <a:pt x="92" y="341"/>
                    <a:pt x="95" y="341"/>
                  </a:cubicBezTo>
                  <a:cubicBezTo>
                    <a:pt x="99" y="340"/>
                    <a:pt x="102" y="339"/>
                    <a:pt x="106" y="337"/>
                  </a:cubicBezTo>
                  <a:cubicBezTo>
                    <a:pt x="109" y="334"/>
                    <a:pt x="111" y="330"/>
                    <a:pt x="111" y="326"/>
                  </a:cubicBezTo>
                  <a:cubicBezTo>
                    <a:pt x="111" y="320"/>
                    <a:pt x="108" y="316"/>
                    <a:pt x="105" y="312"/>
                  </a:cubicBezTo>
                  <a:cubicBezTo>
                    <a:pt x="104" y="312"/>
                    <a:pt x="104" y="312"/>
                    <a:pt x="104" y="311"/>
                  </a:cubicBezTo>
                  <a:cubicBezTo>
                    <a:pt x="116" y="299"/>
                    <a:pt x="116" y="299"/>
                    <a:pt x="116" y="299"/>
                  </a:cubicBezTo>
                  <a:cubicBezTo>
                    <a:pt x="134" y="307"/>
                    <a:pt x="153" y="312"/>
                    <a:pt x="174" y="312"/>
                  </a:cubicBezTo>
                  <a:cubicBezTo>
                    <a:pt x="195" y="312"/>
                    <a:pt x="215" y="307"/>
                    <a:pt x="232" y="299"/>
                  </a:cubicBezTo>
                  <a:cubicBezTo>
                    <a:pt x="245" y="311"/>
                    <a:pt x="245" y="311"/>
                    <a:pt x="245" y="311"/>
                  </a:cubicBezTo>
                  <a:cubicBezTo>
                    <a:pt x="244" y="312"/>
                    <a:pt x="244" y="312"/>
                    <a:pt x="244" y="312"/>
                  </a:cubicBezTo>
                  <a:cubicBezTo>
                    <a:pt x="240" y="316"/>
                    <a:pt x="237" y="320"/>
                    <a:pt x="237" y="326"/>
                  </a:cubicBezTo>
                  <a:cubicBezTo>
                    <a:pt x="237" y="330"/>
                    <a:pt x="240" y="334"/>
                    <a:pt x="243" y="337"/>
                  </a:cubicBezTo>
                  <a:cubicBezTo>
                    <a:pt x="246" y="339"/>
                    <a:pt x="250" y="340"/>
                    <a:pt x="254" y="340"/>
                  </a:cubicBezTo>
                  <a:cubicBezTo>
                    <a:pt x="262" y="341"/>
                    <a:pt x="318" y="348"/>
                    <a:pt x="327" y="349"/>
                  </a:cubicBezTo>
                  <a:cubicBezTo>
                    <a:pt x="328" y="349"/>
                    <a:pt x="328" y="349"/>
                    <a:pt x="329" y="349"/>
                  </a:cubicBezTo>
                  <a:cubicBezTo>
                    <a:pt x="334" y="349"/>
                    <a:pt x="339" y="347"/>
                    <a:pt x="343" y="344"/>
                  </a:cubicBezTo>
                  <a:cubicBezTo>
                    <a:pt x="347" y="340"/>
                    <a:pt x="349" y="334"/>
                    <a:pt x="349" y="330"/>
                  </a:cubicBezTo>
                  <a:cubicBezTo>
                    <a:pt x="349" y="329"/>
                    <a:pt x="348" y="328"/>
                    <a:pt x="348"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2" name="TextBox 11"/>
            <p:cNvSpPr txBox="1"/>
            <p:nvPr/>
          </p:nvSpPr>
          <p:spPr>
            <a:xfrm>
              <a:off x="1520506" y="2653915"/>
              <a:ext cx="1554480" cy="492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Lead generation BNEW</a:t>
              </a:r>
            </a:p>
          </p:txBody>
        </p:sp>
        <p:sp>
          <p:nvSpPr>
            <p:cNvPr id="47" name="TextBox 46"/>
            <p:cNvSpPr txBox="1"/>
            <p:nvPr/>
          </p:nvSpPr>
          <p:spPr>
            <a:xfrm>
              <a:off x="1468945" y="5501495"/>
              <a:ext cx="1554480" cy="4885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Prequalification by Lead handlers</a:t>
              </a:r>
            </a:p>
          </p:txBody>
        </p:sp>
        <p:sp>
          <p:nvSpPr>
            <p:cNvPr id="48" name="TextBox 47"/>
            <p:cNvSpPr txBox="1"/>
            <p:nvPr/>
          </p:nvSpPr>
          <p:spPr>
            <a:xfrm>
              <a:off x="2806545" y="3206350"/>
              <a:ext cx="1188720" cy="29238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SDOD tool</a:t>
              </a:r>
            </a:p>
          </p:txBody>
        </p:sp>
        <p:sp>
          <p:nvSpPr>
            <p:cNvPr id="49" name="TextBox 48"/>
            <p:cNvSpPr txBox="1"/>
            <p:nvPr/>
          </p:nvSpPr>
          <p:spPr>
            <a:xfrm>
              <a:off x="280225" y="2922878"/>
              <a:ext cx="1188720" cy="6924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Handed over to SalesForce &amp; GC tool</a:t>
              </a:r>
            </a:p>
          </p:txBody>
        </p:sp>
        <p:sp>
          <p:nvSpPr>
            <p:cNvPr id="50" name="TextBox 49"/>
            <p:cNvSpPr txBox="1"/>
            <p:nvPr/>
          </p:nvSpPr>
          <p:spPr>
            <a:xfrm>
              <a:off x="2814779" y="4993809"/>
              <a:ext cx="1188720" cy="6924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Add-on Sa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New Opportunities </a:t>
              </a:r>
            </a:p>
          </p:txBody>
        </p:sp>
        <p:sp>
          <p:nvSpPr>
            <p:cNvPr id="51" name="TextBox 50"/>
            <p:cNvSpPr txBox="1"/>
            <p:nvPr/>
          </p:nvSpPr>
          <p:spPr>
            <a:xfrm>
              <a:off x="221213" y="4836885"/>
              <a:ext cx="1306744" cy="6924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Qualified by ACR/KA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CPM</a:t>
              </a:r>
            </a:p>
          </p:txBody>
        </p:sp>
      </p:grpSp>
      <p:grpSp>
        <p:nvGrpSpPr>
          <p:cNvPr id="13" name="Group 12"/>
          <p:cNvGrpSpPr/>
          <p:nvPr/>
        </p:nvGrpSpPr>
        <p:grpSpPr>
          <a:xfrm>
            <a:off x="841227" y="1592802"/>
            <a:ext cx="3154038" cy="1055930"/>
            <a:chOff x="1094447" y="4942110"/>
            <a:chExt cx="3154038" cy="1055930"/>
          </a:xfrm>
        </p:grpSpPr>
        <p:sp>
          <p:nvSpPr>
            <p:cNvPr id="52" name="Freeform 3"/>
            <p:cNvSpPr>
              <a:spLocks noChangeAspect="1" noEditPoints="1"/>
            </p:cNvSpPr>
            <p:nvPr/>
          </p:nvSpPr>
          <p:spPr bwMode="auto">
            <a:xfrm>
              <a:off x="1094447" y="5115312"/>
              <a:ext cx="454321" cy="627862"/>
            </a:xfrm>
            <a:custGeom>
              <a:avLst/>
              <a:gdLst>
                <a:gd name="T0" fmla="*/ 2147483647 w 334"/>
                <a:gd name="T1" fmla="*/ 2147483647 h 461"/>
                <a:gd name="T2" fmla="*/ 2147483647 w 334"/>
                <a:gd name="T3" fmla="*/ 2147483647 h 461"/>
                <a:gd name="T4" fmla="*/ 2147483647 w 334"/>
                <a:gd name="T5" fmla="*/ 2147483647 h 461"/>
                <a:gd name="T6" fmla="*/ 2147483647 w 334"/>
                <a:gd name="T7" fmla="*/ 2147483647 h 461"/>
                <a:gd name="T8" fmla="*/ 2147483647 w 334"/>
                <a:gd name="T9" fmla="*/ 2147483647 h 461"/>
                <a:gd name="T10" fmla="*/ 2147483647 w 334"/>
                <a:gd name="T11" fmla="*/ 2147483647 h 461"/>
                <a:gd name="T12" fmla="*/ 2147483647 w 334"/>
                <a:gd name="T13" fmla="*/ 2147483647 h 461"/>
                <a:gd name="T14" fmla="*/ 2147483647 w 334"/>
                <a:gd name="T15" fmla="*/ 2147483647 h 461"/>
                <a:gd name="T16" fmla="*/ 2147483647 w 334"/>
                <a:gd name="T17" fmla="*/ 2147483647 h 461"/>
                <a:gd name="T18" fmla="*/ 2147483647 w 334"/>
                <a:gd name="T19" fmla="*/ 2147483647 h 461"/>
                <a:gd name="T20" fmla="*/ 2147483647 w 334"/>
                <a:gd name="T21" fmla="*/ 2147483647 h 461"/>
                <a:gd name="T22" fmla="*/ 2147483647 w 334"/>
                <a:gd name="T23" fmla="*/ 2147483647 h 461"/>
                <a:gd name="T24" fmla="*/ 2147483647 w 334"/>
                <a:gd name="T25" fmla="*/ 2147483647 h 461"/>
                <a:gd name="T26" fmla="*/ 2147483647 w 334"/>
                <a:gd name="T27" fmla="*/ 2147483647 h 461"/>
                <a:gd name="T28" fmla="*/ 2147483647 w 334"/>
                <a:gd name="T29" fmla="*/ 2147483647 h 461"/>
                <a:gd name="T30" fmla="*/ 2147483647 w 334"/>
                <a:gd name="T31" fmla="*/ 2147483647 h 461"/>
                <a:gd name="T32" fmla="*/ 2147483647 w 334"/>
                <a:gd name="T33" fmla="*/ 2147483647 h 461"/>
                <a:gd name="T34" fmla="*/ 2147483647 w 334"/>
                <a:gd name="T35" fmla="*/ 2147483647 h 461"/>
                <a:gd name="T36" fmla="*/ 2147483647 w 334"/>
                <a:gd name="T37" fmla="*/ 2147483647 h 461"/>
                <a:gd name="T38" fmla="*/ 2147483647 w 334"/>
                <a:gd name="T39" fmla="*/ 2147483647 h 461"/>
                <a:gd name="T40" fmla="*/ 2147483647 w 334"/>
                <a:gd name="T41" fmla="*/ 2147483647 h 461"/>
                <a:gd name="T42" fmla="*/ 2147483647 w 334"/>
                <a:gd name="T43" fmla="*/ 2147483647 h 461"/>
                <a:gd name="T44" fmla="*/ 2147483647 w 334"/>
                <a:gd name="T45" fmla="*/ 2147483647 h 461"/>
                <a:gd name="T46" fmla="*/ 2147483647 w 334"/>
                <a:gd name="T47" fmla="*/ 2147483647 h 461"/>
                <a:gd name="T48" fmla="*/ 2147483647 w 334"/>
                <a:gd name="T49" fmla="*/ 2147483647 h 461"/>
                <a:gd name="T50" fmla="*/ 2147483647 w 334"/>
                <a:gd name="T51" fmla="*/ 2147483647 h 461"/>
                <a:gd name="T52" fmla="*/ 2147483647 w 334"/>
                <a:gd name="T53" fmla="*/ 2147483647 h 461"/>
                <a:gd name="T54" fmla="*/ 2147483647 w 334"/>
                <a:gd name="T55" fmla="*/ 2147483647 h 461"/>
                <a:gd name="T56" fmla="*/ 2147483647 w 334"/>
                <a:gd name="T57" fmla="*/ 2147483647 h 461"/>
                <a:gd name="T58" fmla="*/ 2147483647 w 334"/>
                <a:gd name="T59" fmla="*/ 2147483647 h 461"/>
                <a:gd name="T60" fmla="*/ 2147483647 w 334"/>
                <a:gd name="T61" fmla="*/ 2147483647 h 461"/>
                <a:gd name="T62" fmla="*/ 2147483647 w 334"/>
                <a:gd name="T63" fmla="*/ 2147483647 h 461"/>
                <a:gd name="T64" fmla="*/ 2147483647 w 334"/>
                <a:gd name="T65" fmla="*/ 2147483647 h 461"/>
                <a:gd name="T66" fmla="*/ 2147483647 w 334"/>
                <a:gd name="T67" fmla="*/ 2147483647 h 461"/>
                <a:gd name="T68" fmla="*/ 2147483647 w 334"/>
                <a:gd name="T69" fmla="*/ 2147483647 h 461"/>
                <a:gd name="T70" fmla="*/ 2147483647 w 334"/>
                <a:gd name="T71" fmla="*/ 2147483647 h 461"/>
                <a:gd name="T72" fmla="*/ 2147483647 w 334"/>
                <a:gd name="T73" fmla="*/ 2147483647 h 461"/>
                <a:gd name="T74" fmla="*/ 2147483647 w 334"/>
                <a:gd name="T75" fmla="*/ 2147483647 h 461"/>
                <a:gd name="T76" fmla="*/ 2147483647 w 334"/>
                <a:gd name="T77" fmla="*/ 2147483647 h 461"/>
                <a:gd name="T78" fmla="*/ 2147483647 w 334"/>
                <a:gd name="T79" fmla="*/ 2147483647 h 461"/>
                <a:gd name="T80" fmla="*/ 2147483647 w 334"/>
                <a:gd name="T81" fmla="*/ 2147483647 h 461"/>
                <a:gd name="T82" fmla="*/ 2147483647 w 334"/>
                <a:gd name="T83" fmla="*/ 2147483647 h 461"/>
                <a:gd name="T84" fmla="*/ 2147483647 w 334"/>
                <a:gd name="T85" fmla="*/ 2147483647 h 461"/>
                <a:gd name="T86" fmla="*/ 2147483647 w 334"/>
                <a:gd name="T87" fmla="*/ 2147483647 h 461"/>
                <a:gd name="T88" fmla="*/ 2147483647 w 334"/>
                <a:gd name="T89" fmla="*/ 2147483647 h 461"/>
                <a:gd name="T90" fmla="*/ 2147483647 w 334"/>
                <a:gd name="T91" fmla="*/ 2147483647 h 461"/>
                <a:gd name="T92" fmla="*/ 2147483647 w 334"/>
                <a:gd name="T93" fmla="*/ 2147483647 h 461"/>
                <a:gd name="T94" fmla="*/ 2147483647 w 334"/>
                <a:gd name="T95" fmla="*/ 2147483647 h 461"/>
                <a:gd name="T96" fmla="*/ 2147483647 w 334"/>
                <a:gd name="T97" fmla="*/ 2147483647 h 461"/>
                <a:gd name="T98" fmla="*/ 2147483647 w 334"/>
                <a:gd name="T99" fmla="*/ 2147483647 h 461"/>
                <a:gd name="T100" fmla="*/ 2147483647 w 334"/>
                <a:gd name="T101" fmla="*/ 2147483647 h 461"/>
                <a:gd name="T102" fmla="*/ 2147483647 w 334"/>
                <a:gd name="T103" fmla="*/ 2147483647 h 4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34" h="461">
                  <a:moveTo>
                    <a:pt x="333" y="131"/>
                  </a:moveTo>
                  <a:cubicBezTo>
                    <a:pt x="334" y="129"/>
                    <a:pt x="334" y="126"/>
                    <a:pt x="333" y="124"/>
                  </a:cubicBezTo>
                  <a:cubicBezTo>
                    <a:pt x="333" y="124"/>
                    <a:pt x="328" y="114"/>
                    <a:pt x="320" y="101"/>
                  </a:cubicBezTo>
                  <a:cubicBezTo>
                    <a:pt x="318" y="98"/>
                    <a:pt x="313" y="97"/>
                    <a:pt x="309" y="99"/>
                  </a:cubicBezTo>
                  <a:cubicBezTo>
                    <a:pt x="306" y="102"/>
                    <a:pt x="305" y="107"/>
                    <a:pt x="308" y="111"/>
                  </a:cubicBezTo>
                  <a:cubicBezTo>
                    <a:pt x="308" y="111"/>
                    <a:pt x="308" y="111"/>
                    <a:pt x="308" y="111"/>
                  </a:cubicBezTo>
                  <a:cubicBezTo>
                    <a:pt x="310" y="115"/>
                    <a:pt x="313" y="119"/>
                    <a:pt x="314" y="122"/>
                  </a:cubicBezTo>
                  <a:cubicBezTo>
                    <a:pt x="284" y="130"/>
                    <a:pt x="284" y="130"/>
                    <a:pt x="284" y="130"/>
                  </a:cubicBezTo>
                  <a:cubicBezTo>
                    <a:pt x="273" y="132"/>
                    <a:pt x="273" y="132"/>
                    <a:pt x="273" y="132"/>
                  </a:cubicBezTo>
                  <a:cubicBezTo>
                    <a:pt x="269" y="119"/>
                    <a:pt x="262" y="106"/>
                    <a:pt x="253" y="95"/>
                  </a:cubicBezTo>
                  <a:cubicBezTo>
                    <a:pt x="274" y="75"/>
                    <a:pt x="274" y="75"/>
                    <a:pt x="274" y="75"/>
                  </a:cubicBezTo>
                  <a:cubicBezTo>
                    <a:pt x="279" y="77"/>
                    <a:pt x="284" y="81"/>
                    <a:pt x="289" y="85"/>
                  </a:cubicBezTo>
                  <a:cubicBezTo>
                    <a:pt x="289" y="86"/>
                    <a:pt x="289" y="86"/>
                    <a:pt x="289" y="86"/>
                  </a:cubicBezTo>
                  <a:cubicBezTo>
                    <a:pt x="292" y="89"/>
                    <a:pt x="297" y="90"/>
                    <a:pt x="300" y="87"/>
                  </a:cubicBezTo>
                  <a:cubicBezTo>
                    <a:pt x="304" y="84"/>
                    <a:pt x="304" y="79"/>
                    <a:pt x="302" y="76"/>
                  </a:cubicBezTo>
                  <a:cubicBezTo>
                    <a:pt x="297" y="71"/>
                    <a:pt x="292" y="67"/>
                    <a:pt x="286" y="63"/>
                  </a:cubicBezTo>
                  <a:cubicBezTo>
                    <a:pt x="290" y="59"/>
                    <a:pt x="290" y="59"/>
                    <a:pt x="290" y="59"/>
                  </a:cubicBezTo>
                  <a:cubicBezTo>
                    <a:pt x="292" y="58"/>
                    <a:pt x="293" y="55"/>
                    <a:pt x="293" y="53"/>
                  </a:cubicBezTo>
                  <a:cubicBezTo>
                    <a:pt x="293" y="51"/>
                    <a:pt x="291" y="48"/>
                    <a:pt x="290" y="47"/>
                  </a:cubicBezTo>
                  <a:cubicBezTo>
                    <a:pt x="289" y="47"/>
                    <a:pt x="279" y="40"/>
                    <a:pt x="265" y="32"/>
                  </a:cubicBezTo>
                  <a:cubicBezTo>
                    <a:pt x="252" y="25"/>
                    <a:pt x="235" y="18"/>
                    <a:pt x="219" y="18"/>
                  </a:cubicBezTo>
                  <a:cubicBezTo>
                    <a:pt x="220" y="12"/>
                    <a:pt x="220" y="12"/>
                    <a:pt x="220" y="12"/>
                  </a:cubicBezTo>
                  <a:cubicBezTo>
                    <a:pt x="221" y="10"/>
                    <a:pt x="220" y="7"/>
                    <a:pt x="219" y="5"/>
                  </a:cubicBezTo>
                  <a:cubicBezTo>
                    <a:pt x="218" y="3"/>
                    <a:pt x="215" y="2"/>
                    <a:pt x="213" y="2"/>
                  </a:cubicBezTo>
                  <a:cubicBezTo>
                    <a:pt x="213" y="2"/>
                    <a:pt x="205" y="1"/>
                    <a:pt x="194" y="1"/>
                  </a:cubicBezTo>
                  <a:cubicBezTo>
                    <a:pt x="184" y="1"/>
                    <a:pt x="172" y="2"/>
                    <a:pt x="159" y="4"/>
                  </a:cubicBezTo>
                  <a:cubicBezTo>
                    <a:pt x="151" y="6"/>
                    <a:pt x="144" y="8"/>
                    <a:pt x="137" y="12"/>
                  </a:cubicBezTo>
                  <a:cubicBezTo>
                    <a:pt x="136" y="6"/>
                    <a:pt x="136" y="6"/>
                    <a:pt x="136" y="6"/>
                  </a:cubicBezTo>
                  <a:cubicBezTo>
                    <a:pt x="135" y="4"/>
                    <a:pt x="133" y="2"/>
                    <a:pt x="131" y="1"/>
                  </a:cubicBezTo>
                  <a:cubicBezTo>
                    <a:pt x="129" y="0"/>
                    <a:pt x="127" y="0"/>
                    <a:pt x="124" y="1"/>
                  </a:cubicBezTo>
                  <a:cubicBezTo>
                    <a:pt x="124" y="1"/>
                    <a:pt x="110" y="8"/>
                    <a:pt x="95" y="18"/>
                  </a:cubicBezTo>
                  <a:cubicBezTo>
                    <a:pt x="83" y="26"/>
                    <a:pt x="71" y="36"/>
                    <a:pt x="63" y="48"/>
                  </a:cubicBezTo>
                  <a:cubicBezTo>
                    <a:pt x="59" y="44"/>
                    <a:pt x="59" y="44"/>
                    <a:pt x="59" y="44"/>
                  </a:cubicBezTo>
                  <a:cubicBezTo>
                    <a:pt x="58" y="42"/>
                    <a:pt x="55" y="41"/>
                    <a:pt x="53" y="41"/>
                  </a:cubicBezTo>
                  <a:cubicBezTo>
                    <a:pt x="51" y="42"/>
                    <a:pt x="49" y="43"/>
                    <a:pt x="47" y="45"/>
                  </a:cubicBezTo>
                  <a:cubicBezTo>
                    <a:pt x="47" y="45"/>
                    <a:pt x="40" y="55"/>
                    <a:pt x="33" y="69"/>
                  </a:cubicBezTo>
                  <a:cubicBezTo>
                    <a:pt x="25" y="83"/>
                    <a:pt x="18" y="100"/>
                    <a:pt x="18" y="116"/>
                  </a:cubicBezTo>
                  <a:cubicBezTo>
                    <a:pt x="12" y="114"/>
                    <a:pt x="12" y="114"/>
                    <a:pt x="12" y="114"/>
                  </a:cubicBezTo>
                  <a:cubicBezTo>
                    <a:pt x="10" y="114"/>
                    <a:pt x="7" y="114"/>
                    <a:pt x="6" y="115"/>
                  </a:cubicBezTo>
                  <a:cubicBezTo>
                    <a:pt x="4" y="117"/>
                    <a:pt x="2" y="119"/>
                    <a:pt x="2" y="121"/>
                  </a:cubicBezTo>
                  <a:cubicBezTo>
                    <a:pt x="2" y="121"/>
                    <a:pt x="1" y="129"/>
                    <a:pt x="1" y="140"/>
                  </a:cubicBezTo>
                  <a:cubicBezTo>
                    <a:pt x="1" y="150"/>
                    <a:pt x="2" y="163"/>
                    <a:pt x="4" y="175"/>
                  </a:cubicBezTo>
                  <a:cubicBezTo>
                    <a:pt x="6" y="183"/>
                    <a:pt x="8" y="191"/>
                    <a:pt x="12" y="197"/>
                  </a:cubicBezTo>
                  <a:cubicBezTo>
                    <a:pt x="7" y="199"/>
                    <a:pt x="7" y="199"/>
                    <a:pt x="7" y="199"/>
                  </a:cubicBezTo>
                  <a:cubicBezTo>
                    <a:pt x="4" y="199"/>
                    <a:pt x="2" y="201"/>
                    <a:pt x="1" y="203"/>
                  </a:cubicBezTo>
                  <a:cubicBezTo>
                    <a:pt x="0" y="205"/>
                    <a:pt x="0" y="208"/>
                    <a:pt x="1" y="210"/>
                  </a:cubicBezTo>
                  <a:cubicBezTo>
                    <a:pt x="1" y="210"/>
                    <a:pt x="8" y="224"/>
                    <a:pt x="18" y="240"/>
                  </a:cubicBezTo>
                  <a:cubicBezTo>
                    <a:pt x="26" y="251"/>
                    <a:pt x="36" y="264"/>
                    <a:pt x="48" y="271"/>
                  </a:cubicBezTo>
                  <a:cubicBezTo>
                    <a:pt x="44" y="275"/>
                    <a:pt x="44" y="275"/>
                    <a:pt x="44" y="275"/>
                  </a:cubicBezTo>
                  <a:cubicBezTo>
                    <a:pt x="42" y="277"/>
                    <a:pt x="41" y="279"/>
                    <a:pt x="42" y="281"/>
                  </a:cubicBezTo>
                  <a:cubicBezTo>
                    <a:pt x="42" y="284"/>
                    <a:pt x="43" y="286"/>
                    <a:pt x="45" y="287"/>
                  </a:cubicBezTo>
                  <a:cubicBezTo>
                    <a:pt x="45" y="287"/>
                    <a:pt x="55" y="295"/>
                    <a:pt x="69" y="302"/>
                  </a:cubicBezTo>
                  <a:cubicBezTo>
                    <a:pt x="78" y="306"/>
                    <a:pt x="89" y="311"/>
                    <a:pt x="99" y="314"/>
                  </a:cubicBezTo>
                  <a:cubicBezTo>
                    <a:pt x="94" y="328"/>
                    <a:pt x="89" y="342"/>
                    <a:pt x="83" y="353"/>
                  </a:cubicBezTo>
                  <a:cubicBezTo>
                    <a:pt x="74" y="373"/>
                    <a:pt x="63" y="389"/>
                    <a:pt x="54" y="401"/>
                  </a:cubicBezTo>
                  <a:cubicBezTo>
                    <a:pt x="45" y="412"/>
                    <a:pt x="36" y="420"/>
                    <a:pt x="32" y="421"/>
                  </a:cubicBezTo>
                  <a:cubicBezTo>
                    <a:pt x="28" y="423"/>
                    <a:pt x="27" y="427"/>
                    <a:pt x="28" y="431"/>
                  </a:cubicBezTo>
                  <a:cubicBezTo>
                    <a:pt x="29" y="435"/>
                    <a:pt x="32" y="437"/>
                    <a:pt x="36" y="437"/>
                  </a:cubicBezTo>
                  <a:cubicBezTo>
                    <a:pt x="62" y="434"/>
                    <a:pt x="86" y="421"/>
                    <a:pt x="99" y="413"/>
                  </a:cubicBezTo>
                  <a:cubicBezTo>
                    <a:pt x="100" y="418"/>
                    <a:pt x="101" y="424"/>
                    <a:pt x="101" y="431"/>
                  </a:cubicBezTo>
                  <a:cubicBezTo>
                    <a:pt x="101" y="437"/>
                    <a:pt x="100" y="444"/>
                    <a:pt x="98" y="450"/>
                  </a:cubicBezTo>
                  <a:cubicBezTo>
                    <a:pt x="96" y="453"/>
                    <a:pt x="97" y="456"/>
                    <a:pt x="98" y="458"/>
                  </a:cubicBezTo>
                  <a:cubicBezTo>
                    <a:pt x="100" y="460"/>
                    <a:pt x="102" y="461"/>
                    <a:pt x="105" y="461"/>
                  </a:cubicBezTo>
                  <a:cubicBezTo>
                    <a:pt x="105" y="461"/>
                    <a:pt x="105" y="461"/>
                    <a:pt x="106" y="461"/>
                  </a:cubicBezTo>
                  <a:cubicBezTo>
                    <a:pt x="119" y="459"/>
                    <a:pt x="129" y="449"/>
                    <a:pt x="141" y="433"/>
                  </a:cubicBezTo>
                  <a:cubicBezTo>
                    <a:pt x="150" y="421"/>
                    <a:pt x="159" y="404"/>
                    <a:pt x="167" y="385"/>
                  </a:cubicBezTo>
                  <a:cubicBezTo>
                    <a:pt x="176" y="404"/>
                    <a:pt x="185" y="421"/>
                    <a:pt x="194" y="433"/>
                  </a:cubicBezTo>
                  <a:cubicBezTo>
                    <a:pt x="205" y="449"/>
                    <a:pt x="215" y="459"/>
                    <a:pt x="229" y="461"/>
                  </a:cubicBezTo>
                  <a:cubicBezTo>
                    <a:pt x="229" y="461"/>
                    <a:pt x="229" y="461"/>
                    <a:pt x="230" y="461"/>
                  </a:cubicBezTo>
                  <a:cubicBezTo>
                    <a:pt x="232" y="461"/>
                    <a:pt x="234" y="460"/>
                    <a:pt x="236" y="458"/>
                  </a:cubicBezTo>
                  <a:cubicBezTo>
                    <a:pt x="238" y="456"/>
                    <a:pt x="238" y="453"/>
                    <a:pt x="237" y="450"/>
                  </a:cubicBezTo>
                  <a:cubicBezTo>
                    <a:pt x="234" y="444"/>
                    <a:pt x="233" y="437"/>
                    <a:pt x="233" y="431"/>
                  </a:cubicBezTo>
                  <a:cubicBezTo>
                    <a:pt x="233" y="424"/>
                    <a:pt x="234" y="418"/>
                    <a:pt x="235" y="413"/>
                  </a:cubicBezTo>
                  <a:cubicBezTo>
                    <a:pt x="248" y="421"/>
                    <a:pt x="273" y="434"/>
                    <a:pt x="298" y="437"/>
                  </a:cubicBezTo>
                  <a:cubicBezTo>
                    <a:pt x="302" y="437"/>
                    <a:pt x="306" y="435"/>
                    <a:pt x="307" y="431"/>
                  </a:cubicBezTo>
                  <a:cubicBezTo>
                    <a:pt x="308" y="427"/>
                    <a:pt x="306" y="423"/>
                    <a:pt x="302" y="421"/>
                  </a:cubicBezTo>
                  <a:cubicBezTo>
                    <a:pt x="295" y="419"/>
                    <a:pt x="277" y="401"/>
                    <a:pt x="261" y="372"/>
                  </a:cubicBezTo>
                  <a:cubicBezTo>
                    <a:pt x="253" y="357"/>
                    <a:pt x="244" y="339"/>
                    <a:pt x="237" y="318"/>
                  </a:cubicBezTo>
                  <a:cubicBezTo>
                    <a:pt x="238" y="318"/>
                    <a:pt x="239" y="317"/>
                    <a:pt x="240" y="316"/>
                  </a:cubicBezTo>
                  <a:cubicBezTo>
                    <a:pt x="251" y="308"/>
                    <a:pt x="264" y="299"/>
                    <a:pt x="271" y="286"/>
                  </a:cubicBezTo>
                  <a:cubicBezTo>
                    <a:pt x="275" y="290"/>
                    <a:pt x="275" y="290"/>
                    <a:pt x="275" y="290"/>
                  </a:cubicBezTo>
                  <a:cubicBezTo>
                    <a:pt x="276" y="292"/>
                    <a:pt x="279" y="293"/>
                    <a:pt x="281" y="293"/>
                  </a:cubicBezTo>
                  <a:cubicBezTo>
                    <a:pt x="281" y="293"/>
                    <a:pt x="281" y="293"/>
                    <a:pt x="281" y="293"/>
                  </a:cubicBezTo>
                  <a:cubicBezTo>
                    <a:pt x="284" y="293"/>
                    <a:pt x="286" y="291"/>
                    <a:pt x="287" y="289"/>
                  </a:cubicBezTo>
                  <a:cubicBezTo>
                    <a:pt x="287" y="289"/>
                    <a:pt x="295" y="279"/>
                    <a:pt x="302" y="265"/>
                  </a:cubicBezTo>
                  <a:cubicBezTo>
                    <a:pt x="309" y="252"/>
                    <a:pt x="316" y="235"/>
                    <a:pt x="317" y="218"/>
                  </a:cubicBezTo>
                  <a:cubicBezTo>
                    <a:pt x="322" y="220"/>
                    <a:pt x="322" y="220"/>
                    <a:pt x="322" y="220"/>
                  </a:cubicBezTo>
                  <a:cubicBezTo>
                    <a:pt x="323" y="220"/>
                    <a:pt x="324" y="220"/>
                    <a:pt x="324" y="220"/>
                  </a:cubicBezTo>
                  <a:cubicBezTo>
                    <a:pt x="326" y="220"/>
                    <a:pt x="328" y="220"/>
                    <a:pt x="329" y="219"/>
                  </a:cubicBezTo>
                  <a:cubicBezTo>
                    <a:pt x="331" y="218"/>
                    <a:pt x="332" y="215"/>
                    <a:pt x="332" y="213"/>
                  </a:cubicBezTo>
                  <a:cubicBezTo>
                    <a:pt x="332" y="213"/>
                    <a:pt x="333" y="205"/>
                    <a:pt x="333" y="194"/>
                  </a:cubicBezTo>
                  <a:cubicBezTo>
                    <a:pt x="333" y="184"/>
                    <a:pt x="332" y="171"/>
                    <a:pt x="330" y="159"/>
                  </a:cubicBezTo>
                  <a:cubicBezTo>
                    <a:pt x="328" y="151"/>
                    <a:pt x="326" y="144"/>
                    <a:pt x="322" y="137"/>
                  </a:cubicBezTo>
                  <a:cubicBezTo>
                    <a:pt x="328" y="135"/>
                    <a:pt x="328" y="135"/>
                    <a:pt x="328" y="135"/>
                  </a:cubicBezTo>
                  <a:cubicBezTo>
                    <a:pt x="330" y="135"/>
                    <a:pt x="332" y="133"/>
                    <a:pt x="333" y="131"/>
                  </a:cubicBezTo>
                  <a:close/>
                  <a:moveTo>
                    <a:pt x="214" y="34"/>
                  </a:moveTo>
                  <a:cubicBezTo>
                    <a:pt x="215" y="34"/>
                    <a:pt x="216" y="33"/>
                    <a:pt x="217" y="33"/>
                  </a:cubicBezTo>
                  <a:cubicBezTo>
                    <a:pt x="229" y="33"/>
                    <a:pt x="245" y="40"/>
                    <a:pt x="258" y="47"/>
                  </a:cubicBezTo>
                  <a:cubicBezTo>
                    <a:pt x="263" y="50"/>
                    <a:pt x="268" y="52"/>
                    <a:pt x="272" y="55"/>
                  </a:cubicBezTo>
                  <a:cubicBezTo>
                    <a:pt x="267" y="60"/>
                    <a:pt x="267" y="60"/>
                    <a:pt x="267" y="60"/>
                  </a:cubicBezTo>
                  <a:cubicBezTo>
                    <a:pt x="267" y="60"/>
                    <a:pt x="267" y="60"/>
                    <a:pt x="267" y="60"/>
                  </a:cubicBezTo>
                  <a:cubicBezTo>
                    <a:pt x="242" y="84"/>
                    <a:pt x="242" y="84"/>
                    <a:pt x="242" y="84"/>
                  </a:cubicBezTo>
                  <a:cubicBezTo>
                    <a:pt x="231" y="75"/>
                    <a:pt x="219" y="67"/>
                    <a:pt x="206" y="62"/>
                  </a:cubicBezTo>
                  <a:lnTo>
                    <a:pt x="214" y="34"/>
                  </a:lnTo>
                  <a:close/>
                  <a:moveTo>
                    <a:pt x="162" y="20"/>
                  </a:moveTo>
                  <a:cubicBezTo>
                    <a:pt x="173" y="18"/>
                    <a:pt x="185" y="17"/>
                    <a:pt x="194" y="17"/>
                  </a:cubicBezTo>
                  <a:cubicBezTo>
                    <a:pt x="197" y="17"/>
                    <a:pt x="200" y="17"/>
                    <a:pt x="202" y="17"/>
                  </a:cubicBezTo>
                  <a:cubicBezTo>
                    <a:pt x="200" y="25"/>
                    <a:pt x="200" y="25"/>
                    <a:pt x="200" y="25"/>
                  </a:cubicBezTo>
                  <a:cubicBezTo>
                    <a:pt x="200" y="25"/>
                    <a:pt x="200" y="25"/>
                    <a:pt x="200" y="25"/>
                  </a:cubicBezTo>
                  <a:cubicBezTo>
                    <a:pt x="190" y="58"/>
                    <a:pt x="190" y="58"/>
                    <a:pt x="190" y="58"/>
                  </a:cubicBezTo>
                  <a:cubicBezTo>
                    <a:pt x="183" y="56"/>
                    <a:pt x="175" y="55"/>
                    <a:pt x="167" y="55"/>
                  </a:cubicBezTo>
                  <a:cubicBezTo>
                    <a:pt x="161" y="55"/>
                    <a:pt x="154" y="56"/>
                    <a:pt x="148" y="57"/>
                  </a:cubicBezTo>
                  <a:cubicBezTo>
                    <a:pt x="142" y="31"/>
                    <a:pt x="142" y="31"/>
                    <a:pt x="142" y="31"/>
                  </a:cubicBezTo>
                  <a:cubicBezTo>
                    <a:pt x="141" y="28"/>
                    <a:pt x="141" y="28"/>
                    <a:pt x="141" y="28"/>
                  </a:cubicBezTo>
                  <a:cubicBezTo>
                    <a:pt x="146" y="25"/>
                    <a:pt x="154" y="22"/>
                    <a:pt x="162" y="20"/>
                  </a:cubicBezTo>
                  <a:close/>
                  <a:moveTo>
                    <a:pt x="167" y="71"/>
                  </a:moveTo>
                  <a:cubicBezTo>
                    <a:pt x="220" y="71"/>
                    <a:pt x="263" y="114"/>
                    <a:pt x="263" y="167"/>
                  </a:cubicBezTo>
                  <a:cubicBezTo>
                    <a:pt x="263" y="220"/>
                    <a:pt x="220" y="263"/>
                    <a:pt x="167" y="263"/>
                  </a:cubicBezTo>
                  <a:cubicBezTo>
                    <a:pt x="114" y="263"/>
                    <a:pt x="71" y="220"/>
                    <a:pt x="71" y="167"/>
                  </a:cubicBezTo>
                  <a:cubicBezTo>
                    <a:pt x="71" y="114"/>
                    <a:pt x="114" y="71"/>
                    <a:pt x="167" y="71"/>
                  </a:cubicBezTo>
                  <a:close/>
                  <a:moveTo>
                    <a:pt x="104" y="31"/>
                  </a:moveTo>
                  <a:cubicBezTo>
                    <a:pt x="111" y="27"/>
                    <a:pt x="117" y="23"/>
                    <a:pt x="122" y="20"/>
                  </a:cubicBezTo>
                  <a:cubicBezTo>
                    <a:pt x="129" y="46"/>
                    <a:pt x="129" y="46"/>
                    <a:pt x="129" y="46"/>
                  </a:cubicBezTo>
                  <a:cubicBezTo>
                    <a:pt x="133" y="61"/>
                    <a:pt x="133" y="61"/>
                    <a:pt x="133" y="61"/>
                  </a:cubicBezTo>
                  <a:cubicBezTo>
                    <a:pt x="119" y="65"/>
                    <a:pt x="106" y="72"/>
                    <a:pt x="96" y="81"/>
                  </a:cubicBezTo>
                  <a:cubicBezTo>
                    <a:pt x="84" y="70"/>
                    <a:pt x="84" y="70"/>
                    <a:pt x="84" y="70"/>
                  </a:cubicBezTo>
                  <a:cubicBezTo>
                    <a:pt x="75" y="60"/>
                    <a:pt x="75" y="60"/>
                    <a:pt x="75" y="60"/>
                  </a:cubicBezTo>
                  <a:cubicBezTo>
                    <a:pt x="79" y="51"/>
                    <a:pt x="91" y="39"/>
                    <a:pt x="104" y="31"/>
                  </a:cubicBezTo>
                  <a:close/>
                  <a:moveTo>
                    <a:pt x="47" y="76"/>
                  </a:moveTo>
                  <a:cubicBezTo>
                    <a:pt x="50" y="71"/>
                    <a:pt x="52" y="66"/>
                    <a:pt x="55" y="62"/>
                  </a:cubicBezTo>
                  <a:cubicBezTo>
                    <a:pt x="84" y="92"/>
                    <a:pt x="84" y="92"/>
                    <a:pt x="84" y="92"/>
                  </a:cubicBezTo>
                  <a:cubicBezTo>
                    <a:pt x="75" y="103"/>
                    <a:pt x="67" y="115"/>
                    <a:pt x="62" y="129"/>
                  </a:cubicBezTo>
                  <a:cubicBezTo>
                    <a:pt x="34" y="120"/>
                    <a:pt x="34" y="120"/>
                    <a:pt x="34" y="120"/>
                  </a:cubicBezTo>
                  <a:cubicBezTo>
                    <a:pt x="34" y="119"/>
                    <a:pt x="34" y="118"/>
                    <a:pt x="34" y="117"/>
                  </a:cubicBezTo>
                  <a:cubicBezTo>
                    <a:pt x="33" y="106"/>
                    <a:pt x="40" y="89"/>
                    <a:pt x="47" y="76"/>
                  </a:cubicBezTo>
                  <a:close/>
                  <a:moveTo>
                    <a:pt x="17" y="140"/>
                  </a:moveTo>
                  <a:cubicBezTo>
                    <a:pt x="17" y="137"/>
                    <a:pt x="17" y="135"/>
                    <a:pt x="17" y="132"/>
                  </a:cubicBezTo>
                  <a:cubicBezTo>
                    <a:pt x="25" y="134"/>
                    <a:pt x="25" y="134"/>
                    <a:pt x="25" y="134"/>
                  </a:cubicBezTo>
                  <a:cubicBezTo>
                    <a:pt x="25" y="134"/>
                    <a:pt x="25" y="134"/>
                    <a:pt x="25" y="134"/>
                  </a:cubicBezTo>
                  <a:cubicBezTo>
                    <a:pt x="48" y="141"/>
                    <a:pt x="48" y="141"/>
                    <a:pt x="48" y="141"/>
                  </a:cubicBezTo>
                  <a:cubicBezTo>
                    <a:pt x="58" y="144"/>
                    <a:pt x="58" y="144"/>
                    <a:pt x="58" y="144"/>
                  </a:cubicBezTo>
                  <a:cubicBezTo>
                    <a:pt x="56" y="151"/>
                    <a:pt x="55" y="159"/>
                    <a:pt x="55" y="167"/>
                  </a:cubicBezTo>
                  <a:cubicBezTo>
                    <a:pt x="55" y="174"/>
                    <a:pt x="56" y="180"/>
                    <a:pt x="57" y="186"/>
                  </a:cubicBezTo>
                  <a:cubicBezTo>
                    <a:pt x="28" y="193"/>
                    <a:pt x="28" y="193"/>
                    <a:pt x="28" y="193"/>
                  </a:cubicBezTo>
                  <a:cubicBezTo>
                    <a:pt x="25" y="188"/>
                    <a:pt x="22" y="181"/>
                    <a:pt x="20" y="172"/>
                  </a:cubicBezTo>
                  <a:cubicBezTo>
                    <a:pt x="18" y="161"/>
                    <a:pt x="17" y="149"/>
                    <a:pt x="17" y="140"/>
                  </a:cubicBezTo>
                  <a:close/>
                  <a:moveTo>
                    <a:pt x="60" y="259"/>
                  </a:moveTo>
                  <a:cubicBezTo>
                    <a:pt x="51" y="255"/>
                    <a:pt x="39" y="243"/>
                    <a:pt x="31" y="231"/>
                  </a:cubicBezTo>
                  <a:cubicBezTo>
                    <a:pt x="27" y="224"/>
                    <a:pt x="23" y="217"/>
                    <a:pt x="20" y="212"/>
                  </a:cubicBezTo>
                  <a:cubicBezTo>
                    <a:pt x="61" y="202"/>
                    <a:pt x="61" y="202"/>
                    <a:pt x="61" y="202"/>
                  </a:cubicBezTo>
                  <a:cubicBezTo>
                    <a:pt x="65" y="215"/>
                    <a:pt x="72" y="228"/>
                    <a:pt x="81" y="239"/>
                  </a:cubicBezTo>
                  <a:cubicBezTo>
                    <a:pt x="61" y="259"/>
                    <a:pt x="61" y="259"/>
                    <a:pt x="61" y="259"/>
                  </a:cubicBezTo>
                  <a:lnTo>
                    <a:pt x="60" y="259"/>
                  </a:lnTo>
                  <a:close/>
                  <a:moveTo>
                    <a:pt x="77" y="288"/>
                  </a:moveTo>
                  <a:cubicBezTo>
                    <a:pt x="71" y="285"/>
                    <a:pt x="66" y="282"/>
                    <a:pt x="62" y="279"/>
                  </a:cubicBezTo>
                  <a:cubicBezTo>
                    <a:pt x="68" y="274"/>
                    <a:pt x="68" y="274"/>
                    <a:pt x="68" y="274"/>
                  </a:cubicBezTo>
                  <a:cubicBezTo>
                    <a:pt x="68" y="274"/>
                    <a:pt x="68" y="274"/>
                    <a:pt x="68" y="274"/>
                  </a:cubicBezTo>
                  <a:cubicBezTo>
                    <a:pt x="93" y="250"/>
                    <a:pt x="93" y="250"/>
                    <a:pt x="93" y="250"/>
                  </a:cubicBezTo>
                  <a:cubicBezTo>
                    <a:pt x="103" y="260"/>
                    <a:pt x="115" y="267"/>
                    <a:pt x="129" y="272"/>
                  </a:cubicBezTo>
                  <a:cubicBezTo>
                    <a:pt x="120" y="301"/>
                    <a:pt x="120" y="301"/>
                    <a:pt x="120" y="301"/>
                  </a:cubicBezTo>
                  <a:cubicBezTo>
                    <a:pt x="120" y="301"/>
                    <a:pt x="118" y="301"/>
                    <a:pt x="117" y="301"/>
                  </a:cubicBezTo>
                  <a:cubicBezTo>
                    <a:pt x="106" y="301"/>
                    <a:pt x="89" y="294"/>
                    <a:pt x="77" y="288"/>
                  </a:cubicBezTo>
                  <a:close/>
                  <a:moveTo>
                    <a:pt x="157" y="368"/>
                  </a:moveTo>
                  <a:cubicBezTo>
                    <a:pt x="148" y="391"/>
                    <a:pt x="137" y="410"/>
                    <a:pt x="128" y="424"/>
                  </a:cubicBezTo>
                  <a:cubicBezTo>
                    <a:pt x="124" y="429"/>
                    <a:pt x="120" y="434"/>
                    <a:pt x="117" y="437"/>
                  </a:cubicBezTo>
                  <a:cubicBezTo>
                    <a:pt x="117" y="435"/>
                    <a:pt x="117" y="433"/>
                    <a:pt x="117" y="431"/>
                  </a:cubicBezTo>
                  <a:cubicBezTo>
                    <a:pt x="117" y="413"/>
                    <a:pt x="112" y="399"/>
                    <a:pt x="112" y="398"/>
                  </a:cubicBezTo>
                  <a:cubicBezTo>
                    <a:pt x="111" y="396"/>
                    <a:pt x="110" y="394"/>
                    <a:pt x="107" y="393"/>
                  </a:cubicBezTo>
                  <a:cubicBezTo>
                    <a:pt x="106" y="393"/>
                    <a:pt x="105" y="393"/>
                    <a:pt x="105" y="393"/>
                  </a:cubicBezTo>
                  <a:cubicBezTo>
                    <a:pt x="103" y="393"/>
                    <a:pt x="101" y="393"/>
                    <a:pt x="100" y="394"/>
                  </a:cubicBezTo>
                  <a:cubicBezTo>
                    <a:pt x="100" y="394"/>
                    <a:pt x="98" y="395"/>
                    <a:pt x="94" y="398"/>
                  </a:cubicBezTo>
                  <a:cubicBezTo>
                    <a:pt x="88" y="401"/>
                    <a:pt x="78" y="407"/>
                    <a:pt x="65" y="412"/>
                  </a:cubicBezTo>
                  <a:cubicBezTo>
                    <a:pt x="66" y="412"/>
                    <a:pt x="66" y="411"/>
                    <a:pt x="66" y="411"/>
                  </a:cubicBezTo>
                  <a:cubicBezTo>
                    <a:pt x="83" y="390"/>
                    <a:pt x="102" y="358"/>
                    <a:pt x="115" y="317"/>
                  </a:cubicBezTo>
                  <a:cubicBezTo>
                    <a:pt x="115" y="317"/>
                    <a:pt x="113" y="317"/>
                    <a:pt x="116" y="317"/>
                  </a:cubicBezTo>
                  <a:cubicBezTo>
                    <a:pt x="114" y="322"/>
                    <a:pt x="114" y="322"/>
                    <a:pt x="114" y="322"/>
                  </a:cubicBezTo>
                  <a:cubicBezTo>
                    <a:pt x="114" y="324"/>
                    <a:pt x="114" y="327"/>
                    <a:pt x="115" y="329"/>
                  </a:cubicBezTo>
                  <a:cubicBezTo>
                    <a:pt x="117" y="331"/>
                    <a:pt x="119" y="332"/>
                    <a:pt x="121" y="332"/>
                  </a:cubicBezTo>
                  <a:cubicBezTo>
                    <a:pt x="121" y="332"/>
                    <a:pt x="129" y="333"/>
                    <a:pt x="140" y="333"/>
                  </a:cubicBezTo>
                  <a:cubicBezTo>
                    <a:pt x="149" y="333"/>
                    <a:pt x="160" y="333"/>
                    <a:pt x="171" y="331"/>
                  </a:cubicBezTo>
                  <a:cubicBezTo>
                    <a:pt x="167" y="344"/>
                    <a:pt x="162" y="356"/>
                    <a:pt x="157" y="368"/>
                  </a:cubicBezTo>
                  <a:close/>
                  <a:moveTo>
                    <a:pt x="140" y="317"/>
                  </a:moveTo>
                  <a:cubicBezTo>
                    <a:pt x="137" y="317"/>
                    <a:pt x="135" y="317"/>
                    <a:pt x="132" y="317"/>
                  </a:cubicBezTo>
                  <a:cubicBezTo>
                    <a:pt x="135" y="310"/>
                    <a:pt x="135" y="310"/>
                    <a:pt x="135" y="310"/>
                  </a:cubicBezTo>
                  <a:cubicBezTo>
                    <a:pt x="135" y="310"/>
                    <a:pt x="135" y="310"/>
                    <a:pt x="135" y="310"/>
                  </a:cubicBezTo>
                  <a:cubicBezTo>
                    <a:pt x="144" y="277"/>
                    <a:pt x="144" y="277"/>
                    <a:pt x="144" y="277"/>
                  </a:cubicBezTo>
                  <a:cubicBezTo>
                    <a:pt x="152" y="278"/>
                    <a:pt x="159" y="279"/>
                    <a:pt x="167" y="279"/>
                  </a:cubicBezTo>
                  <a:cubicBezTo>
                    <a:pt x="174" y="279"/>
                    <a:pt x="180" y="278"/>
                    <a:pt x="186" y="277"/>
                  </a:cubicBezTo>
                  <a:cubicBezTo>
                    <a:pt x="191" y="298"/>
                    <a:pt x="191" y="298"/>
                    <a:pt x="191" y="298"/>
                  </a:cubicBezTo>
                  <a:cubicBezTo>
                    <a:pt x="194" y="306"/>
                    <a:pt x="194" y="306"/>
                    <a:pt x="194" y="306"/>
                  </a:cubicBezTo>
                  <a:cubicBezTo>
                    <a:pt x="189" y="310"/>
                    <a:pt x="181" y="313"/>
                    <a:pt x="172" y="314"/>
                  </a:cubicBezTo>
                  <a:cubicBezTo>
                    <a:pt x="161" y="316"/>
                    <a:pt x="149" y="317"/>
                    <a:pt x="140" y="317"/>
                  </a:cubicBezTo>
                  <a:close/>
                  <a:moveTo>
                    <a:pt x="247" y="380"/>
                  </a:moveTo>
                  <a:cubicBezTo>
                    <a:pt x="255" y="393"/>
                    <a:pt x="262" y="404"/>
                    <a:pt x="269" y="412"/>
                  </a:cubicBezTo>
                  <a:cubicBezTo>
                    <a:pt x="264" y="410"/>
                    <a:pt x="259" y="408"/>
                    <a:pt x="255" y="406"/>
                  </a:cubicBezTo>
                  <a:cubicBezTo>
                    <a:pt x="249" y="403"/>
                    <a:pt x="244" y="400"/>
                    <a:pt x="240" y="398"/>
                  </a:cubicBezTo>
                  <a:cubicBezTo>
                    <a:pt x="236" y="395"/>
                    <a:pt x="234" y="394"/>
                    <a:pt x="234" y="394"/>
                  </a:cubicBezTo>
                  <a:cubicBezTo>
                    <a:pt x="232" y="393"/>
                    <a:pt x="230" y="392"/>
                    <a:pt x="227" y="393"/>
                  </a:cubicBezTo>
                  <a:cubicBezTo>
                    <a:pt x="225" y="394"/>
                    <a:pt x="223" y="396"/>
                    <a:pt x="222" y="398"/>
                  </a:cubicBezTo>
                  <a:cubicBezTo>
                    <a:pt x="222" y="399"/>
                    <a:pt x="217" y="413"/>
                    <a:pt x="217" y="431"/>
                  </a:cubicBezTo>
                  <a:cubicBezTo>
                    <a:pt x="217" y="433"/>
                    <a:pt x="218" y="435"/>
                    <a:pt x="218" y="437"/>
                  </a:cubicBezTo>
                  <a:cubicBezTo>
                    <a:pt x="214" y="434"/>
                    <a:pt x="211" y="429"/>
                    <a:pt x="207" y="424"/>
                  </a:cubicBezTo>
                  <a:cubicBezTo>
                    <a:pt x="196" y="410"/>
                    <a:pt x="186" y="389"/>
                    <a:pt x="176" y="365"/>
                  </a:cubicBezTo>
                  <a:cubicBezTo>
                    <a:pt x="181" y="353"/>
                    <a:pt x="185" y="340"/>
                    <a:pt x="189" y="326"/>
                  </a:cubicBezTo>
                  <a:cubicBezTo>
                    <a:pt x="192" y="325"/>
                    <a:pt x="195" y="324"/>
                    <a:pt x="198" y="322"/>
                  </a:cubicBezTo>
                  <a:cubicBezTo>
                    <a:pt x="199" y="328"/>
                    <a:pt x="199" y="328"/>
                    <a:pt x="199" y="328"/>
                  </a:cubicBezTo>
                  <a:cubicBezTo>
                    <a:pt x="199" y="330"/>
                    <a:pt x="201" y="332"/>
                    <a:pt x="203" y="333"/>
                  </a:cubicBezTo>
                  <a:cubicBezTo>
                    <a:pt x="204" y="334"/>
                    <a:pt x="205" y="334"/>
                    <a:pt x="207" y="334"/>
                  </a:cubicBezTo>
                  <a:cubicBezTo>
                    <a:pt x="208" y="334"/>
                    <a:pt x="209" y="334"/>
                    <a:pt x="210" y="333"/>
                  </a:cubicBezTo>
                  <a:cubicBezTo>
                    <a:pt x="210" y="333"/>
                    <a:pt x="215" y="331"/>
                    <a:pt x="223" y="327"/>
                  </a:cubicBezTo>
                  <a:cubicBezTo>
                    <a:pt x="230" y="347"/>
                    <a:pt x="239" y="365"/>
                    <a:pt x="247" y="380"/>
                  </a:cubicBezTo>
                  <a:close/>
                  <a:moveTo>
                    <a:pt x="231" y="303"/>
                  </a:moveTo>
                  <a:cubicBezTo>
                    <a:pt x="224" y="308"/>
                    <a:pt x="217" y="311"/>
                    <a:pt x="212" y="314"/>
                  </a:cubicBezTo>
                  <a:cubicBezTo>
                    <a:pt x="202" y="273"/>
                    <a:pt x="202" y="273"/>
                    <a:pt x="202" y="273"/>
                  </a:cubicBezTo>
                  <a:cubicBezTo>
                    <a:pt x="216" y="269"/>
                    <a:pt x="228" y="262"/>
                    <a:pt x="239" y="253"/>
                  </a:cubicBezTo>
                  <a:cubicBezTo>
                    <a:pt x="260" y="274"/>
                    <a:pt x="260" y="274"/>
                    <a:pt x="260" y="274"/>
                  </a:cubicBezTo>
                  <a:cubicBezTo>
                    <a:pt x="255" y="284"/>
                    <a:pt x="243" y="295"/>
                    <a:pt x="231" y="303"/>
                  </a:cubicBezTo>
                  <a:close/>
                  <a:moveTo>
                    <a:pt x="288" y="258"/>
                  </a:moveTo>
                  <a:cubicBezTo>
                    <a:pt x="285" y="263"/>
                    <a:pt x="282" y="268"/>
                    <a:pt x="280" y="272"/>
                  </a:cubicBezTo>
                  <a:cubicBezTo>
                    <a:pt x="274" y="267"/>
                    <a:pt x="274" y="267"/>
                    <a:pt x="274" y="267"/>
                  </a:cubicBezTo>
                  <a:cubicBezTo>
                    <a:pt x="274" y="267"/>
                    <a:pt x="274" y="267"/>
                    <a:pt x="274" y="267"/>
                  </a:cubicBezTo>
                  <a:cubicBezTo>
                    <a:pt x="250" y="242"/>
                    <a:pt x="250" y="242"/>
                    <a:pt x="250" y="242"/>
                  </a:cubicBezTo>
                  <a:cubicBezTo>
                    <a:pt x="260" y="231"/>
                    <a:pt x="267" y="219"/>
                    <a:pt x="272" y="206"/>
                  </a:cubicBezTo>
                  <a:cubicBezTo>
                    <a:pt x="293" y="212"/>
                    <a:pt x="293" y="212"/>
                    <a:pt x="293" y="212"/>
                  </a:cubicBezTo>
                  <a:cubicBezTo>
                    <a:pt x="301" y="214"/>
                    <a:pt x="301" y="214"/>
                    <a:pt x="301" y="214"/>
                  </a:cubicBezTo>
                  <a:cubicBezTo>
                    <a:pt x="301" y="215"/>
                    <a:pt x="301" y="216"/>
                    <a:pt x="301" y="217"/>
                  </a:cubicBezTo>
                  <a:cubicBezTo>
                    <a:pt x="301" y="228"/>
                    <a:pt x="295" y="245"/>
                    <a:pt x="288" y="258"/>
                  </a:cubicBezTo>
                  <a:close/>
                  <a:moveTo>
                    <a:pt x="317" y="202"/>
                  </a:moveTo>
                  <a:cubicBezTo>
                    <a:pt x="298" y="196"/>
                    <a:pt x="298" y="196"/>
                    <a:pt x="298" y="196"/>
                  </a:cubicBezTo>
                  <a:cubicBezTo>
                    <a:pt x="277" y="190"/>
                    <a:pt x="277" y="190"/>
                    <a:pt x="277" y="190"/>
                  </a:cubicBezTo>
                  <a:cubicBezTo>
                    <a:pt x="278" y="183"/>
                    <a:pt x="279" y="175"/>
                    <a:pt x="279" y="167"/>
                  </a:cubicBezTo>
                  <a:cubicBezTo>
                    <a:pt x="279" y="161"/>
                    <a:pt x="278" y="154"/>
                    <a:pt x="277" y="148"/>
                  </a:cubicBezTo>
                  <a:cubicBezTo>
                    <a:pt x="287" y="145"/>
                    <a:pt x="287" y="145"/>
                    <a:pt x="287" y="145"/>
                  </a:cubicBezTo>
                  <a:cubicBezTo>
                    <a:pt x="306" y="141"/>
                    <a:pt x="306" y="141"/>
                    <a:pt x="306" y="141"/>
                  </a:cubicBezTo>
                  <a:cubicBezTo>
                    <a:pt x="310" y="146"/>
                    <a:pt x="313" y="154"/>
                    <a:pt x="314" y="162"/>
                  </a:cubicBezTo>
                  <a:cubicBezTo>
                    <a:pt x="316" y="173"/>
                    <a:pt x="317" y="185"/>
                    <a:pt x="317" y="194"/>
                  </a:cubicBezTo>
                  <a:cubicBezTo>
                    <a:pt x="317" y="197"/>
                    <a:pt x="317" y="200"/>
                    <a:pt x="317" y="202"/>
                  </a:cubicBezTo>
                  <a:close/>
                  <a:moveTo>
                    <a:pt x="153" y="235"/>
                  </a:moveTo>
                  <a:cubicBezTo>
                    <a:pt x="154" y="236"/>
                    <a:pt x="155" y="236"/>
                    <a:pt x="155" y="236"/>
                  </a:cubicBezTo>
                  <a:cubicBezTo>
                    <a:pt x="159" y="236"/>
                    <a:pt x="162" y="233"/>
                    <a:pt x="163" y="230"/>
                  </a:cubicBezTo>
                  <a:cubicBezTo>
                    <a:pt x="164" y="225"/>
                    <a:pt x="162" y="221"/>
                    <a:pt x="157" y="220"/>
                  </a:cubicBezTo>
                  <a:cubicBezTo>
                    <a:pt x="140" y="215"/>
                    <a:pt x="127" y="199"/>
                    <a:pt x="127" y="181"/>
                  </a:cubicBezTo>
                  <a:cubicBezTo>
                    <a:pt x="127" y="154"/>
                    <a:pt x="127" y="154"/>
                    <a:pt x="127" y="154"/>
                  </a:cubicBezTo>
                  <a:cubicBezTo>
                    <a:pt x="127" y="132"/>
                    <a:pt x="146" y="113"/>
                    <a:pt x="168" y="113"/>
                  </a:cubicBezTo>
                  <a:cubicBezTo>
                    <a:pt x="191" y="113"/>
                    <a:pt x="209" y="132"/>
                    <a:pt x="209" y="154"/>
                  </a:cubicBezTo>
                  <a:cubicBezTo>
                    <a:pt x="209" y="181"/>
                    <a:pt x="209" y="181"/>
                    <a:pt x="209" y="181"/>
                  </a:cubicBezTo>
                  <a:cubicBezTo>
                    <a:pt x="209" y="199"/>
                    <a:pt x="196" y="215"/>
                    <a:pt x="179" y="220"/>
                  </a:cubicBezTo>
                  <a:cubicBezTo>
                    <a:pt x="175" y="221"/>
                    <a:pt x="172" y="225"/>
                    <a:pt x="173" y="230"/>
                  </a:cubicBezTo>
                  <a:cubicBezTo>
                    <a:pt x="174" y="234"/>
                    <a:pt x="179" y="237"/>
                    <a:pt x="183" y="235"/>
                  </a:cubicBezTo>
                  <a:cubicBezTo>
                    <a:pt x="188" y="234"/>
                    <a:pt x="192" y="232"/>
                    <a:pt x="196" y="230"/>
                  </a:cubicBezTo>
                  <a:cubicBezTo>
                    <a:pt x="201" y="236"/>
                    <a:pt x="201" y="236"/>
                    <a:pt x="201" y="236"/>
                  </a:cubicBezTo>
                  <a:cubicBezTo>
                    <a:pt x="202" y="238"/>
                    <a:pt x="205" y="239"/>
                    <a:pt x="207" y="239"/>
                  </a:cubicBezTo>
                  <a:cubicBezTo>
                    <a:pt x="209" y="239"/>
                    <a:pt x="211" y="239"/>
                    <a:pt x="212" y="237"/>
                  </a:cubicBezTo>
                  <a:cubicBezTo>
                    <a:pt x="215" y="235"/>
                    <a:pt x="216" y="230"/>
                    <a:pt x="213" y="226"/>
                  </a:cubicBezTo>
                  <a:cubicBezTo>
                    <a:pt x="209" y="220"/>
                    <a:pt x="209" y="220"/>
                    <a:pt x="209" y="220"/>
                  </a:cubicBezTo>
                  <a:cubicBezTo>
                    <a:pt x="219" y="210"/>
                    <a:pt x="225" y="196"/>
                    <a:pt x="225" y="181"/>
                  </a:cubicBezTo>
                  <a:cubicBezTo>
                    <a:pt x="225" y="154"/>
                    <a:pt x="225" y="154"/>
                    <a:pt x="225" y="154"/>
                  </a:cubicBezTo>
                  <a:cubicBezTo>
                    <a:pt x="225" y="123"/>
                    <a:pt x="199" y="97"/>
                    <a:pt x="168" y="97"/>
                  </a:cubicBezTo>
                  <a:cubicBezTo>
                    <a:pt x="137" y="97"/>
                    <a:pt x="111" y="123"/>
                    <a:pt x="111" y="154"/>
                  </a:cubicBezTo>
                  <a:cubicBezTo>
                    <a:pt x="111" y="181"/>
                    <a:pt x="111" y="181"/>
                    <a:pt x="111" y="181"/>
                  </a:cubicBezTo>
                  <a:cubicBezTo>
                    <a:pt x="111" y="207"/>
                    <a:pt x="129" y="229"/>
                    <a:pt x="153" y="235"/>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53" name="TextBox 52"/>
            <p:cNvSpPr txBox="1"/>
            <p:nvPr/>
          </p:nvSpPr>
          <p:spPr>
            <a:xfrm>
              <a:off x="1530193" y="4942110"/>
              <a:ext cx="2718292" cy="1055930"/>
            </a:xfrm>
            <a:prstGeom prst="rect">
              <a:avLst/>
            </a:prstGeom>
            <a:noFill/>
          </p:spPr>
          <p:txBody>
            <a:bodyPr wrap="square" rtlCol="0" anchor="ctr">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A9D4"/>
                  </a:solidFill>
                  <a:effectLst/>
                  <a:uLnTx/>
                  <a:uFillTx/>
                  <a:latin typeface="Ericsson Hilda Light"/>
                  <a:ea typeface="+mn-ea"/>
                  <a:cs typeface="+mn-cs"/>
                </a:rPr>
                <a:t>SDOD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A9D4"/>
                  </a:solidFill>
                  <a:effectLst/>
                  <a:uLnTx/>
                  <a:uFillTx/>
                  <a:latin typeface="Ericsson Hilda Light"/>
                  <a:ea typeface="+mn-ea"/>
                  <a:cs typeface="+mn-cs"/>
                </a:rPr>
                <a:t>Add-on Sale &amp; Opportunity </a:t>
              </a:r>
              <a:endParaRPr kumimoji="0" lang="en-US" sz="2400" b="0" i="0" u="none" strike="noStrike" kern="1200" cap="none" spc="0" normalizeH="0" baseline="0" noProof="0" dirty="0">
                <a:ln>
                  <a:noFill/>
                </a:ln>
                <a:solidFill>
                  <a:srgbClr val="00A9D4"/>
                </a:solidFill>
                <a:effectLst/>
                <a:uLnTx/>
                <a:uFillTx/>
                <a:latin typeface="Ericsson Hilda Light"/>
                <a:ea typeface="+mn-ea"/>
                <a:cs typeface="+mn-cs"/>
              </a:endParaRPr>
            </a:p>
          </p:txBody>
        </p:sp>
      </p:grpSp>
      <p:grpSp>
        <p:nvGrpSpPr>
          <p:cNvPr id="15" name="Group 14"/>
          <p:cNvGrpSpPr/>
          <p:nvPr/>
        </p:nvGrpSpPr>
        <p:grpSpPr>
          <a:xfrm>
            <a:off x="8277110" y="1728093"/>
            <a:ext cx="3455338" cy="785343"/>
            <a:chOff x="8614742" y="1728093"/>
            <a:chExt cx="3455338" cy="785343"/>
          </a:xfrm>
        </p:grpSpPr>
        <p:sp>
          <p:nvSpPr>
            <p:cNvPr id="61" name="TextBox 60"/>
            <p:cNvSpPr txBox="1"/>
            <p:nvPr/>
          </p:nvSpPr>
          <p:spPr>
            <a:xfrm>
              <a:off x="9090063" y="1728093"/>
              <a:ext cx="2980017" cy="785343"/>
            </a:xfrm>
            <a:prstGeom prst="rect">
              <a:avLst/>
            </a:prstGeom>
            <a:noFill/>
          </p:spPr>
          <p:txBody>
            <a:bodyPr wrap="square" rtlCol="0" anchor="ctr">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08A00"/>
                  </a:solidFill>
                  <a:effectLst/>
                  <a:uLnTx/>
                  <a:uFillTx/>
                  <a:latin typeface="Ericsson Hilda Light"/>
                  <a:ea typeface="+mn-ea"/>
                  <a:cs typeface="+mn-cs"/>
                </a:rPr>
                <a:t>Change Control Board</a:t>
              </a:r>
              <a:endParaRPr kumimoji="0" lang="en-US" sz="2200" b="0" i="0" u="none" strike="noStrike" kern="1200" cap="none" spc="0" normalizeH="0" baseline="0" noProof="0" dirty="0">
                <a:ln>
                  <a:noFill/>
                </a:ln>
                <a:solidFill>
                  <a:srgbClr val="F08A00"/>
                </a:solidFill>
                <a:effectLst/>
                <a:uLnTx/>
                <a:uFillTx/>
                <a:latin typeface="Ericsson Hilda Light"/>
                <a:ea typeface="+mn-ea"/>
                <a:cs typeface="+mn-cs"/>
              </a:endParaRPr>
            </a:p>
          </p:txBody>
        </p:sp>
        <p:sp>
          <p:nvSpPr>
            <p:cNvPr id="62" name="Freeform 3"/>
            <p:cNvSpPr>
              <a:spLocks noChangeAspect="1" noEditPoints="1"/>
            </p:cNvSpPr>
            <p:nvPr/>
          </p:nvSpPr>
          <p:spPr bwMode="auto">
            <a:xfrm>
              <a:off x="8614742" y="1741708"/>
              <a:ext cx="490260" cy="640080"/>
            </a:xfrm>
            <a:custGeom>
              <a:avLst/>
              <a:gdLst>
                <a:gd name="T0" fmla="*/ 2147483647 w 310"/>
                <a:gd name="T1" fmla="*/ 2147483647 h 405"/>
                <a:gd name="T2" fmla="*/ 2147483647 w 310"/>
                <a:gd name="T3" fmla="*/ 2147483647 h 405"/>
                <a:gd name="T4" fmla="*/ 2147483647 w 310"/>
                <a:gd name="T5" fmla="*/ 2147483647 h 405"/>
                <a:gd name="T6" fmla="*/ 2147483647 w 310"/>
                <a:gd name="T7" fmla="*/ 2147483647 h 405"/>
                <a:gd name="T8" fmla="*/ 2147483647 w 310"/>
                <a:gd name="T9" fmla="*/ 2147483647 h 405"/>
                <a:gd name="T10" fmla="*/ 2147483647 w 310"/>
                <a:gd name="T11" fmla="*/ 2147483647 h 405"/>
                <a:gd name="T12" fmla="*/ 2147483647 w 310"/>
                <a:gd name="T13" fmla="*/ 2147483647 h 405"/>
                <a:gd name="T14" fmla="*/ 2147483647 w 310"/>
                <a:gd name="T15" fmla="*/ 2147483647 h 405"/>
                <a:gd name="T16" fmla="*/ 2147483647 w 310"/>
                <a:gd name="T17" fmla="*/ 2147483647 h 405"/>
                <a:gd name="T18" fmla="*/ 2147483647 w 310"/>
                <a:gd name="T19" fmla="*/ 2147483647 h 405"/>
                <a:gd name="T20" fmla="*/ 2147483647 w 310"/>
                <a:gd name="T21" fmla="*/ 2147483647 h 405"/>
                <a:gd name="T22" fmla="*/ 2147483647 w 310"/>
                <a:gd name="T23" fmla="*/ 2147483647 h 405"/>
                <a:gd name="T24" fmla="*/ 2147483647 w 310"/>
                <a:gd name="T25" fmla="*/ 2147483647 h 405"/>
                <a:gd name="T26" fmla="*/ 2147483647 w 310"/>
                <a:gd name="T27" fmla="*/ 2147483647 h 405"/>
                <a:gd name="T28" fmla="*/ 2147483647 w 310"/>
                <a:gd name="T29" fmla="*/ 2147483647 h 405"/>
                <a:gd name="T30" fmla="*/ 2147483647 w 310"/>
                <a:gd name="T31" fmla="*/ 0 h 405"/>
                <a:gd name="T32" fmla="*/ 2147483647 w 310"/>
                <a:gd name="T33" fmla="*/ 2147483647 h 405"/>
                <a:gd name="T34" fmla="*/ 2147483647 w 310"/>
                <a:gd name="T35" fmla="*/ 2147483647 h 405"/>
                <a:gd name="T36" fmla="*/ 0 w 310"/>
                <a:gd name="T37" fmla="*/ 2147483647 h 405"/>
                <a:gd name="T38" fmla="*/ 0 w 310"/>
                <a:gd name="T39" fmla="*/ 2147483647 h 405"/>
                <a:gd name="T40" fmla="*/ 2147483647 w 310"/>
                <a:gd name="T41" fmla="*/ 2147483647 h 405"/>
                <a:gd name="T42" fmla="*/ 2147483647 w 310"/>
                <a:gd name="T43" fmla="*/ 2147483647 h 405"/>
                <a:gd name="T44" fmla="*/ 2147483647 w 310"/>
                <a:gd name="T45" fmla="*/ 2147483647 h 405"/>
                <a:gd name="T46" fmla="*/ 2147483647 w 310"/>
                <a:gd name="T47" fmla="*/ 2147483647 h 405"/>
                <a:gd name="T48" fmla="*/ 2147483647 w 310"/>
                <a:gd name="T49" fmla="*/ 2147483647 h 405"/>
                <a:gd name="T50" fmla="*/ 2147483647 w 310"/>
                <a:gd name="T51" fmla="*/ 2147483647 h 405"/>
                <a:gd name="T52" fmla="*/ 2147483647 w 310"/>
                <a:gd name="T53" fmla="*/ 2147483647 h 405"/>
                <a:gd name="T54" fmla="*/ 2147483647 w 310"/>
                <a:gd name="T55" fmla="*/ 2147483647 h 405"/>
                <a:gd name="T56" fmla="*/ 2147483647 w 310"/>
                <a:gd name="T57" fmla="*/ 2147483647 h 405"/>
                <a:gd name="T58" fmla="*/ 2147483647 w 310"/>
                <a:gd name="T59" fmla="*/ 2147483647 h 405"/>
                <a:gd name="T60" fmla="*/ 2147483647 w 310"/>
                <a:gd name="T61" fmla="*/ 2147483647 h 405"/>
                <a:gd name="T62" fmla="*/ 2147483647 w 310"/>
                <a:gd name="T63" fmla="*/ 2147483647 h 405"/>
                <a:gd name="T64" fmla="*/ 2147483647 w 310"/>
                <a:gd name="T65" fmla="*/ 2147483647 h 405"/>
                <a:gd name="T66" fmla="*/ 2147483647 w 310"/>
                <a:gd name="T67" fmla="*/ 2147483647 h 405"/>
                <a:gd name="T68" fmla="*/ 2147483647 w 310"/>
                <a:gd name="T69" fmla="*/ 2147483647 h 405"/>
                <a:gd name="T70" fmla="*/ 2147483647 w 310"/>
                <a:gd name="T71" fmla="*/ 2147483647 h 405"/>
                <a:gd name="T72" fmla="*/ 2147483647 w 310"/>
                <a:gd name="T73" fmla="*/ 2147483647 h 405"/>
                <a:gd name="T74" fmla="*/ 2147483647 w 310"/>
                <a:gd name="T75" fmla="*/ 2147483647 h 405"/>
                <a:gd name="T76" fmla="*/ 2147483647 w 310"/>
                <a:gd name="T77" fmla="*/ 2147483647 h 405"/>
                <a:gd name="T78" fmla="*/ 2147483647 w 310"/>
                <a:gd name="T79" fmla="*/ 2147483647 h 405"/>
                <a:gd name="T80" fmla="*/ 2147483647 w 310"/>
                <a:gd name="T81" fmla="*/ 2147483647 h 405"/>
                <a:gd name="T82" fmla="*/ 2147483647 w 310"/>
                <a:gd name="T83" fmla="*/ 2147483647 h 405"/>
                <a:gd name="T84" fmla="*/ 2147483647 w 310"/>
                <a:gd name="T85" fmla="*/ 2147483647 h 405"/>
                <a:gd name="T86" fmla="*/ 2147483647 w 310"/>
                <a:gd name="T87" fmla="*/ 2147483647 h 405"/>
                <a:gd name="T88" fmla="*/ 2147483647 w 310"/>
                <a:gd name="T89" fmla="*/ 2147483647 h 405"/>
                <a:gd name="T90" fmla="*/ 2147483647 w 310"/>
                <a:gd name="T91" fmla="*/ 2147483647 h 405"/>
                <a:gd name="T92" fmla="*/ 2147483647 w 310"/>
                <a:gd name="T93" fmla="*/ 2147483647 h 405"/>
                <a:gd name="T94" fmla="*/ 2147483647 w 310"/>
                <a:gd name="T95" fmla="*/ 2147483647 h 405"/>
                <a:gd name="T96" fmla="*/ 2147483647 w 310"/>
                <a:gd name="T97" fmla="*/ 2147483647 h 405"/>
                <a:gd name="T98" fmla="*/ 2147483647 w 310"/>
                <a:gd name="T99" fmla="*/ 2147483647 h 405"/>
                <a:gd name="T100" fmla="*/ 2147483647 w 310"/>
                <a:gd name="T101" fmla="*/ 2147483647 h 405"/>
                <a:gd name="T102" fmla="*/ 2147483647 w 310"/>
                <a:gd name="T103" fmla="*/ 2147483647 h 405"/>
                <a:gd name="T104" fmla="*/ 2147483647 w 310"/>
                <a:gd name="T105" fmla="*/ 2147483647 h 405"/>
                <a:gd name="T106" fmla="*/ 2147483647 w 310"/>
                <a:gd name="T107" fmla="*/ 2147483647 h 405"/>
                <a:gd name="T108" fmla="*/ 2147483647 w 310"/>
                <a:gd name="T109" fmla="*/ 2147483647 h 405"/>
                <a:gd name="T110" fmla="*/ 2147483647 w 310"/>
                <a:gd name="T111" fmla="*/ 2147483647 h 405"/>
                <a:gd name="T112" fmla="*/ 2147483647 w 310"/>
                <a:gd name="T113" fmla="*/ 2147483647 h 405"/>
                <a:gd name="T114" fmla="*/ 2147483647 w 310"/>
                <a:gd name="T115" fmla="*/ 2147483647 h 405"/>
                <a:gd name="T116" fmla="*/ 2147483647 w 310"/>
                <a:gd name="T117" fmla="*/ 2147483647 h 4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10" h="405">
                  <a:moveTo>
                    <a:pt x="285" y="213"/>
                  </a:moveTo>
                  <a:cubicBezTo>
                    <a:pt x="198" y="213"/>
                    <a:pt x="198" y="213"/>
                    <a:pt x="198" y="213"/>
                  </a:cubicBezTo>
                  <a:cubicBezTo>
                    <a:pt x="198" y="209"/>
                    <a:pt x="198" y="209"/>
                    <a:pt x="198" y="209"/>
                  </a:cubicBezTo>
                  <a:cubicBezTo>
                    <a:pt x="198" y="172"/>
                    <a:pt x="174" y="151"/>
                    <a:pt x="155" y="139"/>
                  </a:cubicBezTo>
                  <a:cubicBezTo>
                    <a:pt x="170" y="124"/>
                    <a:pt x="180" y="104"/>
                    <a:pt x="180" y="81"/>
                  </a:cubicBezTo>
                  <a:cubicBezTo>
                    <a:pt x="180" y="66"/>
                    <a:pt x="175" y="51"/>
                    <a:pt x="167" y="38"/>
                  </a:cubicBezTo>
                  <a:cubicBezTo>
                    <a:pt x="165" y="34"/>
                    <a:pt x="160" y="33"/>
                    <a:pt x="156" y="35"/>
                  </a:cubicBezTo>
                  <a:cubicBezTo>
                    <a:pt x="153" y="38"/>
                    <a:pt x="151" y="43"/>
                    <a:pt x="154" y="46"/>
                  </a:cubicBezTo>
                  <a:cubicBezTo>
                    <a:pt x="160" y="57"/>
                    <a:pt x="164" y="69"/>
                    <a:pt x="164" y="81"/>
                  </a:cubicBezTo>
                  <a:cubicBezTo>
                    <a:pt x="164" y="117"/>
                    <a:pt x="135" y="146"/>
                    <a:pt x="99" y="146"/>
                  </a:cubicBezTo>
                  <a:cubicBezTo>
                    <a:pt x="63" y="146"/>
                    <a:pt x="34" y="117"/>
                    <a:pt x="34" y="81"/>
                  </a:cubicBezTo>
                  <a:cubicBezTo>
                    <a:pt x="34" y="45"/>
                    <a:pt x="63" y="16"/>
                    <a:pt x="99" y="16"/>
                  </a:cubicBezTo>
                  <a:cubicBezTo>
                    <a:pt x="111" y="16"/>
                    <a:pt x="123" y="20"/>
                    <a:pt x="134" y="26"/>
                  </a:cubicBezTo>
                  <a:cubicBezTo>
                    <a:pt x="138" y="29"/>
                    <a:pt x="142" y="28"/>
                    <a:pt x="145" y="24"/>
                  </a:cubicBezTo>
                  <a:cubicBezTo>
                    <a:pt x="147" y="20"/>
                    <a:pt x="146" y="15"/>
                    <a:pt x="142" y="13"/>
                  </a:cubicBezTo>
                  <a:cubicBezTo>
                    <a:pt x="129" y="5"/>
                    <a:pt x="115" y="0"/>
                    <a:pt x="99" y="0"/>
                  </a:cubicBezTo>
                  <a:cubicBezTo>
                    <a:pt x="55" y="0"/>
                    <a:pt x="18" y="36"/>
                    <a:pt x="18" y="81"/>
                  </a:cubicBezTo>
                  <a:cubicBezTo>
                    <a:pt x="18" y="104"/>
                    <a:pt x="28" y="124"/>
                    <a:pt x="43" y="139"/>
                  </a:cubicBezTo>
                  <a:cubicBezTo>
                    <a:pt x="24" y="151"/>
                    <a:pt x="0" y="172"/>
                    <a:pt x="0" y="209"/>
                  </a:cubicBezTo>
                  <a:cubicBezTo>
                    <a:pt x="0" y="289"/>
                    <a:pt x="0" y="289"/>
                    <a:pt x="0" y="289"/>
                  </a:cubicBezTo>
                  <a:cubicBezTo>
                    <a:pt x="0" y="297"/>
                    <a:pt x="6" y="309"/>
                    <a:pt x="21" y="309"/>
                  </a:cubicBezTo>
                  <a:cubicBezTo>
                    <a:pt x="117" y="309"/>
                    <a:pt x="117" y="309"/>
                    <a:pt x="117" y="309"/>
                  </a:cubicBezTo>
                  <a:cubicBezTo>
                    <a:pt x="117" y="380"/>
                    <a:pt x="117" y="380"/>
                    <a:pt x="117" y="380"/>
                  </a:cubicBezTo>
                  <a:cubicBezTo>
                    <a:pt x="117" y="394"/>
                    <a:pt x="129" y="405"/>
                    <a:pt x="142" y="405"/>
                  </a:cubicBezTo>
                  <a:cubicBezTo>
                    <a:pt x="285" y="405"/>
                    <a:pt x="285" y="405"/>
                    <a:pt x="285" y="405"/>
                  </a:cubicBezTo>
                  <a:cubicBezTo>
                    <a:pt x="298" y="405"/>
                    <a:pt x="310" y="394"/>
                    <a:pt x="310" y="380"/>
                  </a:cubicBezTo>
                  <a:cubicBezTo>
                    <a:pt x="310" y="238"/>
                    <a:pt x="310" y="238"/>
                    <a:pt x="310" y="238"/>
                  </a:cubicBezTo>
                  <a:cubicBezTo>
                    <a:pt x="310" y="224"/>
                    <a:pt x="298" y="213"/>
                    <a:pt x="285" y="213"/>
                  </a:cubicBezTo>
                  <a:close/>
                  <a:moveTo>
                    <a:pt x="117" y="238"/>
                  </a:moveTo>
                  <a:cubicBezTo>
                    <a:pt x="117" y="293"/>
                    <a:pt x="117" y="293"/>
                    <a:pt x="117" y="293"/>
                  </a:cubicBezTo>
                  <a:cubicBezTo>
                    <a:pt x="49" y="293"/>
                    <a:pt x="49" y="293"/>
                    <a:pt x="49" y="293"/>
                  </a:cubicBezTo>
                  <a:cubicBezTo>
                    <a:pt x="49" y="202"/>
                    <a:pt x="49" y="202"/>
                    <a:pt x="49" y="202"/>
                  </a:cubicBezTo>
                  <a:cubicBezTo>
                    <a:pt x="49" y="197"/>
                    <a:pt x="45" y="194"/>
                    <a:pt x="41" y="194"/>
                  </a:cubicBezTo>
                  <a:cubicBezTo>
                    <a:pt x="37" y="194"/>
                    <a:pt x="33" y="197"/>
                    <a:pt x="33" y="202"/>
                  </a:cubicBezTo>
                  <a:cubicBezTo>
                    <a:pt x="33" y="293"/>
                    <a:pt x="33" y="293"/>
                    <a:pt x="33" y="293"/>
                  </a:cubicBezTo>
                  <a:cubicBezTo>
                    <a:pt x="21" y="293"/>
                    <a:pt x="21" y="293"/>
                    <a:pt x="21" y="293"/>
                  </a:cubicBezTo>
                  <a:cubicBezTo>
                    <a:pt x="19" y="293"/>
                    <a:pt x="17" y="293"/>
                    <a:pt x="16" y="289"/>
                  </a:cubicBezTo>
                  <a:cubicBezTo>
                    <a:pt x="16" y="209"/>
                    <a:pt x="16" y="209"/>
                    <a:pt x="16" y="209"/>
                  </a:cubicBezTo>
                  <a:cubicBezTo>
                    <a:pt x="16" y="177"/>
                    <a:pt x="40" y="159"/>
                    <a:pt x="57" y="150"/>
                  </a:cubicBezTo>
                  <a:cubicBezTo>
                    <a:pt x="69" y="157"/>
                    <a:pt x="84" y="162"/>
                    <a:pt x="99" y="162"/>
                  </a:cubicBezTo>
                  <a:cubicBezTo>
                    <a:pt x="114" y="162"/>
                    <a:pt x="129" y="157"/>
                    <a:pt x="141" y="150"/>
                  </a:cubicBezTo>
                  <a:cubicBezTo>
                    <a:pt x="158" y="158"/>
                    <a:pt x="182" y="177"/>
                    <a:pt x="182" y="209"/>
                  </a:cubicBezTo>
                  <a:cubicBezTo>
                    <a:pt x="182" y="213"/>
                    <a:pt x="182" y="213"/>
                    <a:pt x="182" y="213"/>
                  </a:cubicBezTo>
                  <a:cubicBezTo>
                    <a:pt x="165" y="213"/>
                    <a:pt x="165" y="213"/>
                    <a:pt x="165" y="213"/>
                  </a:cubicBezTo>
                  <a:cubicBezTo>
                    <a:pt x="165" y="202"/>
                    <a:pt x="165" y="202"/>
                    <a:pt x="165" y="202"/>
                  </a:cubicBezTo>
                  <a:cubicBezTo>
                    <a:pt x="165" y="197"/>
                    <a:pt x="162" y="194"/>
                    <a:pt x="157" y="194"/>
                  </a:cubicBezTo>
                  <a:cubicBezTo>
                    <a:pt x="153" y="194"/>
                    <a:pt x="149" y="197"/>
                    <a:pt x="149" y="202"/>
                  </a:cubicBezTo>
                  <a:cubicBezTo>
                    <a:pt x="149" y="213"/>
                    <a:pt x="149" y="213"/>
                    <a:pt x="149" y="213"/>
                  </a:cubicBezTo>
                  <a:cubicBezTo>
                    <a:pt x="142" y="213"/>
                    <a:pt x="142" y="213"/>
                    <a:pt x="142" y="213"/>
                  </a:cubicBezTo>
                  <a:cubicBezTo>
                    <a:pt x="129" y="213"/>
                    <a:pt x="117" y="224"/>
                    <a:pt x="117" y="238"/>
                  </a:cubicBezTo>
                  <a:close/>
                  <a:moveTo>
                    <a:pt x="294" y="380"/>
                  </a:moveTo>
                  <a:cubicBezTo>
                    <a:pt x="294" y="385"/>
                    <a:pt x="290" y="389"/>
                    <a:pt x="285" y="389"/>
                  </a:cubicBezTo>
                  <a:cubicBezTo>
                    <a:pt x="142" y="389"/>
                    <a:pt x="142" y="389"/>
                    <a:pt x="142" y="389"/>
                  </a:cubicBezTo>
                  <a:cubicBezTo>
                    <a:pt x="137" y="389"/>
                    <a:pt x="133" y="385"/>
                    <a:pt x="133" y="380"/>
                  </a:cubicBezTo>
                  <a:cubicBezTo>
                    <a:pt x="133" y="238"/>
                    <a:pt x="133" y="238"/>
                    <a:pt x="133" y="238"/>
                  </a:cubicBezTo>
                  <a:cubicBezTo>
                    <a:pt x="133" y="233"/>
                    <a:pt x="137" y="229"/>
                    <a:pt x="142" y="229"/>
                  </a:cubicBezTo>
                  <a:cubicBezTo>
                    <a:pt x="285" y="229"/>
                    <a:pt x="285" y="229"/>
                    <a:pt x="285" y="229"/>
                  </a:cubicBezTo>
                  <a:cubicBezTo>
                    <a:pt x="290" y="229"/>
                    <a:pt x="294" y="233"/>
                    <a:pt x="294" y="238"/>
                  </a:cubicBezTo>
                  <a:lnTo>
                    <a:pt x="294" y="380"/>
                  </a:lnTo>
                  <a:close/>
                </a:path>
              </a:pathLst>
            </a:custGeom>
            <a:solidFill>
              <a:srgbClr val="F08A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grpSp>
      <p:grpSp>
        <p:nvGrpSpPr>
          <p:cNvPr id="16" name="Group 15"/>
          <p:cNvGrpSpPr/>
          <p:nvPr/>
        </p:nvGrpSpPr>
        <p:grpSpPr>
          <a:xfrm>
            <a:off x="4579682" y="1741708"/>
            <a:ext cx="3270107" cy="746980"/>
            <a:chOff x="4410866" y="1741708"/>
            <a:chExt cx="3270107" cy="746980"/>
          </a:xfrm>
        </p:grpSpPr>
        <p:sp>
          <p:nvSpPr>
            <p:cNvPr id="58" name="TextBox 57"/>
            <p:cNvSpPr txBox="1"/>
            <p:nvPr/>
          </p:nvSpPr>
          <p:spPr>
            <a:xfrm>
              <a:off x="5120470" y="1752846"/>
              <a:ext cx="2560503" cy="735842"/>
            </a:xfrm>
            <a:prstGeom prst="rect">
              <a:avLst/>
            </a:prstGeom>
            <a:noFill/>
          </p:spPr>
          <p:txBody>
            <a:bodyPr wrap="square" rtlCol="0" anchor="ctr">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89BA17"/>
                  </a:solidFill>
                  <a:effectLst/>
                  <a:uLnTx/>
                  <a:uFillTx/>
                  <a:latin typeface="Ericsson Hilda Light"/>
                  <a:ea typeface="+mn-ea"/>
                  <a:cs typeface="+mn-cs"/>
                </a:rPr>
                <a:t>Global Chronos Change Request</a:t>
              </a:r>
              <a:endParaRPr kumimoji="0" lang="en-US" sz="2650" b="0" i="0" u="none" strike="noStrike" kern="1200" cap="none" spc="0" normalizeH="0" baseline="0" noProof="0" dirty="0">
                <a:ln>
                  <a:noFill/>
                </a:ln>
                <a:solidFill>
                  <a:srgbClr val="89BA17"/>
                </a:solidFill>
                <a:effectLst/>
                <a:uLnTx/>
                <a:uFillTx/>
                <a:latin typeface="Ericsson Hilda Light"/>
                <a:ea typeface="+mn-ea"/>
                <a:cs typeface="+mn-cs"/>
              </a:endParaRPr>
            </a:p>
          </p:txBody>
        </p:sp>
        <p:sp>
          <p:nvSpPr>
            <p:cNvPr id="64" name="Freeform 3"/>
            <p:cNvSpPr>
              <a:spLocks noChangeAspect="1" noEditPoints="1"/>
            </p:cNvSpPr>
            <p:nvPr/>
          </p:nvSpPr>
          <p:spPr bwMode="auto">
            <a:xfrm>
              <a:off x="4410866" y="1741708"/>
              <a:ext cx="682668" cy="626012"/>
            </a:xfrm>
            <a:custGeom>
              <a:avLst/>
              <a:gdLst>
                <a:gd name="T0" fmla="*/ 2147483647 w 277"/>
                <a:gd name="T1" fmla="*/ 0 h 278"/>
                <a:gd name="T2" fmla="*/ 2147483647 w 277"/>
                <a:gd name="T3" fmla="*/ 0 h 278"/>
                <a:gd name="T4" fmla="*/ 2147483647 w 277"/>
                <a:gd name="T5" fmla="*/ 2147483647 h 278"/>
                <a:gd name="T6" fmla="*/ 2147483647 w 277"/>
                <a:gd name="T7" fmla="*/ 2147483647 h 278"/>
                <a:gd name="T8" fmla="*/ 2147483647 w 277"/>
                <a:gd name="T9" fmla="*/ 2147483647 h 278"/>
                <a:gd name="T10" fmla="*/ 2147483647 w 277"/>
                <a:gd name="T11" fmla="*/ 2147483647 h 278"/>
                <a:gd name="T12" fmla="*/ 2147483647 w 277"/>
                <a:gd name="T13" fmla="*/ 2147483647 h 278"/>
                <a:gd name="T14" fmla="*/ 2147483647 w 277"/>
                <a:gd name="T15" fmla="*/ 2147483647 h 278"/>
                <a:gd name="T16" fmla="*/ 2147483647 w 277"/>
                <a:gd name="T17" fmla="*/ 0 h 278"/>
                <a:gd name="T18" fmla="*/ 2147483647 w 277"/>
                <a:gd name="T19" fmla="*/ 2147483647 h 278"/>
                <a:gd name="T20" fmla="*/ 2147483647 w 277"/>
                <a:gd name="T21" fmla="*/ 2147483647 h 278"/>
                <a:gd name="T22" fmla="*/ 2147483647 w 277"/>
                <a:gd name="T23" fmla="*/ 2147483647 h 278"/>
                <a:gd name="T24" fmla="*/ 2147483647 w 277"/>
                <a:gd name="T25" fmla="*/ 2147483647 h 278"/>
                <a:gd name="T26" fmla="*/ 2147483647 w 277"/>
                <a:gd name="T27" fmla="*/ 2147483647 h 278"/>
                <a:gd name="T28" fmla="*/ 2147483647 w 277"/>
                <a:gd name="T29" fmla="*/ 2147483647 h 278"/>
                <a:gd name="T30" fmla="*/ 2147483647 w 277"/>
                <a:gd name="T31" fmla="*/ 2147483647 h 278"/>
                <a:gd name="T32" fmla="*/ 2147483647 w 277"/>
                <a:gd name="T33" fmla="*/ 2147483647 h 278"/>
                <a:gd name="T34" fmla="*/ 2147483647 w 277"/>
                <a:gd name="T35" fmla="*/ 2147483647 h 278"/>
                <a:gd name="T36" fmla="*/ 2147483647 w 277"/>
                <a:gd name="T37" fmla="*/ 2147483647 h 278"/>
                <a:gd name="T38" fmla="*/ 2147483647 w 277"/>
                <a:gd name="T39" fmla="*/ 2147483647 h 278"/>
                <a:gd name="T40" fmla="*/ 0 w 277"/>
                <a:gd name="T41" fmla="*/ 2147483647 h 278"/>
                <a:gd name="T42" fmla="*/ 0 w 277"/>
                <a:gd name="T43" fmla="*/ 2147483647 h 278"/>
                <a:gd name="T44" fmla="*/ 2147483647 w 277"/>
                <a:gd name="T45" fmla="*/ 2147483647 h 278"/>
                <a:gd name="T46" fmla="*/ 2147483647 w 277"/>
                <a:gd name="T47" fmla="*/ 2147483647 h 278"/>
                <a:gd name="T48" fmla="*/ 2147483647 w 277"/>
                <a:gd name="T49" fmla="*/ 2147483647 h 278"/>
                <a:gd name="T50" fmla="*/ 2147483647 w 277"/>
                <a:gd name="T51" fmla="*/ 2147483647 h 278"/>
                <a:gd name="T52" fmla="*/ 2147483647 w 277"/>
                <a:gd name="T53" fmla="*/ 2147483647 h 278"/>
                <a:gd name="T54" fmla="*/ 2147483647 w 277"/>
                <a:gd name="T55" fmla="*/ 2147483647 h 278"/>
                <a:gd name="T56" fmla="*/ 2147483647 w 277"/>
                <a:gd name="T57" fmla="*/ 2147483647 h 278"/>
                <a:gd name="T58" fmla="*/ 2147483647 w 277"/>
                <a:gd name="T59" fmla="*/ 2147483647 h 278"/>
                <a:gd name="T60" fmla="*/ 2147483647 w 277"/>
                <a:gd name="T61" fmla="*/ 2147483647 h 278"/>
                <a:gd name="T62" fmla="*/ 2147483647 w 277"/>
                <a:gd name="T63" fmla="*/ 2147483647 h 278"/>
                <a:gd name="T64" fmla="*/ 2147483647 w 277"/>
                <a:gd name="T65" fmla="*/ 2147483647 h 278"/>
                <a:gd name="T66" fmla="*/ 2147483647 w 277"/>
                <a:gd name="T67" fmla="*/ 2147483647 h 278"/>
                <a:gd name="T68" fmla="*/ 2147483647 w 277"/>
                <a:gd name="T69" fmla="*/ 2147483647 h 278"/>
                <a:gd name="T70" fmla="*/ 2147483647 w 277"/>
                <a:gd name="T71" fmla="*/ 2147483647 h 278"/>
                <a:gd name="T72" fmla="*/ 2147483647 w 277"/>
                <a:gd name="T73" fmla="*/ 2147483647 h 278"/>
                <a:gd name="T74" fmla="*/ 2147483647 w 277"/>
                <a:gd name="T75" fmla="*/ 2147483647 h 278"/>
                <a:gd name="T76" fmla="*/ 2147483647 w 277"/>
                <a:gd name="T77" fmla="*/ 2147483647 h 278"/>
                <a:gd name="T78" fmla="*/ 2147483647 w 277"/>
                <a:gd name="T79" fmla="*/ 2147483647 h 278"/>
                <a:gd name="T80" fmla="*/ 2147483647 w 277"/>
                <a:gd name="T81" fmla="*/ 2147483647 h 278"/>
                <a:gd name="T82" fmla="*/ 2147483647 w 277"/>
                <a:gd name="T83" fmla="*/ 2147483647 h 278"/>
                <a:gd name="T84" fmla="*/ 2147483647 w 277"/>
                <a:gd name="T85" fmla="*/ 2147483647 h 278"/>
                <a:gd name="T86" fmla="*/ 2147483647 w 277"/>
                <a:gd name="T87" fmla="*/ 2147483647 h 278"/>
                <a:gd name="T88" fmla="*/ 2147483647 w 277"/>
                <a:gd name="T89" fmla="*/ 2147483647 h 2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77" h="278">
                  <a:moveTo>
                    <a:pt x="84" y="0"/>
                  </a:moveTo>
                  <a:cubicBezTo>
                    <a:pt x="72" y="0"/>
                    <a:pt x="72" y="0"/>
                    <a:pt x="72" y="0"/>
                  </a:cubicBezTo>
                  <a:cubicBezTo>
                    <a:pt x="65" y="0"/>
                    <a:pt x="60" y="6"/>
                    <a:pt x="60" y="13"/>
                  </a:cubicBezTo>
                  <a:cubicBezTo>
                    <a:pt x="60" y="265"/>
                    <a:pt x="60" y="265"/>
                    <a:pt x="60" y="265"/>
                  </a:cubicBezTo>
                  <a:cubicBezTo>
                    <a:pt x="60" y="272"/>
                    <a:pt x="65" y="278"/>
                    <a:pt x="72" y="278"/>
                  </a:cubicBezTo>
                  <a:cubicBezTo>
                    <a:pt x="84" y="278"/>
                    <a:pt x="84" y="278"/>
                    <a:pt x="84" y="278"/>
                  </a:cubicBezTo>
                  <a:cubicBezTo>
                    <a:pt x="92" y="278"/>
                    <a:pt x="97" y="272"/>
                    <a:pt x="97" y="265"/>
                  </a:cubicBezTo>
                  <a:cubicBezTo>
                    <a:pt x="97" y="13"/>
                    <a:pt x="97" y="13"/>
                    <a:pt x="97" y="13"/>
                  </a:cubicBezTo>
                  <a:cubicBezTo>
                    <a:pt x="97" y="6"/>
                    <a:pt x="92" y="0"/>
                    <a:pt x="84" y="0"/>
                  </a:cubicBezTo>
                  <a:close/>
                  <a:moveTo>
                    <a:pt x="144" y="98"/>
                  </a:moveTo>
                  <a:cubicBezTo>
                    <a:pt x="132" y="98"/>
                    <a:pt x="132" y="98"/>
                    <a:pt x="132" y="98"/>
                  </a:cubicBezTo>
                  <a:cubicBezTo>
                    <a:pt x="125" y="98"/>
                    <a:pt x="119" y="104"/>
                    <a:pt x="119" y="111"/>
                  </a:cubicBezTo>
                  <a:cubicBezTo>
                    <a:pt x="119" y="265"/>
                    <a:pt x="119" y="265"/>
                    <a:pt x="119" y="265"/>
                  </a:cubicBezTo>
                  <a:cubicBezTo>
                    <a:pt x="119" y="272"/>
                    <a:pt x="125" y="278"/>
                    <a:pt x="132" y="278"/>
                  </a:cubicBezTo>
                  <a:cubicBezTo>
                    <a:pt x="144" y="278"/>
                    <a:pt x="144" y="278"/>
                    <a:pt x="144" y="278"/>
                  </a:cubicBezTo>
                  <a:cubicBezTo>
                    <a:pt x="151" y="278"/>
                    <a:pt x="157" y="272"/>
                    <a:pt x="157" y="265"/>
                  </a:cubicBezTo>
                  <a:cubicBezTo>
                    <a:pt x="157" y="111"/>
                    <a:pt x="157" y="111"/>
                    <a:pt x="157" y="111"/>
                  </a:cubicBezTo>
                  <a:cubicBezTo>
                    <a:pt x="157" y="104"/>
                    <a:pt x="151" y="98"/>
                    <a:pt x="144" y="98"/>
                  </a:cubicBezTo>
                  <a:close/>
                  <a:moveTo>
                    <a:pt x="25" y="144"/>
                  </a:moveTo>
                  <a:cubicBezTo>
                    <a:pt x="13" y="144"/>
                    <a:pt x="13" y="144"/>
                    <a:pt x="13" y="144"/>
                  </a:cubicBezTo>
                  <a:cubicBezTo>
                    <a:pt x="6" y="144"/>
                    <a:pt x="0" y="149"/>
                    <a:pt x="0" y="157"/>
                  </a:cubicBezTo>
                  <a:cubicBezTo>
                    <a:pt x="0" y="265"/>
                    <a:pt x="0" y="265"/>
                    <a:pt x="0" y="265"/>
                  </a:cubicBezTo>
                  <a:cubicBezTo>
                    <a:pt x="0" y="272"/>
                    <a:pt x="6" y="278"/>
                    <a:pt x="13" y="278"/>
                  </a:cubicBezTo>
                  <a:cubicBezTo>
                    <a:pt x="25" y="278"/>
                    <a:pt x="25" y="278"/>
                    <a:pt x="25" y="278"/>
                  </a:cubicBezTo>
                  <a:cubicBezTo>
                    <a:pt x="32" y="278"/>
                    <a:pt x="38" y="272"/>
                    <a:pt x="38" y="265"/>
                  </a:cubicBezTo>
                  <a:cubicBezTo>
                    <a:pt x="38" y="157"/>
                    <a:pt x="38" y="157"/>
                    <a:pt x="38" y="157"/>
                  </a:cubicBezTo>
                  <a:cubicBezTo>
                    <a:pt x="38" y="149"/>
                    <a:pt x="32" y="144"/>
                    <a:pt x="25" y="144"/>
                  </a:cubicBezTo>
                  <a:close/>
                  <a:moveTo>
                    <a:pt x="204" y="184"/>
                  </a:moveTo>
                  <a:cubicBezTo>
                    <a:pt x="192" y="184"/>
                    <a:pt x="192" y="184"/>
                    <a:pt x="192" y="184"/>
                  </a:cubicBezTo>
                  <a:cubicBezTo>
                    <a:pt x="185" y="184"/>
                    <a:pt x="179" y="190"/>
                    <a:pt x="179" y="197"/>
                  </a:cubicBezTo>
                  <a:cubicBezTo>
                    <a:pt x="179" y="265"/>
                    <a:pt x="179" y="265"/>
                    <a:pt x="179" y="265"/>
                  </a:cubicBezTo>
                  <a:cubicBezTo>
                    <a:pt x="179" y="272"/>
                    <a:pt x="185" y="278"/>
                    <a:pt x="192" y="278"/>
                  </a:cubicBezTo>
                  <a:cubicBezTo>
                    <a:pt x="204" y="278"/>
                    <a:pt x="204" y="278"/>
                    <a:pt x="204" y="278"/>
                  </a:cubicBezTo>
                  <a:cubicBezTo>
                    <a:pt x="211" y="278"/>
                    <a:pt x="217" y="272"/>
                    <a:pt x="217" y="265"/>
                  </a:cubicBezTo>
                  <a:cubicBezTo>
                    <a:pt x="217" y="197"/>
                    <a:pt x="217" y="197"/>
                    <a:pt x="217" y="197"/>
                  </a:cubicBezTo>
                  <a:cubicBezTo>
                    <a:pt x="217" y="190"/>
                    <a:pt x="211" y="184"/>
                    <a:pt x="204" y="184"/>
                  </a:cubicBezTo>
                  <a:close/>
                  <a:moveTo>
                    <a:pt x="264" y="52"/>
                  </a:moveTo>
                  <a:cubicBezTo>
                    <a:pt x="252" y="52"/>
                    <a:pt x="252" y="52"/>
                    <a:pt x="252" y="52"/>
                  </a:cubicBezTo>
                  <a:cubicBezTo>
                    <a:pt x="244" y="52"/>
                    <a:pt x="239" y="58"/>
                    <a:pt x="239" y="65"/>
                  </a:cubicBezTo>
                  <a:cubicBezTo>
                    <a:pt x="239" y="265"/>
                    <a:pt x="239" y="265"/>
                    <a:pt x="239" y="265"/>
                  </a:cubicBezTo>
                  <a:cubicBezTo>
                    <a:pt x="239" y="272"/>
                    <a:pt x="244" y="278"/>
                    <a:pt x="252" y="278"/>
                  </a:cubicBezTo>
                  <a:cubicBezTo>
                    <a:pt x="264" y="278"/>
                    <a:pt x="264" y="278"/>
                    <a:pt x="264" y="278"/>
                  </a:cubicBezTo>
                  <a:cubicBezTo>
                    <a:pt x="271" y="278"/>
                    <a:pt x="277" y="272"/>
                    <a:pt x="277" y="265"/>
                  </a:cubicBezTo>
                  <a:cubicBezTo>
                    <a:pt x="277" y="65"/>
                    <a:pt x="277" y="65"/>
                    <a:pt x="277" y="65"/>
                  </a:cubicBezTo>
                  <a:cubicBezTo>
                    <a:pt x="277" y="58"/>
                    <a:pt x="271" y="52"/>
                    <a:pt x="264" y="52"/>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9BA17"/>
                </a:solidFill>
                <a:effectLst/>
                <a:uLnTx/>
                <a:uFillTx/>
                <a:latin typeface="Ericsson Hilda"/>
                <a:ea typeface="+mn-ea"/>
                <a:cs typeface="+mn-cs"/>
              </a:endParaRPr>
            </a:p>
          </p:txBody>
        </p:sp>
      </p:grpSp>
      <p:grpSp>
        <p:nvGrpSpPr>
          <p:cNvPr id="20" name="Group 19"/>
          <p:cNvGrpSpPr/>
          <p:nvPr/>
        </p:nvGrpSpPr>
        <p:grpSpPr>
          <a:xfrm>
            <a:off x="4312234" y="2579259"/>
            <a:ext cx="3587569" cy="3390230"/>
            <a:chOff x="4312234" y="2579259"/>
            <a:chExt cx="3587569" cy="3390230"/>
          </a:xfrm>
        </p:grpSpPr>
        <p:sp>
          <p:nvSpPr>
            <p:cNvPr id="68" name="Oval 67"/>
            <p:cNvSpPr/>
            <p:nvPr/>
          </p:nvSpPr>
          <p:spPr bwMode="auto">
            <a:xfrm>
              <a:off x="6001355" y="4125098"/>
              <a:ext cx="274320" cy="274320"/>
            </a:xfrm>
            <a:prstGeom prst="ellips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cxnSp>
          <p:nvCxnSpPr>
            <p:cNvPr id="69" name="Straight Connector 68"/>
            <p:cNvCxnSpPr/>
            <p:nvPr/>
          </p:nvCxnSpPr>
          <p:spPr bwMode="auto">
            <a:xfrm flipV="1">
              <a:off x="5782281" y="4381794"/>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70" name="Straight Connector 69"/>
            <p:cNvCxnSpPr/>
            <p:nvPr/>
          </p:nvCxnSpPr>
          <p:spPr bwMode="auto">
            <a:xfrm flipV="1">
              <a:off x="6344255" y="4065277"/>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71" name="Straight Connector 70"/>
            <p:cNvCxnSpPr/>
            <p:nvPr/>
          </p:nvCxnSpPr>
          <p:spPr bwMode="auto">
            <a:xfrm flipV="1">
              <a:off x="6138515" y="4484714"/>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72" name="Straight Connector 71"/>
            <p:cNvCxnSpPr/>
            <p:nvPr/>
          </p:nvCxnSpPr>
          <p:spPr bwMode="auto">
            <a:xfrm flipV="1">
              <a:off x="6138515" y="3875210"/>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73" name="Straight Connector 72"/>
            <p:cNvCxnSpPr/>
            <p:nvPr/>
          </p:nvCxnSpPr>
          <p:spPr bwMode="auto">
            <a:xfrm>
              <a:off x="5782281" y="4063189"/>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74" name="Straight Connector 73"/>
            <p:cNvCxnSpPr/>
            <p:nvPr/>
          </p:nvCxnSpPr>
          <p:spPr bwMode="auto">
            <a:xfrm>
              <a:off x="6344255" y="4379706"/>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sp>
          <p:nvSpPr>
            <p:cNvPr id="75" name="Oval 74"/>
            <p:cNvSpPr>
              <a:spLocks noChangeAspect="1"/>
            </p:cNvSpPr>
            <p:nvPr/>
          </p:nvSpPr>
          <p:spPr bwMode="auto">
            <a:xfrm>
              <a:off x="5018958" y="3488923"/>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76" name="Oval 75"/>
            <p:cNvSpPr>
              <a:spLocks noChangeAspect="1"/>
            </p:cNvSpPr>
            <p:nvPr/>
          </p:nvSpPr>
          <p:spPr bwMode="auto">
            <a:xfrm>
              <a:off x="5772755" y="3058393"/>
              <a:ext cx="731520" cy="731520"/>
            </a:xfrm>
            <a:prstGeom prst="ellipse">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77" name="Oval 76"/>
            <p:cNvSpPr>
              <a:spLocks noChangeAspect="1"/>
            </p:cNvSpPr>
            <p:nvPr/>
          </p:nvSpPr>
          <p:spPr bwMode="auto">
            <a:xfrm>
              <a:off x="5018958" y="4298834"/>
              <a:ext cx="731520" cy="731520"/>
            </a:xfrm>
            <a:prstGeom prst="ellipse">
              <a:avLst/>
            </a:prstGeom>
            <a:solidFill>
              <a:srgbClr val="92D05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78" name="Oval 77"/>
            <p:cNvSpPr>
              <a:spLocks noChangeAspect="1"/>
            </p:cNvSpPr>
            <p:nvPr/>
          </p:nvSpPr>
          <p:spPr bwMode="auto">
            <a:xfrm>
              <a:off x="6523909" y="3488923"/>
              <a:ext cx="731520" cy="731520"/>
            </a:xfrm>
            <a:prstGeom prst="ellipse">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79" name="Oval 78"/>
            <p:cNvSpPr>
              <a:spLocks noChangeAspect="1"/>
            </p:cNvSpPr>
            <p:nvPr/>
          </p:nvSpPr>
          <p:spPr bwMode="auto">
            <a:xfrm>
              <a:off x="6523909" y="4298834"/>
              <a:ext cx="731520" cy="731520"/>
            </a:xfrm>
            <a:prstGeom prst="ellipse">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80" name="Oval 79"/>
            <p:cNvSpPr>
              <a:spLocks noChangeAspect="1"/>
            </p:cNvSpPr>
            <p:nvPr/>
          </p:nvSpPr>
          <p:spPr bwMode="auto">
            <a:xfrm>
              <a:off x="5775136" y="4734603"/>
              <a:ext cx="731520" cy="731520"/>
            </a:xfrm>
            <a:prstGeom prst="ellipse">
              <a:avLst/>
            </a:prstGeom>
            <a:solidFill>
              <a:srgbClr val="92D05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81" name="Freeform 3"/>
            <p:cNvSpPr>
              <a:spLocks noChangeAspect="1" noEditPoints="1"/>
            </p:cNvSpPr>
            <p:nvPr/>
          </p:nvSpPr>
          <p:spPr bwMode="auto">
            <a:xfrm>
              <a:off x="6648102" y="3671803"/>
              <a:ext cx="483134" cy="365760"/>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2" name="Freeform 3"/>
            <p:cNvSpPr>
              <a:spLocks noChangeAspect="1" noEditPoints="1"/>
            </p:cNvSpPr>
            <p:nvPr/>
          </p:nvSpPr>
          <p:spPr bwMode="auto">
            <a:xfrm>
              <a:off x="5904892" y="3119353"/>
              <a:ext cx="467247" cy="548640"/>
            </a:xfrm>
            <a:custGeom>
              <a:avLst/>
              <a:gdLst>
                <a:gd name="T0" fmla="*/ 2147483647 w 384"/>
                <a:gd name="T1" fmla="*/ 2147483647 h 451"/>
                <a:gd name="T2" fmla="*/ 2147483647 w 384"/>
                <a:gd name="T3" fmla="*/ 2147483647 h 451"/>
                <a:gd name="T4" fmla="*/ 2147483647 w 384"/>
                <a:gd name="T5" fmla="*/ 2147483647 h 451"/>
                <a:gd name="T6" fmla="*/ 2147483647 w 384"/>
                <a:gd name="T7" fmla="*/ 2147483647 h 451"/>
                <a:gd name="T8" fmla="*/ 2147483647 w 384"/>
                <a:gd name="T9" fmla="*/ 2147483647 h 451"/>
                <a:gd name="T10" fmla="*/ 2147483647 w 384"/>
                <a:gd name="T11" fmla="*/ 2147483647 h 451"/>
                <a:gd name="T12" fmla="*/ 2147483647 w 384"/>
                <a:gd name="T13" fmla="*/ 2147483647 h 451"/>
                <a:gd name="T14" fmla="*/ 2147483647 w 384"/>
                <a:gd name="T15" fmla="*/ 2147483647 h 451"/>
                <a:gd name="T16" fmla="*/ 2147483647 w 384"/>
                <a:gd name="T17" fmla="*/ 2147483647 h 451"/>
                <a:gd name="T18" fmla="*/ 2147483647 w 384"/>
                <a:gd name="T19" fmla="*/ 2147483647 h 451"/>
                <a:gd name="T20" fmla="*/ 2147483647 w 384"/>
                <a:gd name="T21" fmla="*/ 2147483647 h 451"/>
                <a:gd name="T22" fmla="*/ 0 w 384"/>
                <a:gd name="T23" fmla="*/ 2147483647 h 451"/>
                <a:gd name="T24" fmla="*/ 0 w 384"/>
                <a:gd name="T25" fmla="*/ 2147483647 h 451"/>
                <a:gd name="T26" fmla="*/ 2147483647 w 384"/>
                <a:gd name="T27" fmla="*/ 2147483647 h 451"/>
                <a:gd name="T28" fmla="*/ 2147483647 w 384"/>
                <a:gd name="T29" fmla="*/ 2147483647 h 451"/>
                <a:gd name="T30" fmla="*/ 2147483647 w 384"/>
                <a:gd name="T31" fmla="*/ 2147483647 h 451"/>
                <a:gd name="T32" fmla="*/ 2147483647 w 384"/>
                <a:gd name="T33" fmla="*/ 2147483647 h 451"/>
                <a:gd name="T34" fmla="*/ 2147483647 w 384"/>
                <a:gd name="T35" fmla="*/ 2147483647 h 451"/>
                <a:gd name="T36" fmla="*/ 2147483647 w 384"/>
                <a:gd name="T37" fmla="*/ 2147483647 h 451"/>
                <a:gd name="T38" fmla="*/ 2147483647 w 384"/>
                <a:gd name="T39" fmla="*/ 2147483647 h 451"/>
                <a:gd name="T40" fmla="*/ 2147483647 w 384"/>
                <a:gd name="T41" fmla="*/ 2147483647 h 451"/>
                <a:gd name="T42" fmla="*/ 2147483647 w 384"/>
                <a:gd name="T43" fmla="*/ 2147483647 h 451"/>
                <a:gd name="T44" fmla="*/ 2147483647 w 384"/>
                <a:gd name="T45" fmla="*/ 2147483647 h 451"/>
                <a:gd name="T46" fmla="*/ 2147483647 w 384"/>
                <a:gd name="T47" fmla="*/ 2147483647 h 451"/>
                <a:gd name="T48" fmla="*/ 2147483647 w 384"/>
                <a:gd name="T49" fmla="*/ 2147483647 h 451"/>
                <a:gd name="T50" fmla="*/ 2147483647 w 384"/>
                <a:gd name="T51" fmla="*/ 2147483647 h 451"/>
                <a:gd name="T52" fmla="*/ 2147483647 w 384"/>
                <a:gd name="T53" fmla="*/ 2147483647 h 451"/>
                <a:gd name="T54" fmla="*/ 2147483647 w 384"/>
                <a:gd name="T55" fmla="*/ 2147483647 h 451"/>
                <a:gd name="T56" fmla="*/ 2147483647 w 384"/>
                <a:gd name="T57" fmla="*/ 2147483647 h 451"/>
                <a:gd name="T58" fmla="*/ 2147483647 w 384"/>
                <a:gd name="T59" fmla="*/ 2147483647 h 451"/>
                <a:gd name="T60" fmla="*/ 2147483647 w 384"/>
                <a:gd name="T61" fmla="*/ 2147483647 h 451"/>
                <a:gd name="T62" fmla="*/ 2147483647 w 384"/>
                <a:gd name="T63" fmla="*/ 2147483647 h 451"/>
                <a:gd name="T64" fmla="*/ 2147483647 w 384"/>
                <a:gd name="T65" fmla="*/ 2147483647 h 451"/>
                <a:gd name="T66" fmla="*/ 2147483647 w 384"/>
                <a:gd name="T67" fmla="*/ 2147483647 h 451"/>
                <a:gd name="T68" fmla="*/ 2147483647 w 384"/>
                <a:gd name="T69" fmla="*/ 2147483647 h 451"/>
                <a:gd name="T70" fmla="*/ 2147483647 w 384"/>
                <a:gd name="T71" fmla="*/ 2147483647 h 451"/>
                <a:gd name="T72" fmla="*/ 2147483647 w 384"/>
                <a:gd name="T73" fmla="*/ 2147483647 h 451"/>
                <a:gd name="T74" fmla="*/ 2147483647 w 384"/>
                <a:gd name="T75" fmla="*/ 2147483647 h 451"/>
                <a:gd name="T76" fmla="*/ 2147483647 w 384"/>
                <a:gd name="T77" fmla="*/ 2147483647 h 451"/>
                <a:gd name="T78" fmla="*/ 2147483647 w 384"/>
                <a:gd name="T79" fmla="*/ 2147483647 h 451"/>
                <a:gd name="T80" fmla="*/ 2147483647 w 384"/>
                <a:gd name="T81" fmla="*/ 2147483647 h 451"/>
                <a:gd name="T82" fmla="*/ 2147483647 w 384"/>
                <a:gd name="T83" fmla="*/ 2147483647 h 451"/>
                <a:gd name="T84" fmla="*/ 2147483647 w 384"/>
                <a:gd name="T85" fmla="*/ 2147483647 h 451"/>
                <a:gd name="T86" fmla="*/ 2147483647 w 384"/>
                <a:gd name="T87" fmla="*/ 2147483647 h 451"/>
                <a:gd name="T88" fmla="*/ 2147483647 w 384"/>
                <a:gd name="T89" fmla="*/ 2147483647 h 451"/>
                <a:gd name="T90" fmla="*/ 2147483647 w 384"/>
                <a:gd name="T91" fmla="*/ 2147483647 h 451"/>
                <a:gd name="T92" fmla="*/ 2147483647 w 384"/>
                <a:gd name="T93" fmla="*/ 2147483647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84" h="451">
                  <a:moveTo>
                    <a:pt x="240" y="101"/>
                  </a:moveTo>
                  <a:cubicBezTo>
                    <a:pt x="236" y="101"/>
                    <a:pt x="232" y="104"/>
                    <a:pt x="232" y="109"/>
                  </a:cubicBezTo>
                  <a:cubicBezTo>
                    <a:pt x="231" y="113"/>
                    <a:pt x="235" y="117"/>
                    <a:pt x="239" y="117"/>
                  </a:cubicBezTo>
                  <a:cubicBezTo>
                    <a:pt x="303" y="122"/>
                    <a:pt x="368" y="172"/>
                    <a:pt x="368" y="259"/>
                  </a:cubicBezTo>
                  <a:cubicBezTo>
                    <a:pt x="368" y="275"/>
                    <a:pt x="366" y="290"/>
                    <a:pt x="362" y="305"/>
                  </a:cubicBezTo>
                  <a:cubicBezTo>
                    <a:pt x="361" y="291"/>
                    <a:pt x="351" y="279"/>
                    <a:pt x="341" y="274"/>
                  </a:cubicBezTo>
                  <a:cubicBezTo>
                    <a:pt x="347" y="267"/>
                    <a:pt x="350" y="258"/>
                    <a:pt x="350" y="248"/>
                  </a:cubicBezTo>
                  <a:cubicBezTo>
                    <a:pt x="350" y="225"/>
                    <a:pt x="331" y="207"/>
                    <a:pt x="309" y="207"/>
                  </a:cubicBezTo>
                  <a:cubicBezTo>
                    <a:pt x="286" y="207"/>
                    <a:pt x="267" y="225"/>
                    <a:pt x="267" y="248"/>
                  </a:cubicBezTo>
                  <a:cubicBezTo>
                    <a:pt x="267" y="258"/>
                    <a:pt x="271" y="267"/>
                    <a:pt x="277" y="275"/>
                  </a:cubicBezTo>
                  <a:cubicBezTo>
                    <a:pt x="269" y="279"/>
                    <a:pt x="260" y="287"/>
                    <a:pt x="258" y="301"/>
                  </a:cubicBezTo>
                  <a:cubicBezTo>
                    <a:pt x="252" y="294"/>
                    <a:pt x="245" y="289"/>
                    <a:pt x="239" y="286"/>
                  </a:cubicBezTo>
                  <a:cubicBezTo>
                    <a:pt x="249" y="274"/>
                    <a:pt x="256" y="259"/>
                    <a:pt x="256" y="243"/>
                  </a:cubicBezTo>
                  <a:cubicBezTo>
                    <a:pt x="256" y="208"/>
                    <a:pt x="227" y="180"/>
                    <a:pt x="192" y="180"/>
                  </a:cubicBezTo>
                  <a:cubicBezTo>
                    <a:pt x="158" y="180"/>
                    <a:pt x="129" y="208"/>
                    <a:pt x="129" y="243"/>
                  </a:cubicBezTo>
                  <a:cubicBezTo>
                    <a:pt x="129" y="259"/>
                    <a:pt x="136" y="274"/>
                    <a:pt x="146" y="286"/>
                  </a:cubicBezTo>
                  <a:cubicBezTo>
                    <a:pt x="140" y="289"/>
                    <a:pt x="133" y="294"/>
                    <a:pt x="127" y="301"/>
                  </a:cubicBezTo>
                  <a:cubicBezTo>
                    <a:pt x="125" y="287"/>
                    <a:pt x="116" y="279"/>
                    <a:pt x="108" y="275"/>
                  </a:cubicBezTo>
                  <a:cubicBezTo>
                    <a:pt x="114" y="267"/>
                    <a:pt x="118" y="258"/>
                    <a:pt x="118" y="248"/>
                  </a:cubicBezTo>
                  <a:cubicBezTo>
                    <a:pt x="118" y="225"/>
                    <a:pt x="99" y="207"/>
                    <a:pt x="76" y="207"/>
                  </a:cubicBezTo>
                  <a:cubicBezTo>
                    <a:pt x="54" y="207"/>
                    <a:pt x="35" y="225"/>
                    <a:pt x="35" y="248"/>
                  </a:cubicBezTo>
                  <a:cubicBezTo>
                    <a:pt x="35" y="258"/>
                    <a:pt x="38" y="267"/>
                    <a:pt x="44" y="274"/>
                  </a:cubicBezTo>
                  <a:cubicBezTo>
                    <a:pt x="34" y="279"/>
                    <a:pt x="24" y="292"/>
                    <a:pt x="23" y="307"/>
                  </a:cubicBezTo>
                  <a:cubicBezTo>
                    <a:pt x="18" y="292"/>
                    <a:pt x="16" y="276"/>
                    <a:pt x="16" y="260"/>
                  </a:cubicBezTo>
                  <a:cubicBezTo>
                    <a:pt x="16" y="124"/>
                    <a:pt x="106" y="90"/>
                    <a:pt x="162" y="83"/>
                  </a:cubicBezTo>
                  <a:cubicBezTo>
                    <a:pt x="166" y="99"/>
                    <a:pt x="166" y="99"/>
                    <a:pt x="166" y="99"/>
                  </a:cubicBezTo>
                  <a:cubicBezTo>
                    <a:pt x="167" y="102"/>
                    <a:pt x="169" y="104"/>
                    <a:pt x="172" y="105"/>
                  </a:cubicBezTo>
                  <a:cubicBezTo>
                    <a:pt x="175" y="106"/>
                    <a:pt x="178" y="104"/>
                    <a:pt x="180" y="102"/>
                  </a:cubicBezTo>
                  <a:cubicBezTo>
                    <a:pt x="225" y="43"/>
                    <a:pt x="225" y="43"/>
                    <a:pt x="225" y="43"/>
                  </a:cubicBezTo>
                  <a:cubicBezTo>
                    <a:pt x="226" y="41"/>
                    <a:pt x="227" y="38"/>
                    <a:pt x="226" y="36"/>
                  </a:cubicBezTo>
                  <a:cubicBezTo>
                    <a:pt x="226" y="34"/>
                    <a:pt x="224" y="32"/>
                    <a:pt x="222" y="31"/>
                  </a:cubicBezTo>
                  <a:cubicBezTo>
                    <a:pt x="154" y="1"/>
                    <a:pt x="154" y="1"/>
                    <a:pt x="154" y="1"/>
                  </a:cubicBezTo>
                  <a:cubicBezTo>
                    <a:pt x="151" y="0"/>
                    <a:pt x="148" y="1"/>
                    <a:pt x="145" y="3"/>
                  </a:cubicBezTo>
                  <a:cubicBezTo>
                    <a:pt x="143" y="5"/>
                    <a:pt x="142" y="8"/>
                    <a:pt x="143" y="11"/>
                  </a:cubicBezTo>
                  <a:cubicBezTo>
                    <a:pt x="147" y="26"/>
                    <a:pt x="147" y="26"/>
                    <a:pt x="147" y="26"/>
                  </a:cubicBezTo>
                  <a:cubicBezTo>
                    <a:pt x="108" y="38"/>
                    <a:pt x="1" y="115"/>
                    <a:pt x="0" y="258"/>
                  </a:cubicBezTo>
                  <a:cubicBezTo>
                    <a:pt x="0" y="259"/>
                    <a:pt x="0" y="259"/>
                    <a:pt x="0" y="259"/>
                  </a:cubicBezTo>
                  <a:cubicBezTo>
                    <a:pt x="0" y="259"/>
                    <a:pt x="0" y="259"/>
                    <a:pt x="0" y="259"/>
                  </a:cubicBezTo>
                  <a:cubicBezTo>
                    <a:pt x="0" y="259"/>
                    <a:pt x="0" y="259"/>
                    <a:pt x="0" y="259"/>
                  </a:cubicBezTo>
                  <a:cubicBezTo>
                    <a:pt x="0" y="259"/>
                    <a:pt x="0" y="259"/>
                    <a:pt x="0" y="259"/>
                  </a:cubicBezTo>
                  <a:cubicBezTo>
                    <a:pt x="0" y="365"/>
                    <a:pt x="86" y="451"/>
                    <a:pt x="192" y="451"/>
                  </a:cubicBezTo>
                  <a:cubicBezTo>
                    <a:pt x="298" y="451"/>
                    <a:pt x="384" y="365"/>
                    <a:pt x="384" y="259"/>
                  </a:cubicBezTo>
                  <a:cubicBezTo>
                    <a:pt x="384" y="162"/>
                    <a:pt x="312" y="107"/>
                    <a:pt x="240" y="101"/>
                  </a:cubicBezTo>
                  <a:close/>
                  <a:moveTo>
                    <a:pt x="159" y="39"/>
                  </a:moveTo>
                  <a:cubicBezTo>
                    <a:pt x="161" y="39"/>
                    <a:pt x="163" y="37"/>
                    <a:pt x="164" y="35"/>
                  </a:cubicBezTo>
                  <a:cubicBezTo>
                    <a:pt x="165" y="34"/>
                    <a:pt x="165" y="31"/>
                    <a:pt x="165" y="29"/>
                  </a:cubicBezTo>
                  <a:cubicBezTo>
                    <a:pt x="163" y="23"/>
                    <a:pt x="163" y="23"/>
                    <a:pt x="163" y="23"/>
                  </a:cubicBezTo>
                  <a:cubicBezTo>
                    <a:pt x="206" y="41"/>
                    <a:pt x="206" y="41"/>
                    <a:pt x="206" y="41"/>
                  </a:cubicBezTo>
                  <a:cubicBezTo>
                    <a:pt x="177" y="79"/>
                    <a:pt x="177" y="79"/>
                    <a:pt x="177" y="79"/>
                  </a:cubicBezTo>
                  <a:cubicBezTo>
                    <a:pt x="176" y="74"/>
                    <a:pt x="176" y="74"/>
                    <a:pt x="176" y="74"/>
                  </a:cubicBezTo>
                  <a:cubicBezTo>
                    <a:pt x="175" y="71"/>
                    <a:pt x="172" y="68"/>
                    <a:pt x="169" y="68"/>
                  </a:cubicBezTo>
                  <a:cubicBezTo>
                    <a:pt x="169" y="68"/>
                    <a:pt x="168" y="68"/>
                    <a:pt x="167" y="68"/>
                  </a:cubicBezTo>
                  <a:cubicBezTo>
                    <a:pt x="163" y="69"/>
                    <a:pt x="163" y="69"/>
                    <a:pt x="163" y="69"/>
                  </a:cubicBezTo>
                  <a:cubicBezTo>
                    <a:pt x="143" y="71"/>
                    <a:pt x="106" y="75"/>
                    <a:pt x="75" y="99"/>
                  </a:cubicBezTo>
                  <a:cubicBezTo>
                    <a:pt x="110" y="51"/>
                    <a:pt x="158" y="39"/>
                    <a:pt x="159" y="39"/>
                  </a:cubicBezTo>
                  <a:close/>
                  <a:moveTo>
                    <a:pt x="76" y="223"/>
                  </a:moveTo>
                  <a:cubicBezTo>
                    <a:pt x="90" y="223"/>
                    <a:pt x="102" y="234"/>
                    <a:pt x="102" y="248"/>
                  </a:cubicBezTo>
                  <a:cubicBezTo>
                    <a:pt x="102" y="262"/>
                    <a:pt x="90" y="273"/>
                    <a:pt x="76" y="273"/>
                  </a:cubicBezTo>
                  <a:cubicBezTo>
                    <a:pt x="62" y="273"/>
                    <a:pt x="51" y="262"/>
                    <a:pt x="51" y="248"/>
                  </a:cubicBezTo>
                  <a:cubicBezTo>
                    <a:pt x="51" y="234"/>
                    <a:pt x="62" y="223"/>
                    <a:pt x="76" y="223"/>
                  </a:cubicBezTo>
                  <a:close/>
                  <a:moveTo>
                    <a:pt x="112" y="415"/>
                  </a:moveTo>
                  <a:cubicBezTo>
                    <a:pt x="111" y="415"/>
                    <a:pt x="111" y="415"/>
                    <a:pt x="111" y="415"/>
                  </a:cubicBezTo>
                  <a:cubicBezTo>
                    <a:pt x="109" y="414"/>
                    <a:pt x="107" y="413"/>
                    <a:pt x="106" y="412"/>
                  </a:cubicBezTo>
                  <a:cubicBezTo>
                    <a:pt x="105" y="412"/>
                    <a:pt x="104" y="411"/>
                    <a:pt x="103" y="410"/>
                  </a:cubicBezTo>
                  <a:cubicBezTo>
                    <a:pt x="100" y="409"/>
                    <a:pt x="98" y="407"/>
                    <a:pt x="95" y="406"/>
                  </a:cubicBezTo>
                  <a:cubicBezTo>
                    <a:pt x="94" y="405"/>
                    <a:pt x="93" y="404"/>
                    <a:pt x="91" y="403"/>
                  </a:cubicBezTo>
                  <a:cubicBezTo>
                    <a:pt x="89" y="402"/>
                    <a:pt x="88" y="401"/>
                    <a:pt x="86" y="399"/>
                  </a:cubicBezTo>
                  <a:cubicBezTo>
                    <a:pt x="84" y="398"/>
                    <a:pt x="83" y="397"/>
                    <a:pt x="81" y="395"/>
                  </a:cubicBezTo>
                  <a:cubicBezTo>
                    <a:pt x="80" y="395"/>
                    <a:pt x="80" y="394"/>
                    <a:pt x="79" y="394"/>
                  </a:cubicBezTo>
                  <a:cubicBezTo>
                    <a:pt x="63" y="380"/>
                    <a:pt x="49" y="364"/>
                    <a:pt x="39" y="345"/>
                  </a:cubicBezTo>
                  <a:cubicBezTo>
                    <a:pt x="39" y="309"/>
                    <a:pt x="39" y="309"/>
                    <a:pt x="39" y="309"/>
                  </a:cubicBezTo>
                  <a:cubicBezTo>
                    <a:pt x="39" y="297"/>
                    <a:pt x="50" y="287"/>
                    <a:pt x="55" y="286"/>
                  </a:cubicBezTo>
                  <a:cubicBezTo>
                    <a:pt x="56" y="286"/>
                    <a:pt x="57" y="285"/>
                    <a:pt x="58" y="285"/>
                  </a:cubicBezTo>
                  <a:cubicBezTo>
                    <a:pt x="63" y="288"/>
                    <a:pt x="70" y="289"/>
                    <a:pt x="76" y="289"/>
                  </a:cubicBezTo>
                  <a:cubicBezTo>
                    <a:pt x="83" y="289"/>
                    <a:pt x="88" y="288"/>
                    <a:pt x="94" y="286"/>
                  </a:cubicBezTo>
                  <a:cubicBezTo>
                    <a:pt x="94" y="286"/>
                    <a:pt x="94" y="286"/>
                    <a:pt x="94" y="286"/>
                  </a:cubicBezTo>
                  <a:cubicBezTo>
                    <a:pt x="104" y="290"/>
                    <a:pt x="112" y="294"/>
                    <a:pt x="112" y="308"/>
                  </a:cubicBezTo>
                  <a:lnTo>
                    <a:pt x="112" y="415"/>
                  </a:lnTo>
                  <a:close/>
                  <a:moveTo>
                    <a:pt x="145" y="243"/>
                  </a:moveTo>
                  <a:cubicBezTo>
                    <a:pt x="145" y="217"/>
                    <a:pt x="167" y="196"/>
                    <a:pt x="192" y="196"/>
                  </a:cubicBezTo>
                  <a:cubicBezTo>
                    <a:pt x="218" y="196"/>
                    <a:pt x="240" y="217"/>
                    <a:pt x="240" y="243"/>
                  </a:cubicBezTo>
                  <a:cubicBezTo>
                    <a:pt x="240" y="269"/>
                    <a:pt x="218" y="290"/>
                    <a:pt x="192" y="290"/>
                  </a:cubicBezTo>
                  <a:cubicBezTo>
                    <a:pt x="167" y="290"/>
                    <a:pt x="145" y="269"/>
                    <a:pt x="145" y="243"/>
                  </a:cubicBezTo>
                  <a:close/>
                  <a:moveTo>
                    <a:pt x="257" y="422"/>
                  </a:moveTo>
                  <a:cubicBezTo>
                    <a:pt x="256" y="423"/>
                    <a:pt x="255" y="423"/>
                    <a:pt x="253" y="424"/>
                  </a:cubicBezTo>
                  <a:cubicBezTo>
                    <a:pt x="253" y="424"/>
                    <a:pt x="252" y="424"/>
                    <a:pt x="252" y="424"/>
                  </a:cubicBezTo>
                  <a:cubicBezTo>
                    <a:pt x="250" y="425"/>
                    <a:pt x="248" y="426"/>
                    <a:pt x="247" y="426"/>
                  </a:cubicBezTo>
                  <a:cubicBezTo>
                    <a:pt x="245" y="427"/>
                    <a:pt x="244" y="427"/>
                    <a:pt x="243" y="427"/>
                  </a:cubicBezTo>
                  <a:cubicBezTo>
                    <a:pt x="242" y="428"/>
                    <a:pt x="241" y="428"/>
                    <a:pt x="240" y="428"/>
                  </a:cubicBezTo>
                  <a:cubicBezTo>
                    <a:pt x="238" y="429"/>
                    <a:pt x="236" y="429"/>
                    <a:pt x="234" y="430"/>
                  </a:cubicBezTo>
                  <a:cubicBezTo>
                    <a:pt x="234" y="430"/>
                    <a:pt x="233" y="430"/>
                    <a:pt x="233" y="430"/>
                  </a:cubicBezTo>
                  <a:cubicBezTo>
                    <a:pt x="218" y="434"/>
                    <a:pt x="202" y="435"/>
                    <a:pt x="186" y="435"/>
                  </a:cubicBezTo>
                  <a:cubicBezTo>
                    <a:pt x="186" y="435"/>
                    <a:pt x="185" y="435"/>
                    <a:pt x="185" y="435"/>
                  </a:cubicBezTo>
                  <a:cubicBezTo>
                    <a:pt x="183" y="435"/>
                    <a:pt x="180" y="434"/>
                    <a:pt x="178" y="434"/>
                  </a:cubicBezTo>
                  <a:cubicBezTo>
                    <a:pt x="178" y="434"/>
                    <a:pt x="177" y="434"/>
                    <a:pt x="176" y="434"/>
                  </a:cubicBezTo>
                  <a:cubicBezTo>
                    <a:pt x="174" y="434"/>
                    <a:pt x="172" y="434"/>
                    <a:pt x="170" y="433"/>
                  </a:cubicBezTo>
                  <a:cubicBezTo>
                    <a:pt x="169" y="433"/>
                    <a:pt x="168" y="433"/>
                    <a:pt x="168" y="433"/>
                  </a:cubicBezTo>
                  <a:cubicBezTo>
                    <a:pt x="166" y="433"/>
                    <a:pt x="163" y="433"/>
                    <a:pt x="161" y="432"/>
                  </a:cubicBezTo>
                  <a:cubicBezTo>
                    <a:pt x="161" y="432"/>
                    <a:pt x="160" y="432"/>
                    <a:pt x="159" y="432"/>
                  </a:cubicBezTo>
                  <a:cubicBezTo>
                    <a:pt x="157" y="431"/>
                    <a:pt x="155" y="431"/>
                    <a:pt x="153" y="430"/>
                  </a:cubicBezTo>
                  <a:cubicBezTo>
                    <a:pt x="152" y="430"/>
                    <a:pt x="152" y="430"/>
                    <a:pt x="151" y="430"/>
                  </a:cubicBezTo>
                  <a:cubicBezTo>
                    <a:pt x="149" y="430"/>
                    <a:pt x="147" y="429"/>
                    <a:pt x="145" y="428"/>
                  </a:cubicBezTo>
                  <a:cubicBezTo>
                    <a:pt x="144" y="428"/>
                    <a:pt x="144" y="428"/>
                    <a:pt x="143" y="428"/>
                  </a:cubicBezTo>
                  <a:cubicBezTo>
                    <a:pt x="141" y="427"/>
                    <a:pt x="139" y="427"/>
                    <a:pt x="136" y="426"/>
                  </a:cubicBezTo>
                  <a:cubicBezTo>
                    <a:pt x="136" y="426"/>
                    <a:pt x="136" y="426"/>
                    <a:pt x="135" y="425"/>
                  </a:cubicBezTo>
                  <a:cubicBezTo>
                    <a:pt x="133" y="425"/>
                    <a:pt x="131" y="424"/>
                    <a:pt x="128" y="423"/>
                  </a:cubicBezTo>
                  <a:cubicBezTo>
                    <a:pt x="128" y="423"/>
                    <a:pt x="128" y="423"/>
                    <a:pt x="128" y="423"/>
                  </a:cubicBezTo>
                  <a:cubicBezTo>
                    <a:pt x="128" y="340"/>
                    <a:pt x="128" y="340"/>
                    <a:pt x="128" y="340"/>
                  </a:cubicBezTo>
                  <a:cubicBezTo>
                    <a:pt x="128" y="316"/>
                    <a:pt x="147" y="303"/>
                    <a:pt x="160" y="297"/>
                  </a:cubicBezTo>
                  <a:cubicBezTo>
                    <a:pt x="169" y="302"/>
                    <a:pt x="181" y="306"/>
                    <a:pt x="192" y="306"/>
                  </a:cubicBezTo>
                  <a:cubicBezTo>
                    <a:pt x="204" y="306"/>
                    <a:pt x="216" y="302"/>
                    <a:pt x="225" y="297"/>
                  </a:cubicBezTo>
                  <a:cubicBezTo>
                    <a:pt x="238" y="303"/>
                    <a:pt x="257" y="316"/>
                    <a:pt x="257" y="340"/>
                  </a:cubicBezTo>
                  <a:lnTo>
                    <a:pt x="257" y="422"/>
                  </a:lnTo>
                  <a:close/>
                  <a:moveTo>
                    <a:pt x="309" y="223"/>
                  </a:moveTo>
                  <a:cubicBezTo>
                    <a:pt x="323" y="223"/>
                    <a:pt x="334" y="234"/>
                    <a:pt x="334" y="248"/>
                  </a:cubicBezTo>
                  <a:cubicBezTo>
                    <a:pt x="334" y="262"/>
                    <a:pt x="323" y="273"/>
                    <a:pt x="309" y="273"/>
                  </a:cubicBezTo>
                  <a:cubicBezTo>
                    <a:pt x="295" y="273"/>
                    <a:pt x="283" y="262"/>
                    <a:pt x="283" y="248"/>
                  </a:cubicBezTo>
                  <a:cubicBezTo>
                    <a:pt x="283" y="234"/>
                    <a:pt x="295" y="223"/>
                    <a:pt x="309" y="223"/>
                  </a:cubicBezTo>
                  <a:close/>
                  <a:moveTo>
                    <a:pt x="346" y="344"/>
                  </a:moveTo>
                  <a:cubicBezTo>
                    <a:pt x="330" y="374"/>
                    <a:pt x="304" y="399"/>
                    <a:pt x="273" y="415"/>
                  </a:cubicBezTo>
                  <a:cubicBezTo>
                    <a:pt x="273" y="308"/>
                    <a:pt x="273" y="308"/>
                    <a:pt x="273" y="308"/>
                  </a:cubicBezTo>
                  <a:cubicBezTo>
                    <a:pt x="273" y="294"/>
                    <a:pt x="281" y="290"/>
                    <a:pt x="291" y="286"/>
                  </a:cubicBezTo>
                  <a:cubicBezTo>
                    <a:pt x="291" y="286"/>
                    <a:pt x="291" y="286"/>
                    <a:pt x="291" y="286"/>
                  </a:cubicBezTo>
                  <a:cubicBezTo>
                    <a:pt x="297" y="288"/>
                    <a:pt x="302" y="289"/>
                    <a:pt x="309" y="289"/>
                  </a:cubicBezTo>
                  <a:cubicBezTo>
                    <a:pt x="315" y="289"/>
                    <a:pt x="322" y="288"/>
                    <a:pt x="327" y="285"/>
                  </a:cubicBezTo>
                  <a:cubicBezTo>
                    <a:pt x="328" y="285"/>
                    <a:pt x="329" y="286"/>
                    <a:pt x="330" y="286"/>
                  </a:cubicBezTo>
                  <a:cubicBezTo>
                    <a:pt x="335" y="287"/>
                    <a:pt x="346" y="297"/>
                    <a:pt x="346" y="309"/>
                  </a:cubicBezTo>
                  <a:lnTo>
                    <a:pt x="346" y="344"/>
                  </a:lnTo>
                  <a:close/>
                  <a:moveTo>
                    <a:pt x="231" y="326"/>
                  </a:moveTo>
                  <a:cubicBezTo>
                    <a:pt x="227" y="326"/>
                    <a:pt x="223" y="330"/>
                    <a:pt x="223" y="334"/>
                  </a:cubicBezTo>
                  <a:cubicBezTo>
                    <a:pt x="223" y="406"/>
                    <a:pt x="223" y="406"/>
                    <a:pt x="223" y="406"/>
                  </a:cubicBezTo>
                  <a:cubicBezTo>
                    <a:pt x="223" y="410"/>
                    <a:pt x="227" y="414"/>
                    <a:pt x="231" y="414"/>
                  </a:cubicBezTo>
                  <a:cubicBezTo>
                    <a:pt x="236" y="414"/>
                    <a:pt x="239" y="410"/>
                    <a:pt x="239" y="406"/>
                  </a:cubicBezTo>
                  <a:cubicBezTo>
                    <a:pt x="239" y="334"/>
                    <a:pt x="239" y="334"/>
                    <a:pt x="239" y="334"/>
                  </a:cubicBezTo>
                  <a:cubicBezTo>
                    <a:pt x="239" y="330"/>
                    <a:pt x="236" y="326"/>
                    <a:pt x="231" y="326"/>
                  </a:cubicBezTo>
                  <a:close/>
                  <a:moveTo>
                    <a:pt x="153" y="326"/>
                  </a:moveTo>
                  <a:cubicBezTo>
                    <a:pt x="149" y="326"/>
                    <a:pt x="145" y="330"/>
                    <a:pt x="145" y="334"/>
                  </a:cubicBezTo>
                  <a:cubicBezTo>
                    <a:pt x="145" y="406"/>
                    <a:pt x="145" y="406"/>
                    <a:pt x="145" y="406"/>
                  </a:cubicBezTo>
                  <a:cubicBezTo>
                    <a:pt x="145" y="410"/>
                    <a:pt x="149" y="414"/>
                    <a:pt x="153" y="414"/>
                  </a:cubicBezTo>
                  <a:cubicBezTo>
                    <a:pt x="158" y="414"/>
                    <a:pt x="161" y="410"/>
                    <a:pt x="161" y="406"/>
                  </a:cubicBezTo>
                  <a:cubicBezTo>
                    <a:pt x="161" y="334"/>
                    <a:pt x="161" y="334"/>
                    <a:pt x="161" y="334"/>
                  </a:cubicBezTo>
                  <a:cubicBezTo>
                    <a:pt x="161" y="330"/>
                    <a:pt x="158" y="326"/>
                    <a:pt x="153" y="3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3" name="Freeform 3"/>
            <p:cNvSpPr>
              <a:spLocks noChangeAspect="1" noEditPoints="1"/>
            </p:cNvSpPr>
            <p:nvPr/>
          </p:nvSpPr>
          <p:spPr bwMode="auto">
            <a:xfrm>
              <a:off x="5123775" y="3708379"/>
              <a:ext cx="521886" cy="292608"/>
            </a:xfrm>
            <a:custGeom>
              <a:avLst/>
              <a:gdLst>
                <a:gd name="T0" fmla="*/ 2147483647 w 478"/>
                <a:gd name="T1" fmla="*/ 2147483647 h 268"/>
                <a:gd name="T2" fmla="*/ 2147483647 w 478"/>
                <a:gd name="T3" fmla="*/ 2147483647 h 268"/>
                <a:gd name="T4" fmla="*/ 2147483647 w 478"/>
                <a:gd name="T5" fmla="*/ 2147483647 h 268"/>
                <a:gd name="T6" fmla="*/ 2147483647 w 478"/>
                <a:gd name="T7" fmla="*/ 2147483647 h 268"/>
                <a:gd name="T8" fmla="*/ 2147483647 w 478"/>
                <a:gd name="T9" fmla="*/ 2147483647 h 268"/>
                <a:gd name="T10" fmla="*/ 2147483647 w 478"/>
                <a:gd name="T11" fmla="*/ 2147483647 h 268"/>
                <a:gd name="T12" fmla="*/ 2147483647 w 478"/>
                <a:gd name="T13" fmla="*/ 2147483647 h 268"/>
                <a:gd name="T14" fmla="*/ 2147483647 w 478"/>
                <a:gd name="T15" fmla="*/ 2147483647 h 268"/>
                <a:gd name="T16" fmla="*/ 2147483647 w 478"/>
                <a:gd name="T17" fmla="*/ 2147483647 h 268"/>
                <a:gd name="T18" fmla="*/ 2147483647 w 478"/>
                <a:gd name="T19" fmla="*/ 2147483647 h 268"/>
                <a:gd name="T20" fmla="*/ 2147483647 w 478"/>
                <a:gd name="T21" fmla="*/ 2147483647 h 268"/>
                <a:gd name="T22" fmla="*/ 2147483647 w 478"/>
                <a:gd name="T23" fmla="*/ 2147483647 h 268"/>
                <a:gd name="T24" fmla="*/ 2147483647 w 478"/>
                <a:gd name="T25" fmla="*/ 2147483647 h 268"/>
                <a:gd name="T26" fmla="*/ 2147483647 w 478"/>
                <a:gd name="T27" fmla="*/ 2147483647 h 268"/>
                <a:gd name="T28" fmla="*/ 2147483647 w 478"/>
                <a:gd name="T29" fmla="*/ 2147483647 h 268"/>
                <a:gd name="T30" fmla="*/ 2147483647 w 478"/>
                <a:gd name="T31" fmla="*/ 2147483647 h 268"/>
                <a:gd name="T32" fmla="*/ 2147483647 w 478"/>
                <a:gd name="T33" fmla="*/ 0 h 268"/>
                <a:gd name="T34" fmla="*/ 2147483647 w 478"/>
                <a:gd name="T35" fmla="*/ 2147483647 h 268"/>
                <a:gd name="T36" fmla="*/ 2147483647 w 478"/>
                <a:gd name="T37" fmla="*/ 2147483647 h 268"/>
                <a:gd name="T38" fmla="*/ 2147483647 w 478"/>
                <a:gd name="T39" fmla="*/ 2147483647 h 268"/>
                <a:gd name="T40" fmla="*/ 2147483647 w 478"/>
                <a:gd name="T41" fmla="*/ 2147483647 h 268"/>
                <a:gd name="T42" fmla="*/ 0 w 478"/>
                <a:gd name="T43" fmla="*/ 2147483647 h 268"/>
                <a:gd name="T44" fmla="*/ 2147483647 w 478"/>
                <a:gd name="T45" fmla="*/ 2147483647 h 268"/>
                <a:gd name="T46" fmla="*/ 2147483647 w 478"/>
                <a:gd name="T47" fmla="*/ 2147483647 h 268"/>
                <a:gd name="T48" fmla="*/ 2147483647 w 478"/>
                <a:gd name="T49" fmla="*/ 2147483647 h 268"/>
                <a:gd name="T50" fmla="*/ 2147483647 w 478"/>
                <a:gd name="T51" fmla="*/ 2147483647 h 268"/>
                <a:gd name="T52" fmla="*/ 2147483647 w 478"/>
                <a:gd name="T53" fmla="*/ 2147483647 h 268"/>
                <a:gd name="T54" fmla="*/ 2147483647 w 478"/>
                <a:gd name="T55" fmla="*/ 2147483647 h 268"/>
                <a:gd name="T56" fmla="*/ 2147483647 w 478"/>
                <a:gd name="T57" fmla="*/ 2147483647 h 268"/>
                <a:gd name="T58" fmla="*/ 2147483647 w 478"/>
                <a:gd name="T59" fmla="*/ 2147483647 h 268"/>
                <a:gd name="T60" fmla="*/ 2147483647 w 478"/>
                <a:gd name="T61" fmla="*/ 2147483647 h 268"/>
                <a:gd name="T62" fmla="*/ 2147483647 w 478"/>
                <a:gd name="T63" fmla="*/ 2147483647 h 268"/>
                <a:gd name="T64" fmla="*/ 2147483647 w 478"/>
                <a:gd name="T65" fmla="*/ 2147483647 h 268"/>
                <a:gd name="T66" fmla="*/ 2147483647 w 478"/>
                <a:gd name="T67" fmla="*/ 2147483647 h 268"/>
                <a:gd name="T68" fmla="*/ 2147483647 w 478"/>
                <a:gd name="T69" fmla="*/ 2147483647 h 268"/>
                <a:gd name="T70" fmla="*/ 2147483647 w 478"/>
                <a:gd name="T71" fmla="*/ 2147483647 h 268"/>
                <a:gd name="T72" fmla="*/ 2147483647 w 478"/>
                <a:gd name="T73" fmla="*/ 2147483647 h 268"/>
                <a:gd name="T74" fmla="*/ 2147483647 w 478"/>
                <a:gd name="T75" fmla="*/ 2147483647 h 268"/>
                <a:gd name="T76" fmla="*/ 2147483647 w 478"/>
                <a:gd name="T77" fmla="*/ 2147483647 h 268"/>
                <a:gd name="T78" fmla="*/ 2147483647 w 478"/>
                <a:gd name="T79" fmla="*/ 2147483647 h 268"/>
                <a:gd name="T80" fmla="*/ 2147483647 w 478"/>
                <a:gd name="T81" fmla="*/ 2147483647 h 268"/>
                <a:gd name="T82" fmla="*/ 2147483647 w 478"/>
                <a:gd name="T83" fmla="*/ 2147483647 h 268"/>
                <a:gd name="T84" fmla="*/ 2147483647 w 478"/>
                <a:gd name="T85" fmla="*/ 2147483647 h 268"/>
                <a:gd name="T86" fmla="*/ 2147483647 w 478"/>
                <a:gd name="T87" fmla="*/ 2147483647 h 268"/>
                <a:gd name="T88" fmla="*/ 2147483647 w 478"/>
                <a:gd name="T89" fmla="*/ 2147483647 h 268"/>
                <a:gd name="T90" fmla="*/ 2147483647 w 478"/>
                <a:gd name="T91" fmla="*/ 2147483647 h 268"/>
                <a:gd name="T92" fmla="*/ 2147483647 w 478"/>
                <a:gd name="T93" fmla="*/ 2147483647 h 268"/>
                <a:gd name="T94" fmla="*/ 2147483647 w 478"/>
                <a:gd name="T95" fmla="*/ 2147483647 h 268"/>
                <a:gd name="T96" fmla="*/ 2147483647 w 478"/>
                <a:gd name="T97" fmla="*/ 2147483647 h 268"/>
                <a:gd name="T98" fmla="*/ 2147483647 w 478"/>
                <a:gd name="T99" fmla="*/ 2147483647 h 268"/>
                <a:gd name="T100" fmla="*/ 2147483647 w 478"/>
                <a:gd name="T101" fmla="*/ 2147483647 h 268"/>
                <a:gd name="T102" fmla="*/ 2147483647 w 478"/>
                <a:gd name="T103" fmla="*/ 2147483647 h 268"/>
                <a:gd name="T104" fmla="*/ 2147483647 w 478"/>
                <a:gd name="T105" fmla="*/ 2147483647 h 268"/>
                <a:gd name="T106" fmla="*/ 2147483647 w 478"/>
                <a:gd name="T107" fmla="*/ 2147483647 h 268"/>
                <a:gd name="T108" fmla="*/ 2147483647 w 478"/>
                <a:gd name="T109" fmla="*/ 2147483647 h 268"/>
                <a:gd name="T110" fmla="*/ 2147483647 w 478"/>
                <a:gd name="T111" fmla="*/ 2147483647 h 268"/>
                <a:gd name="T112" fmla="*/ 2147483647 w 478"/>
                <a:gd name="T113" fmla="*/ 2147483647 h 268"/>
                <a:gd name="T114" fmla="*/ 2147483647 w 478"/>
                <a:gd name="T115" fmla="*/ 2147483647 h 268"/>
                <a:gd name="T116" fmla="*/ 2147483647 w 478"/>
                <a:gd name="T117" fmla="*/ 2147483647 h 268"/>
                <a:gd name="T118" fmla="*/ 2147483647 w 478"/>
                <a:gd name="T119" fmla="*/ 2147483647 h 268"/>
                <a:gd name="T120" fmla="*/ 2147483647 w 478"/>
                <a:gd name="T121" fmla="*/ 2147483647 h 268"/>
                <a:gd name="T122" fmla="*/ 2147483647 w 478"/>
                <a:gd name="T123" fmla="*/ 2147483647 h 2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8" h="268">
                  <a:moveTo>
                    <a:pt x="312" y="106"/>
                  </a:moveTo>
                  <a:cubicBezTo>
                    <a:pt x="312" y="101"/>
                    <a:pt x="308" y="98"/>
                    <a:pt x="304" y="98"/>
                  </a:cubicBezTo>
                  <a:cubicBezTo>
                    <a:pt x="68" y="98"/>
                    <a:pt x="68" y="98"/>
                    <a:pt x="68" y="98"/>
                  </a:cubicBezTo>
                  <a:cubicBezTo>
                    <a:pt x="64" y="98"/>
                    <a:pt x="60" y="101"/>
                    <a:pt x="60" y="106"/>
                  </a:cubicBezTo>
                  <a:cubicBezTo>
                    <a:pt x="60" y="110"/>
                    <a:pt x="64" y="114"/>
                    <a:pt x="68" y="114"/>
                  </a:cubicBezTo>
                  <a:cubicBezTo>
                    <a:pt x="304" y="114"/>
                    <a:pt x="304" y="114"/>
                    <a:pt x="304" y="114"/>
                  </a:cubicBezTo>
                  <a:cubicBezTo>
                    <a:pt x="308" y="114"/>
                    <a:pt x="312" y="110"/>
                    <a:pt x="312" y="106"/>
                  </a:cubicBezTo>
                  <a:close/>
                  <a:moveTo>
                    <a:pt x="312" y="50"/>
                  </a:moveTo>
                  <a:cubicBezTo>
                    <a:pt x="312" y="42"/>
                    <a:pt x="312" y="35"/>
                    <a:pt x="312" y="30"/>
                  </a:cubicBezTo>
                  <a:cubicBezTo>
                    <a:pt x="312" y="23"/>
                    <a:pt x="313" y="20"/>
                    <a:pt x="315" y="18"/>
                  </a:cubicBezTo>
                  <a:cubicBezTo>
                    <a:pt x="316" y="16"/>
                    <a:pt x="317" y="16"/>
                    <a:pt x="319" y="16"/>
                  </a:cubicBezTo>
                  <a:cubicBezTo>
                    <a:pt x="321" y="16"/>
                    <a:pt x="325" y="17"/>
                    <a:pt x="329" y="21"/>
                  </a:cubicBezTo>
                  <a:cubicBezTo>
                    <a:pt x="334" y="25"/>
                    <a:pt x="343" y="32"/>
                    <a:pt x="352" y="39"/>
                  </a:cubicBezTo>
                  <a:cubicBezTo>
                    <a:pt x="356" y="42"/>
                    <a:pt x="361" y="41"/>
                    <a:pt x="364" y="38"/>
                  </a:cubicBezTo>
                  <a:cubicBezTo>
                    <a:pt x="366" y="34"/>
                    <a:pt x="366" y="29"/>
                    <a:pt x="362" y="27"/>
                  </a:cubicBezTo>
                  <a:cubicBezTo>
                    <a:pt x="353" y="19"/>
                    <a:pt x="344" y="12"/>
                    <a:pt x="339" y="8"/>
                  </a:cubicBezTo>
                  <a:cubicBezTo>
                    <a:pt x="333" y="3"/>
                    <a:pt x="326" y="0"/>
                    <a:pt x="319" y="0"/>
                  </a:cubicBezTo>
                  <a:cubicBezTo>
                    <a:pt x="312" y="0"/>
                    <a:pt x="306" y="3"/>
                    <a:pt x="302" y="8"/>
                  </a:cubicBezTo>
                  <a:cubicBezTo>
                    <a:pt x="298" y="14"/>
                    <a:pt x="296" y="21"/>
                    <a:pt x="296" y="30"/>
                  </a:cubicBezTo>
                  <a:cubicBezTo>
                    <a:pt x="296" y="33"/>
                    <a:pt x="296" y="37"/>
                    <a:pt x="296" y="42"/>
                  </a:cubicBezTo>
                  <a:cubicBezTo>
                    <a:pt x="8" y="42"/>
                    <a:pt x="8" y="42"/>
                    <a:pt x="8" y="42"/>
                  </a:cubicBezTo>
                  <a:cubicBezTo>
                    <a:pt x="4" y="42"/>
                    <a:pt x="0" y="46"/>
                    <a:pt x="0" y="50"/>
                  </a:cubicBezTo>
                  <a:cubicBezTo>
                    <a:pt x="0" y="54"/>
                    <a:pt x="4" y="58"/>
                    <a:pt x="8" y="58"/>
                  </a:cubicBezTo>
                  <a:cubicBezTo>
                    <a:pt x="304" y="58"/>
                    <a:pt x="304" y="58"/>
                    <a:pt x="304" y="58"/>
                  </a:cubicBezTo>
                  <a:cubicBezTo>
                    <a:pt x="308" y="58"/>
                    <a:pt x="312" y="54"/>
                    <a:pt x="312" y="50"/>
                  </a:cubicBezTo>
                  <a:close/>
                  <a:moveTo>
                    <a:pt x="312" y="162"/>
                  </a:moveTo>
                  <a:cubicBezTo>
                    <a:pt x="312" y="157"/>
                    <a:pt x="308" y="154"/>
                    <a:pt x="304" y="154"/>
                  </a:cubicBezTo>
                  <a:cubicBezTo>
                    <a:pt x="130" y="154"/>
                    <a:pt x="130" y="154"/>
                    <a:pt x="130" y="154"/>
                  </a:cubicBezTo>
                  <a:cubicBezTo>
                    <a:pt x="126" y="154"/>
                    <a:pt x="122" y="157"/>
                    <a:pt x="122" y="162"/>
                  </a:cubicBezTo>
                  <a:cubicBezTo>
                    <a:pt x="122" y="166"/>
                    <a:pt x="126" y="170"/>
                    <a:pt x="130" y="170"/>
                  </a:cubicBezTo>
                  <a:cubicBezTo>
                    <a:pt x="304" y="170"/>
                    <a:pt x="304" y="170"/>
                    <a:pt x="304" y="170"/>
                  </a:cubicBezTo>
                  <a:cubicBezTo>
                    <a:pt x="308" y="170"/>
                    <a:pt x="312" y="166"/>
                    <a:pt x="312" y="162"/>
                  </a:cubicBezTo>
                  <a:close/>
                  <a:moveTo>
                    <a:pt x="464" y="107"/>
                  </a:moveTo>
                  <a:cubicBezTo>
                    <a:pt x="451" y="96"/>
                    <a:pt x="399" y="56"/>
                    <a:pt x="399" y="56"/>
                  </a:cubicBezTo>
                  <a:cubicBezTo>
                    <a:pt x="399" y="56"/>
                    <a:pt x="395" y="52"/>
                    <a:pt x="388" y="47"/>
                  </a:cubicBezTo>
                  <a:cubicBezTo>
                    <a:pt x="384" y="44"/>
                    <a:pt x="379" y="45"/>
                    <a:pt x="377" y="48"/>
                  </a:cubicBezTo>
                  <a:cubicBezTo>
                    <a:pt x="374" y="52"/>
                    <a:pt x="374" y="57"/>
                    <a:pt x="378" y="59"/>
                  </a:cubicBezTo>
                  <a:cubicBezTo>
                    <a:pt x="378" y="59"/>
                    <a:pt x="378" y="59"/>
                    <a:pt x="378" y="59"/>
                  </a:cubicBezTo>
                  <a:cubicBezTo>
                    <a:pt x="385" y="65"/>
                    <a:pt x="389" y="68"/>
                    <a:pt x="389" y="68"/>
                  </a:cubicBezTo>
                  <a:cubicBezTo>
                    <a:pt x="389" y="68"/>
                    <a:pt x="441" y="109"/>
                    <a:pt x="454" y="120"/>
                  </a:cubicBezTo>
                  <a:cubicBezTo>
                    <a:pt x="460" y="125"/>
                    <a:pt x="462" y="128"/>
                    <a:pt x="462" y="134"/>
                  </a:cubicBezTo>
                  <a:cubicBezTo>
                    <a:pt x="462" y="139"/>
                    <a:pt x="460" y="142"/>
                    <a:pt x="454" y="147"/>
                  </a:cubicBezTo>
                  <a:cubicBezTo>
                    <a:pt x="441" y="158"/>
                    <a:pt x="389" y="199"/>
                    <a:pt x="389" y="199"/>
                  </a:cubicBezTo>
                  <a:cubicBezTo>
                    <a:pt x="389" y="199"/>
                    <a:pt x="345" y="234"/>
                    <a:pt x="329" y="247"/>
                  </a:cubicBezTo>
                  <a:cubicBezTo>
                    <a:pt x="324" y="251"/>
                    <a:pt x="320" y="252"/>
                    <a:pt x="318" y="252"/>
                  </a:cubicBezTo>
                  <a:cubicBezTo>
                    <a:pt x="317" y="252"/>
                    <a:pt x="316" y="252"/>
                    <a:pt x="315" y="250"/>
                  </a:cubicBezTo>
                  <a:cubicBezTo>
                    <a:pt x="313" y="248"/>
                    <a:pt x="312" y="244"/>
                    <a:pt x="312" y="237"/>
                  </a:cubicBezTo>
                  <a:cubicBezTo>
                    <a:pt x="312" y="232"/>
                    <a:pt x="312" y="226"/>
                    <a:pt x="312" y="218"/>
                  </a:cubicBezTo>
                  <a:cubicBezTo>
                    <a:pt x="312" y="213"/>
                    <a:pt x="308" y="210"/>
                    <a:pt x="304" y="210"/>
                  </a:cubicBezTo>
                  <a:cubicBezTo>
                    <a:pt x="176" y="210"/>
                    <a:pt x="176" y="210"/>
                    <a:pt x="176" y="210"/>
                  </a:cubicBezTo>
                  <a:cubicBezTo>
                    <a:pt x="172" y="210"/>
                    <a:pt x="168" y="213"/>
                    <a:pt x="168" y="218"/>
                  </a:cubicBezTo>
                  <a:cubicBezTo>
                    <a:pt x="168" y="222"/>
                    <a:pt x="172" y="226"/>
                    <a:pt x="176" y="226"/>
                  </a:cubicBezTo>
                  <a:cubicBezTo>
                    <a:pt x="296" y="226"/>
                    <a:pt x="296" y="226"/>
                    <a:pt x="296" y="226"/>
                  </a:cubicBezTo>
                  <a:cubicBezTo>
                    <a:pt x="296" y="230"/>
                    <a:pt x="296" y="234"/>
                    <a:pt x="296" y="237"/>
                  </a:cubicBezTo>
                  <a:cubicBezTo>
                    <a:pt x="296" y="246"/>
                    <a:pt x="298" y="253"/>
                    <a:pt x="302" y="259"/>
                  </a:cubicBezTo>
                  <a:cubicBezTo>
                    <a:pt x="305" y="264"/>
                    <a:pt x="312" y="268"/>
                    <a:pt x="318" y="268"/>
                  </a:cubicBezTo>
                  <a:cubicBezTo>
                    <a:pt x="318" y="268"/>
                    <a:pt x="318" y="268"/>
                    <a:pt x="318" y="268"/>
                  </a:cubicBezTo>
                  <a:cubicBezTo>
                    <a:pt x="326" y="268"/>
                    <a:pt x="333" y="264"/>
                    <a:pt x="339" y="259"/>
                  </a:cubicBezTo>
                  <a:cubicBezTo>
                    <a:pt x="354" y="246"/>
                    <a:pt x="399" y="212"/>
                    <a:pt x="399" y="211"/>
                  </a:cubicBezTo>
                  <a:cubicBezTo>
                    <a:pt x="399" y="211"/>
                    <a:pt x="451" y="171"/>
                    <a:pt x="464" y="160"/>
                  </a:cubicBezTo>
                  <a:cubicBezTo>
                    <a:pt x="472" y="153"/>
                    <a:pt x="478" y="144"/>
                    <a:pt x="478" y="134"/>
                  </a:cubicBezTo>
                  <a:cubicBezTo>
                    <a:pt x="478" y="123"/>
                    <a:pt x="472" y="114"/>
                    <a:pt x="46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4" name="Freeform 3"/>
            <p:cNvSpPr>
              <a:spLocks noChangeAspect="1" noEditPoints="1"/>
            </p:cNvSpPr>
            <p:nvPr/>
          </p:nvSpPr>
          <p:spPr bwMode="auto">
            <a:xfrm>
              <a:off x="5110398" y="4500910"/>
              <a:ext cx="548640" cy="327368"/>
            </a:xfrm>
            <a:custGeom>
              <a:avLst/>
              <a:gdLst>
                <a:gd name="T0" fmla="*/ 2147483647 w 486"/>
                <a:gd name="T1" fmla="*/ 2147483647 h 290"/>
                <a:gd name="T2" fmla="*/ 2147483647 w 486"/>
                <a:gd name="T3" fmla="*/ 2147483647 h 290"/>
                <a:gd name="T4" fmla="*/ 2147483647 w 486"/>
                <a:gd name="T5" fmla="*/ 2147483647 h 290"/>
                <a:gd name="T6" fmla="*/ 2147483647 w 486"/>
                <a:gd name="T7" fmla="*/ 2147483647 h 290"/>
                <a:gd name="T8" fmla="*/ 2147483647 w 486"/>
                <a:gd name="T9" fmla="*/ 2147483647 h 290"/>
                <a:gd name="T10" fmla="*/ 2147483647 w 486"/>
                <a:gd name="T11" fmla="*/ 2147483647 h 290"/>
                <a:gd name="T12" fmla="*/ 2147483647 w 486"/>
                <a:gd name="T13" fmla="*/ 2147483647 h 290"/>
                <a:gd name="T14" fmla="*/ 2147483647 w 486"/>
                <a:gd name="T15" fmla="*/ 2147483647 h 290"/>
                <a:gd name="T16" fmla="*/ 2147483647 w 486"/>
                <a:gd name="T17" fmla="*/ 2147483647 h 290"/>
                <a:gd name="T18" fmla="*/ 2147483647 w 486"/>
                <a:gd name="T19" fmla="*/ 2147483647 h 290"/>
                <a:gd name="T20" fmla="*/ 2147483647 w 486"/>
                <a:gd name="T21" fmla="*/ 2147483647 h 290"/>
                <a:gd name="T22" fmla="*/ 2147483647 w 486"/>
                <a:gd name="T23" fmla="*/ 2147483647 h 290"/>
                <a:gd name="T24" fmla="*/ 2147483647 w 486"/>
                <a:gd name="T25" fmla="*/ 2147483647 h 290"/>
                <a:gd name="T26" fmla="*/ 2147483647 w 486"/>
                <a:gd name="T27" fmla="*/ 2147483647 h 290"/>
                <a:gd name="T28" fmla="*/ 2147483647 w 486"/>
                <a:gd name="T29" fmla="*/ 2147483647 h 290"/>
                <a:gd name="T30" fmla="*/ 2147483647 w 486"/>
                <a:gd name="T31" fmla="*/ 2147483647 h 290"/>
                <a:gd name="T32" fmla="*/ 2147483647 w 486"/>
                <a:gd name="T33" fmla="*/ 2147483647 h 290"/>
                <a:gd name="T34" fmla="*/ 2147483647 w 486"/>
                <a:gd name="T35" fmla="*/ 2147483647 h 290"/>
                <a:gd name="T36" fmla="*/ 2147483647 w 486"/>
                <a:gd name="T37" fmla="*/ 2147483647 h 290"/>
                <a:gd name="T38" fmla="*/ 2147483647 w 486"/>
                <a:gd name="T39" fmla="*/ 2147483647 h 290"/>
                <a:gd name="T40" fmla="*/ 2147483647 w 486"/>
                <a:gd name="T41" fmla="*/ 2147483647 h 290"/>
                <a:gd name="T42" fmla="*/ 2147483647 w 486"/>
                <a:gd name="T43" fmla="*/ 2147483647 h 290"/>
                <a:gd name="T44" fmla="*/ 2147483647 w 486"/>
                <a:gd name="T45" fmla="*/ 2147483647 h 290"/>
                <a:gd name="T46" fmla="*/ 2147483647 w 486"/>
                <a:gd name="T47" fmla="*/ 2147483647 h 290"/>
                <a:gd name="T48" fmla="*/ 2147483647 w 486"/>
                <a:gd name="T49" fmla="*/ 2147483647 h 290"/>
                <a:gd name="T50" fmla="*/ 2147483647 w 486"/>
                <a:gd name="T51" fmla="*/ 2147483647 h 290"/>
                <a:gd name="T52" fmla="*/ 2147483647 w 486"/>
                <a:gd name="T53" fmla="*/ 2147483647 h 290"/>
                <a:gd name="T54" fmla="*/ 2147483647 w 486"/>
                <a:gd name="T55" fmla="*/ 2147483647 h 290"/>
                <a:gd name="T56" fmla="*/ 2147483647 w 486"/>
                <a:gd name="T57" fmla="*/ 2147483647 h 290"/>
                <a:gd name="T58" fmla="*/ 2147483647 w 486"/>
                <a:gd name="T59" fmla="*/ 2147483647 h 290"/>
                <a:gd name="T60" fmla="*/ 2147483647 w 486"/>
                <a:gd name="T61" fmla="*/ 2147483647 h 290"/>
                <a:gd name="T62" fmla="*/ 2147483647 w 486"/>
                <a:gd name="T63" fmla="*/ 2147483647 h 290"/>
                <a:gd name="T64" fmla="*/ 2147483647 w 486"/>
                <a:gd name="T65" fmla="*/ 2147483647 h 290"/>
                <a:gd name="T66" fmla="*/ 2147483647 w 486"/>
                <a:gd name="T67" fmla="*/ 2147483647 h 290"/>
                <a:gd name="T68" fmla="*/ 2147483647 w 486"/>
                <a:gd name="T69" fmla="*/ 2147483647 h 290"/>
                <a:gd name="T70" fmla="*/ 2147483647 w 486"/>
                <a:gd name="T71" fmla="*/ 2147483647 h 290"/>
                <a:gd name="T72" fmla="*/ 2147483647 w 486"/>
                <a:gd name="T73" fmla="*/ 2147483647 h 290"/>
                <a:gd name="T74" fmla="*/ 2147483647 w 486"/>
                <a:gd name="T75" fmla="*/ 2147483647 h 290"/>
                <a:gd name="T76" fmla="*/ 2147483647 w 486"/>
                <a:gd name="T77" fmla="*/ 2147483647 h 290"/>
                <a:gd name="T78" fmla="*/ 2147483647 w 486"/>
                <a:gd name="T79" fmla="*/ 2147483647 h 290"/>
                <a:gd name="T80" fmla="*/ 2147483647 w 486"/>
                <a:gd name="T81" fmla="*/ 2147483647 h 290"/>
                <a:gd name="T82" fmla="*/ 2147483647 w 486"/>
                <a:gd name="T83" fmla="*/ 2147483647 h 290"/>
                <a:gd name="T84" fmla="*/ 2147483647 w 486"/>
                <a:gd name="T85" fmla="*/ 2147483647 h 290"/>
                <a:gd name="T86" fmla="*/ 2147483647 w 486"/>
                <a:gd name="T87" fmla="*/ 2147483647 h 290"/>
                <a:gd name="T88" fmla="*/ 2147483647 w 486"/>
                <a:gd name="T89" fmla="*/ 2147483647 h 290"/>
                <a:gd name="T90" fmla="*/ 2147483647 w 486"/>
                <a:gd name="T91" fmla="*/ 2147483647 h 290"/>
                <a:gd name="T92" fmla="*/ 2147483647 w 486"/>
                <a:gd name="T93" fmla="*/ 2147483647 h 290"/>
                <a:gd name="T94" fmla="*/ 2147483647 w 486"/>
                <a:gd name="T95" fmla="*/ 2147483647 h 290"/>
                <a:gd name="T96" fmla="*/ 2147483647 w 486"/>
                <a:gd name="T97" fmla="*/ 2147483647 h 290"/>
                <a:gd name="T98" fmla="*/ 2147483647 w 486"/>
                <a:gd name="T99" fmla="*/ 2147483647 h 290"/>
                <a:gd name="T100" fmla="*/ 2147483647 w 486"/>
                <a:gd name="T101" fmla="*/ 2147483647 h 290"/>
                <a:gd name="T102" fmla="*/ 2147483647 w 486"/>
                <a:gd name="T103" fmla="*/ 2147483647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86" h="290">
                  <a:moveTo>
                    <a:pt x="408" y="62"/>
                  </a:moveTo>
                  <a:cubicBezTo>
                    <a:pt x="414" y="65"/>
                    <a:pt x="421" y="66"/>
                    <a:pt x="426" y="66"/>
                  </a:cubicBezTo>
                  <a:cubicBezTo>
                    <a:pt x="478" y="66"/>
                    <a:pt x="478" y="66"/>
                    <a:pt x="478" y="66"/>
                  </a:cubicBezTo>
                  <a:cubicBezTo>
                    <a:pt x="483" y="66"/>
                    <a:pt x="486" y="63"/>
                    <a:pt x="486" y="58"/>
                  </a:cubicBezTo>
                  <a:cubicBezTo>
                    <a:pt x="486" y="54"/>
                    <a:pt x="483" y="50"/>
                    <a:pt x="478" y="50"/>
                  </a:cubicBezTo>
                  <a:cubicBezTo>
                    <a:pt x="426" y="50"/>
                    <a:pt x="426" y="50"/>
                    <a:pt x="426" y="50"/>
                  </a:cubicBezTo>
                  <a:cubicBezTo>
                    <a:pt x="424" y="50"/>
                    <a:pt x="418" y="49"/>
                    <a:pt x="413" y="47"/>
                  </a:cubicBezTo>
                  <a:cubicBezTo>
                    <a:pt x="409" y="46"/>
                    <a:pt x="405" y="48"/>
                    <a:pt x="403" y="52"/>
                  </a:cubicBezTo>
                  <a:cubicBezTo>
                    <a:pt x="402" y="56"/>
                    <a:pt x="404" y="61"/>
                    <a:pt x="408" y="62"/>
                  </a:cubicBezTo>
                  <a:close/>
                  <a:moveTo>
                    <a:pt x="478" y="189"/>
                  </a:moveTo>
                  <a:cubicBezTo>
                    <a:pt x="424" y="189"/>
                    <a:pt x="424" y="189"/>
                    <a:pt x="424" y="189"/>
                  </a:cubicBezTo>
                  <a:cubicBezTo>
                    <a:pt x="408" y="173"/>
                    <a:pt x="344" y="106"/>
                    <a:pt x="327" y="91"/>
                  </a:cubicBezTo>
                  <a:cubicBezTo>
                    <a:pt x="311" y="76"/>
                    <a:pt x="276" y="71"/>
                    <a:pt x="245" y="66"/>
                  </a:cubicBezTo>
                  <a:cubicBezTo>
                    <a:pt x="235" y="64"/>
                    <a:pt x="225" y="62"/>
                    <a:pt x="218" y="61"/>
                  </a:cubicBezTo>
                  <a:cubicBezTo>
                    <a:pt x="196" y="56"/>
                    <a:pt x="184" y="68"/>
                    <a:pt x="178" y="74"/>
                  </a:cubicBezTo>
                  <a:cubicBezTo>
                    <a:pt x="177" y="75"/>
                    <a:pt x="176" y="76"/>
                    <a:pt x="176" y="76"/>
                  </a:cubicBezTo>
                  <a:cubicBezTo>
                    <a:pt x="175" y="77"/>
                    <a:pt x="174" y="77"/>
                    <a:pt x="174" y="78"/>
                  </a:cubicBezTo>
                  <a:cubicBezTo>
                    <a:pt x="167" y="83"/>
                    <a:pt x="151" y="98"/>
                    <a:pt x="130" y="99"/>
                  </a:cubicBezTo>
                  <a:cubicBezTo>
                    <a:pt x="126" y="100"/>
                    <a:pt x="118" y="99"/>
                    <a:pt x="117" y="95"/>
                  </a:cubicBezTo>
                  <a:cubicBezTo>
                    <a:pt x="115" y="92"/>
                    <a:pt x="117" y="88"/>
                    <a:pt x="117" y="87"/>
                  </a:cubicBezTo>
                  <a:cubicBezTo>
                    <a:pt x="119" y="86"/>
                    <a:pt x="125" y="82"/>
                    <a:pt x="131" y="78"/>
                  </a:cubicBezTo>
                  <a:cubicBezTo>
                    <a:pt x="140" y="71"/>
                    <a:pt x="154" y="62"/>
                    <a:pt x="164" y="54"/>
                  </a:cubicBezTo>
                  <a:cubicBezTo>
                    <a:pt x="179" y="42"/>
                    <a:pt x="212" y="23"/>
                    <a:pt x="222" y="19"/>
                  </a:cubicBezTo>
                  <a:cubicBezTo>
                    <a:pt x="228" y="17"/>
                    <a:pt x="267" y="19"/>
                    <a:pt x="299" y="22"/>
                  </a:cubicBezTo>
                  <a:cubicBezTo>
                    <a:pt x="313" y="23"/>
                    <a:pt x="329" y="25"/>
                    <a:pt x="332" y="26"/>
                  </a:cubicBezTo>
                  <a:cubicBezTo>
                    <a:pt x="337" y="28"/>
                    <a:pt x="375" y="46"/>
                    <a:pt x="377" y="47"/>
                  </a:cubicBezTo>
                  <a:cubicBezTo>
                    <a:pt x="378" y="48"/>
                    <a:pt x="379" y="48"/>
                    <a:pt x="380" y="48"/>
                  </a:cubicBezTo>
                  <a:cubicBezTo>
                    <a:pt x="385" y="48"/>
                    <a:pt x="388" y="44"/>
                    <a:pt x="388" y="40"/>
                  </a:cubicBezTo>
                  <a:cubicBezTo>
                    <a:pt x="388" y="37"/>
                    <a:pt x="387" y="35"/>
                    <a:pt x="384" y="33"/>
                  </a:cubicBezTo>
                  <a:cubicBezTo>
                    <a:pt x="384" y="33"/>
                    <a:pt x="384" y="33"/>
                    <a:pt x="384" y="33"/>
                  </a:cubicBezTo>
                  <a:cubicBezTo>
                    <a:pt x="384" y="33"/>
                    <a:pt x="384" y="33"/>
                    <a:pt x="384" y="33"/>
                  </a:cubicBezTo>
                  <a:cubicBezTo>
                    <a:pt x="383" y="33"/>
                    <a:pt x="383" y="33"/>
                    <a:pt x="383" y="33"/>
                  </a:cubicBezTo>
                  <a:cubicBezTo>
                    <a:pt x="377" y="30"/>
                    <a:pt x="342" y="13"/>
                    <a:pt x="339" y="11"/>
                  </a:cubicBezTo>
                  <a:cubicBezTo>
                    <a:pt x="337" y="11"/>
                    <a:pt x="333" y="9"/>
                    <a:pt x="301" y="6"/>
                  </a:cubicBezTo>
                  <a:cubicBezTo>
                    <a:pt x="284" y="4"/>
                    <a:pt x="228" y="0"/>
                    <a:pt x="217" y="4"/>
                  </a:cubicBezTo>
                  <a:cubicBezTo>
                    <a:pt x="204" y="9"/>
                    <a:pt x="170" y="29"/>
                    <a:pt x="154" y="42"/>
                  </a:cubicBezTo>
                  <a:cubicBezTo>
                    <a:pt x="151" y="44"/>
                    <a:pt x="148" y="46"/>
                    <a:pt x="145" y="49"/>
                  </a:cubicBezTo>
                  <a:cubicBezTo>
                    <a:pt x="123" y="49"/>
                    <a:pt x="105" y="56"/>
                    <a:pt x="87" y="63"/>
                  </a:cubicBezTo>
                  <a:cubicBezTo>
                    <a:pt x="68" y="71"/>
                    <a:pt x="52" y="77"/>
                    <a:pt x="37" y="77"/>
                  </a:cubicBezTo>
                  <a:cubicBezTo>
                    <a:pt x="8" y="77"/>
                    <a:pt x="8" y="77"/>
                    <a:pt x="8" y="77"/>
                  </a:cubicBezTo>
                  <a:cubicBezTo>
                    <a:pt x="3" y="77"/>
                    <a:pt x="0" y="81"/>
                    <a:pt x="0" y="85"/>
                  </a:cubicBezTo>
                  <a:cubicBezTo>
                    <a:pt x="0" y="90"/>
                    <a:pt x="3" y="93"/>
                    <a:pt x="8" y="93"/>
                  </a:cubicBezTo>
                  <a:cubicBezTo>
                    <a:pt x="37" y="93"/>
                    <a:pt x="37" y="93"/>
                    <a:pt x="37" y="93"/>
                  </a:cubicBezTo>
                  <a:cubicBezTo>
                    <a:pt x="56" y="93"/>
                    <a:pt x="75" y="85"/>
                    <a:pt x="93" y="78"/>
                  </a:cubicBezTo>
                  <a:cubicBezTo>
                    <a:pt x="99" y="75"/>
                    <a:pt x="110" y="70"/>
                    <a:pt x="117" y="68"/>
                  </a:cubicBezTo>
                  <a:cubicBezTo>
                    <a:pt x="112" y="72"/>
                    <a:pt x="108" y="74"/>
                    <a:pt x="107" y="75"/>
                  </a:cubicBezTo>
                  <a:cubicBezTo>
                    <a:pt x="101" y="80"/>
                    <a:pt x="98" y="92"/>
                    <a:pt x="102" y="101"/>
                  </a:cubicBezTo>
                  <a:cubicBezTo>
                    <a:pt x="104" y="106"/>
                    <a:pt x="110" y="117"/>
                    <a:pt x="131" y="115"/>
                  </a:cubicBezTo>
                  <a:cubicBezTo>
                    <a:pt x="158" y="113"/>
                    <a:pt x="177" y="96"/>
                    <a:pt x="184" y="90"/>
                  </a:cubicBezTo>
                  <a:cubicBezTo>
                    <a:pt x="185" y="89"/>
                    <a:pt x="185" y="89"/>
                    <a:pt x="186" y="88"/>
                  </a:cubicBezTo>
                  <a:cubicBezTo>
                    <a:pt x="187" y="88"/>
                    <a:pt x="188" y="87"/>
                    <a:pt x="189" y="86"/>
                  </a:cubicBezTo>
                  <a:cubicBezTo>
                    <a:pt x="194" y="81"/>
                    <a:pt x="201" y="74"/>
                    <a:pt x="214" y="76"/>
                  </a:cubicBezTo>
                  <a:cubicBezTo>
                    <a:pt x="222" y="78"/>
                    <a:pt x="232" y="80"/>
                    <a:pt x="242" y="81"/>
                  </a:cubicBezTo>
                  <a:cubicBezTo>
                    <a:pt x="270" y="86"/>
                    <a:pt x="304" y="91"/>
                    <a:pt x="316" y="103"/>
                  </a:cubicBezTo>
                  <a:cubicBezTo>
                    <a:pt x="332" y="117"/>
                    <a:pt x="395" y="182"/>
                    <a:pt x="412" y="200"/>
                  </a:cubicBezTo>
                  <a:cubicBezTo>
                    <a:pt x="412" y="200"/>
                    <a:pt x="412" y="200"/>
                    <a:pt x="412" y="200"/>
                  </a:cubicBezTo>
                  <a:cubicBezTo>
                    <a:pt x="414" y="202"/>
                    <a:pt x="416" y="204"/>
                    <a:pt x="416" y="204"/>
                  </a:cubicBezTo>
                  <a:cubicBezTo>
                    <a:pt x="418" y="206"/>
                    <a:pt x="420" y="210"/>
                    <a:pt x="420" y="212"/>
                  </a:cubicBezTo>
                  <a:cubicBezTo>
                    <a:pt x="420" y="215"/>
                    <a:pt x="419" y="218"/>
                    <a:pt x="417" y="220"/>
                  </a:cubicBezTo>
                  <a:cubicBezTo>
                    <a:pt x="415" y="222"/>
                    <a:pt x="412" y="223"/>
                    <a:pt x="410" y="223"/>
                  </a:cubicBezTo>
                  <a:cubicBezTo>
                    <a:pt x="407" y="223"/>
                    <a:pt x="404" y="222"/>
                    <a:pt x="402" y="220"/>
                  </a:cubicBezTo>
                  <a:cubicBezTo>
                    <a:pt x="360" y="178"/>
                    <a:pt x="360" y="178"/>
                    <a:pt x="360" y="178"/>
                  </a:cubicBezTo>
                  <a:cubicBezTo>
                    <a:pt x="357" y="175"/>
                    <a:pt x="352" y="175"/>
                    <a:pt x="349" y="178"/>
                  </a:cubicBezTo>
                  <a:cubicBezTo>
                    <a:pt x="347" y="179"/>
                    <a:pt x="347" y="182"/>
                    <a:pt x="347" y="184"/>
                  </a:cubicBezTo>
                  <a:cubicBezTo>
                    <a:pt x="347" y="186"/>
                    <a:pt x="347" y="188"/>
                    <a:pt x="349" y="189"/>
                  </a:cubicBezTo>
                  <a:cubicBezTo>
                    <a:pt x="387" y="227"/>
                    <a:pt x="387" y="227"/>
                    <a:pt x="387" y="227"/>
                  </a:cubicBezTo>
                  <a:cubicBezTo>
                    <a:pt x="389" y="229"/>
                    <a:pt x="390" y="232"/>
                    <a:pt x="390" y="235"/>
                  </a:cubicBezTo>
                  <a:cubicBezTo>
                    <a:pt x="390" y="237"/>
                    <a:pt x="389" y="240"/>
                    <a:pt x="387" y="242"/>
                  </a:cubicBezTo>
                  <a:cubicBezTo>
                    <a:pt x="385" y="244"/>
                    <a:pt x="382" y="245"/>
                    <a:pt x="379" y="245"/>
                  </a:cubicBezTo>
                  <a:cubicBezTo>
                    <a:pt x="377" y="245"/>
                    <a:pt x="374" y="244"/>
                    <a:pt x="372" y="242"/>
                  </a:cubicBezTo>
                  <a:cubicBezTo>
                    <a:pt x="327" y="197"/>
                    <a:pt x="327" y="197"/>
                    <a:pt x="327" y="197"/>
                  </a:cubicBezTo>
                  <a:cubicBezTo>
                    <a:pt x="324" y="194"/>
                    <a:pt x="319" y="194"/>
                    <a:pt x="316" y="197"/>
                  </a:cubicBezTo>
                  <a:cubicBezTo>
                    <a:pt x="315" y="199"/>
                    <a:pt x="314" y="201"/>
                    <a:pt x="314" y="203"/>
                  </a:cubicBezTo>
                  <a:cubicBezTo>
                    <a:pt x="314" y="205"/>
                    <a:pt x="315" y="207"/>
                    <a:pt x="316" y="209"/>
                  </a:cubicBezTo>
                  <a:cubicBezTo>
                    <a:pt x="353" y="246"/>
                    <a:pt x="353" y="246"/>
                    <a:pt x="353" y="246"/>
                  </a:cubicBezTo>
                  <a:cubicBezTo>
                    <a:pt x="355" y="248"/>
                    <a:pt x="356" y="251"/>
                    <a:pt x="356" y="253"/>
                  </a:cubicBezTo>
                  <a:cubicBezTo>
                    <a:pt x="356" y="256"/>
                    <a:pt x="355" y="259"/>
                    <a:pt x="353" y="261"/>
                  </a:cubicBezTo>
                  <a:cubicBezTo>
                    <a:pt x="351" y="263"/>
                    <a:pt x="348" y="264"/>
                    <a:pt x="346" y="264"/>
                  </a:cubicBezTo>
                  <a:cubicBezTo>
                    <a:pt x="343" y="264"/>
                    <a:pt x="340" y="263"/>
                    <a:pt x="338" y="261"/>
                  </a:cubicBezTo>
                  <a:cubicBezTo>
                    <a:pt x="305" y="227"/>
                    <a:pt x="305" y="227"/>
                    <a:pt x="305" y="227"/>
                  </a:cubicBezTo>
                  <a:cubicBezTo>
                    <a:pt x="301" y="224"/>
                    <a:pt x="296" y="224"/>
                    <a:pt x="293" y="227"/>
                  </a:cubicBezTo>
                  <a:cubicBezTo>
                    <a:pt x="292" y="229"/>
                    <a:pt x="291" y="231"/>
                    <a:pt x="291" y="233"/>
                  </a:cubicBezTo>
                  <a:cubicBezTo>
                    <a:pt x="291" y="235"/>
                    <a:pt x="292" y="237"/>
                    <a:pt x="293" y="238"/>
                  </a:cubicBezTo>
                  <a:cubicBezTo>
                    <a:pt x="313" y="258"/>
                    <a:pt x="313" y="258"/>
                    <a:pt x="313" y="258"/>
                  </a:cubicBezTo>
                  <a:cubicBezTo>
                    <a:pt x="314" y="259"/>
                    <a:pt x="314" y="261"/>
                    <a:pt x="314" y="263"/>
                  </a:cubicBezTo>
                  <a:cubicBezTo>
                    <a:pt x="314" y="266"/>
                    <a:pt x="313" y="269"/>
                    <a:pt x="311" y="271"/>
                  </a:cubicBezTo>
                  <a:cubicBezTo>
                    <a:pt x="309" y="273"/>
                    <a:pt x="306" y="274"/>
                    <a:pt x="304" y="274"/>
                  </a:cubicBezTo>
                  <a:cubicBezTo>
                    <a:pt x="301" y="274"/>
                    <a:pt x="298" y="273"/>
                    <a:pt x="296" y="271"/>
                  </a:cubicBezTo>
                  <a:cubicBezTo>
                    <a:pt x="283" y="258"/>
                    <a:pt x="283" y="258"/>
                    <a:pt x="283" y="258"/>
                  </a:cubicBezTo>
                  <a:cubicBezTo>
                    <a:pt x="283" y="258"/>
                    <a:pt x="280" y="255"/>
                    <a:pt x="274" y="251"/>
                  </a:cubicBezTo>
                  <a:cubicBezTo>
                    <a:pt x="278" y="247"/>
                    <a:pt x="278" y="247"/>
                    <a:pt x="278" y="247"/>
                  </a:cubicBezTo>
                  <a:cubicBezTo>
                    <a:pt x="283" y="242"/>
                    <a:pt x="286" y="235"/>
                    <a:pt x="286" y="228"/>
                  </a:cubicBezTo>
                  <a:cubicBezTo>
                    <a:pt x="286" y="221"/>
                    <a:pt x="283" y="213"/>
                    <a:pt x="278" y="208"/>
                  </a:cubicBezTo>
                  <a:cubicBezTo>
                    <a:pt x="272" y="203"/>
                    <a:pt x="265" y="200"/>
                    <a:pt x="258" y="200"/>
                  </a:cubicBezTo>
                  <a:cubicBezTo>
                    <a:pt x="258" y="200"/>
                    <a:pt x="258" y="200"/>
                    <a:pt x="258" y="200"/>
                  </a:cubicBezTo>
                  <a:cubicBezTo>
                    <a:pt x="258" y="200"/>
                    <a:pt x="258" y="200"/>
                    <a:pt x="258" y="200"/>
                  </a:cubicBezTo>
                  <a:cubicBezTo>
                    <a:pt x="258" y="193"/>
                    <a:pt x="255" y="185"/>
                    <a:pt x="249" y="180"/>
                  </a:cubicBezTo>
                  <a:cubicBezTo>
                    <a:pt x="244" y="175"/>
                    <a:pt x="237" y="172"/>
                    <a:pt x="230" y="172"/>
                  </a:cubicBezTo>
                  <a:cubicBezTo>
                    <a:pt x="226" y="172"/>
                    <a:pt x="223" y="173"/>
                    <a:pt x="219" y="174"/>
                  </a:cubicBezTo>
                  <a:cubicBezTo>
                    <a:pt x="218" y="169"/>
                    <a:pt x="216" y="165"/>
                    <a:pt x="212" y="161"/>
                  </a:cubicBezTo>
                  <a:cubicBezTo>
                    <a:pt x="207" y="156"/>
                    <a:pt x="199" y="153"/>
                    <a:pt x="192" y="153"/>
                  </a:cubicBezTo>
                  <a:cubicBezTo>
                    <a:pt x="185" y="153"/>
                    <a:pt x="178" y="156"/>
                    <a:pt x="173" y="161"/>
                  </a:cubicBezTo>
                  <a:cubicBezTo>
                    <a:pt x="142" y="192"/>
                    <a:pt x="142" y="192"/>
                    <a:pt x="142" y="192"/>
                  </a:cubicBezTo>
                  <a:cubicBezTo>
                    <a:pt x="140" y="188"/>
                    <a:pt x="138" y="185"/>
                    <a:pt x="135" y="182"/>
                  </a:cubicBezTo>
                  <a:cubicBezTo>
                    <a:pt x="130" y="176"/>
                    <a:pt x="123" y="173"/>
                    <a:pt x="116" y="173"/>
                  </a:cubicBezTo>
                  <a:cubicBezTo>
                    <a:pt x="108" y="173"/>
                    <a:pt x="101" y="176"/>
                    <a:pt x="96" y="182"/>
                  </a:cubicBezTo>
                  <a:cubicBezTo>
                    <a:pt x="70" y="208"/>
                    <a:pt x="70" y="208"/>
                    <a:pt x="70" y="208"/>
                  </a:cubicBezTo>
                  <a:cubicBezTo>
                    <a:pt x="65" y="213"/>
                    <a:pt x="62" y="218"/>
                    <a:pt x="62" y="224"/>
                  </a:cubicBezTo>
                  <a:cubicBezTo>
                    <a:pt x="8" y="224"/>
                    <a:pt x="8" y="224"/>
                    <a:pt x="8" y="224"/>
                  </a:cubicBezTo>
                  <a:cubicBezTo>
                    <a:pt x="3" y="224"/>
                    <a:pt x="0" y="228"/>
                    <a:pt x="0" y="232"/>
                  </a:cubicBezTo>
                  <a:cubicBezTo>
                    <a:pt x="0" y="237"/>
                    <a:pt x="3" y="240"/>
                    <a:pt x="8" y="240"/>
                  </a:cubicBezTo>
                  <a:cubicBezTo>
                    <a:pt x="64" y="240"/>
                    <a:pt x="64" y="240"/>
                    <a:pt x="64" y="240"/>
                  </a:cubicBezTo>
                  <a:cubicBezTo>
                    <a:pt x="66" y="243"/>
                    <a:pt x="67" y="245"/>
                    <a:pt x="70" y="247"/>
                  </a:cubicBezTo>
                  <a:cubicBezTo>
                    <a:pt x="75" y="253"/>
                    <a:pt x="82" y="256"/>
                    <a:pt x="89" y="256"/>
                  </a:cubicBezTo>
                  <a:cubicBezTo>
                    <a:pt x="89" y="256"/>
                    <a:pt x="89" y="256"/>
                    <a:pt x="89" y="256"/>
                  </a:cubicBezTo>
                  <a:cubicBezTo>
                    <a:pt x="96" y="256"/>
                    <a:pt x="104" y="253"/>
                    <a:pt x="109" y="247"/>
                  </a:cubicBezTo>
                  <a:cubicBezTo>
                    <a:pt x="109" y="247"/>
                    <a:pt x="109" y="247"/>
                    <a:pt x="109" y="247"/>
                  </a:cubicBezTo>
                  <a:cubicBezTo>
                    <a:pt x="111" y="246"/>
                    <a:pt x="111" y="246"/>
                    <a:pt x="111" y="246"/>
                  </a:cubicBezTo>
                  <a:cubicBezTo>
                    <a:pt x="112" y="249"/>
                    <a:pt x="114" y="253"/>
                    <a:pt x="117" y="256"/>
                  </a:cubicBezTo>
                  <a:cubicBezTo>
                    <a:pt x="123" y="261"/>
                    <a:pt x="130" y="264"/>
                    <a:pt x="137" y="264"/>
                  </a:cubicBezTo>
                  <a:cubicBezTo>
                    <a:pt x="137" y="264"/>
                    <a:pt x="137" y="264"/>
                    <a:pt x="137" y="264"/>
                  </a:cubicBezTo>
                  <a:cubicBezTo>
                    <a:pt x="144" y="264"/>
                    <a:pt x="151" y="261"/>
                    <a:pt x="157" y="256"/>
                  </a:cubicBezTo>
                  <a:cubicBezTo>
                    <a:pt x="159" y="254"/>
                    <a:pt x="159" y="254"/>
                    <a:pt x="159" y="254"/>
                  </a:cubicBezTo>
                  <a:cubicBezTo>
                    <a:pt x="160" y="257"/>
                    <a:pt x="162" y="261"/>
                    <a:pt x="165" y="264"/>
                  </a:cubicBezTo>
                  <a:cubicBezTo>
                    <a:pt x="171" y="269"/>
                    <a:pt x="178" y="272"/>
                    <a:pt x="185" y="272"/>
                  </a:cubicBezTo>
                  <a:cubicBezTo>
                    <a:pt x="185" y="272"/>
                    <a:pt x="185" y="272"/>
                    <a:pt x="185" y="272"/>
                  </a:cubicBezTo>
                  <a:cubicBezTo>
                    <a:pt x="192" y="272"/>
                    <a:pt x="199" y="269"/>
                    <a:pt x="205" y="264"/>
                  </a:cubicBezTo>
                  <a:cubicBezTo>
                    <a:pt x="205" y="264"/>
                    <a:pt x="205" y="264"/>
                    <a:pt x="205" y="264"/>
                  </a:cubicBezTo>
                  <a:cubicBezTo>
                    <a:pt x="205" y="263"/>
                    <a:pt x="205" y="263"/>
                    <a:pt x="205" y="263"/>
                  </a:cubicBezTo>
                  <a:cubicBezTo>
                    <a:pt x="207" y="267"/>
                    <a:pt x="209" y="271"/>
                    <a:pt x="212" y="274"/>
                  </a:cubicBezTo>
                  <a:cubicBezTo>
                    <a:pt x="217" y="279"/>
                    <a:pt x="224" y="282"/>
                    <a:pt x="232" y="282"/>
                  </a:cubicBezTo>
                  <a:cubicBezTo>
                    <a:pt x="232" y="282"/>
                    <a:pt x="232" y="282"/>
                    <a:pt x="232" y="282"/>
                  </a:cubicBezTo>
                  <a:cubicBezTo>
                    <a:pt x="239" y="282"/>
                    <a:pt x="246" y="279"/>
                    <a:pt x="251" y="274"/>
                  </a:cubicBezTo>
                  <a:cubicBezTo>
                    <a:pt x="251" y="274"/>
                    <a:pt x="251" y="274"/>
                    <a:pt x="251" y="274"/>
                  </a:cubicBezTo>
                  <a:cubicBezTo>
                    <a:pt x="263" y="262"/>
                    <a:pt x="263" y="262"/>
                    <a:pt x="263" y="262"/>
                  </a:cubicBezTo>
                  <a:cubicBezTo>
                    <a:pt x="266" y="264"/>
                    <a:pt x="268" y="266"/>
                    <a:pt x="269" y="267"/>
                  </a:cubicBezTo>
                  <a:cubicBezTo>
                    <a:pt x="271" y="269"/>
                    <a:pt x="272" y="270"/>
                    <a:pt x="272" y="270"/>
                  </a:cubicBezTo>
                  <a:cubicBezTo>
                    <a:pt x="285" y="282"/>
                    <a:pt x="285" y="282"/>
                    <a:pt x="285" y="282"/>
                  </a:cubicBezTo>
                  <a:cubicBezTo>
                    <a:pt x="290" y="287"/>
                    <a:pt x="297" y="290"/>
                    <a:pt x="304" y="290"/>
                  </a:cubicBezTo>
                  <a:cubicBezTo>
                    <a:pt x="304" y="290"/>
                    <a:pt x="304" y="290"/>
                    <a:pt x="304" y="290"/>
                  </a:cubicBezTo>
                  <a:cubicBezTo>
                    <a:pt x="310" y="290"/>
                    <a:pt x="317" y="287"/>
                    <a:pt x="322" y="282"/>
                  </a:cubicBezTo>
                  <a:cubicBezTo>
                    <a:pt x="325" y="280"/>
                    <a:pt x="327" y="277"/>
                    <a:pt x="328" y="273"/>
                  </a:cubicBezTo>
                  <a:cubicBezTo>
                    <a:pt x="333" y="278"/>
                    <a:pt x="340" y="280"/>
                    <a:pt x="346" y="280"/>
                  </a:cubicBezTo>
                  <a:cubicBezTo>
                    <a:pt x="353" y="280"/>
                    <a:pt x="359" y="277"/>
                    <a:pt x="365" y="272"/>
                  </a:cubicBezTo>
                  <a:cubicBezTo>
                    <a:pt x="368" y="269"/>
                    <a:pt x="370" y="264"/>
                    <a:pt x="371" y="260"/>
                  </a:cubicBezTo>
                  <a:cubicBezTo>
                    <a:pt x="374" y="261"/>
                    <a:pt x="377" y="261"/>
                    <a:pt x="379" y="261"/>
                  </a:cubicBezTo>
                  <a:cubicBezTo>
                    <a:pt x="386" y="261"/>
                    <a:pt x="393" y="258"/>
                    <a:pt x="398" y="253"/>
                  </a:cubicBezTo>
                  <a:cubicBezTo>
                    <a:pt x="402" y="249"/>
                    <a:pt x="405" y="244"/>
                    <a:pt x="406" y="239"/>
                  </a:cubicBezTo>
                  <a:cubicBezTo>
                    <a:pt x="407" y="239"/>
                    <a:pt x="408" y="239"/>
                    <a:pt x="410" y="239"/>
                  </a:cubicBezTo>
                  <a:cubicBezTo>
                    <a:pt x="416" y="239"/>
                    <a:pt x="423" y="236"/>
                    <a:pt x="428" y="231"/>
                  </a:cubicBezTo>
                  <a:cubicBezTo>
                    <a:pt x="434" y="226"/>
                    <a:pt x="436" y="219"/>
                    <a:pt x="436" y="212"/>
                  </a:cubicBezTo>
                  <a:cubicBezTo>
                    <a:pt x="436" y="210"/>
                    <a:pt x="436" y="208"/>
                    <a:pt x="435" y="205"/>
                  </a:cubicBezTo>
                  <a:cubicBezTo>
                    <a:pt x="478" y="205"/>
                    <a:pt x="478" y="205"/>
                    <a:pt x="478" y="205"/>
                  </a:cubicBezTo>
                  <a:cubicBezTo>
                    <a:pt x="483" y="205"/>
                    <a:pt x="486" y="202"/>
                    <a:pt x="486" y="197"/>
                  </a:cubicBezTo>
                  <a:cubicBezTo>
                    <a:pt x="486" y="193"/>
                    <a:pt x="483" y="189"/>
                    <a:pt x="478" y="189"/>
                  </a:cubicBezTo>
                  <a:close/>
                  <a:moveTo>
                    <a:pt x="98" y="236"/>
                  </a:moveTo>
                  <a:cubicBezTo>
                    <a:pt x="98" y="236"/>
                    <a:pt x="98" y="236"/>
                    <a:pt x="98" y="236"/>
                  </a:cubicBezTo>
                  <a:cubicBezTo>
                    <a:pt x="95" y="238"/>
                    <a:pt x="92" y="240"/>
                    <a:pt x="89" y="240"/>
                  </a:cubicBezTo>
                  <a:cubicBezTo>
                    <a:pt x="86" y="240"/>
                    <a:pt x="83" y="238"/>
                    <a:pt x="81" y="236"/>
                  </a:cubicBezTo>
                  <a:cubicBezTo>
                    <a:pt x="78" y="234"/>
                    <a:pt x="77" y="231"/>
                    <a:pt x="77" y="228"/>
                  </a:cubicBezTo>
                  <a:cubicBezTo>
                    <a:pt x="77" y="225"/>
                    <a:pt x="78" y="222"/>
                    <a:pt x="81" y="219"/>
                  </a:cubicBezTo>
                  <a:cubicBezTo>
                    <a:pt x="107" y="193"/>
                    <a:pt x="107" y="193"/>
                    <a:pt x="107" y="193"/>
                  </a:cubicBezTo>
                  <a:cubicBezTo>
                    <a:pt x="109" y="191"/>
                    <a:pt x="112" y="189"/>
                    <a:pt x="116" y="189"/>
                  </a:cubicBezTo>
                  <a:cubicBezTo>
                    <a:pt x="119" y="189"/>
                    <a:pt x="122" y="191"/>
                    <a:pt x="124" y="193"/>
                  </a:cubicBezTo>
                  <a:cubicBezTo>
                    <a:pt x="126" y="195"/>
                    <a:pt x="127" y="198"/>
                    <a:pt x="127" y="201"/>
                  </a:cubicBezTo>
                  <a:cubicBezTo>
                    <a:pt x="127" y="204"/>
                    <a:pt x="126" y="207"/>
                    <a:pt x="124" y="210"/>
                  </a:cubicBezTo>
                  <a:lnTo>
                    <a:pt x="98" y="236"/>
                  </a:lnTo>
                  <a:close/>
                  <a:moveTo>
                    <a:pt x="165" y="225"/>
                  </a:moveTo>
                  <a:cubicBezTo>
                    <a:pt x="145" y="245"/>
                    <a:pt x="145" y="245"/>
                    <a:pt x="145" y="245"/>
                  </a:cubicBezTo>
                  <a:cubicBezTo>
                    <a:pt x="143" y="247"/>
                    <a:pt x="140" y="248"/>
                    <a:pt x="137" y="248"/>
                  </a:cubicBezTo>
                  <a:cubicBezTo>
                    <a:pt x="134" y="248"/>
                    <a:pt x="131" y="247"/>
                    <a:pt x="129" y="245"/>
                  </a:cubicBezTo>
                  <a:cubicBezTo>
                    <a:pt x="126" y="242"/>
                    <a:pt x="125" y="239"/>
                    <a:pt x="125" y="236"/>
                  </a:cubicBezTo>
                  <a:cubicBezTo>
                    <a:pt x="125" y="233"/>
                    <a:pt x="126" y="230"/>
                    <a:pt x="129" y="228"/>
                  </a:cubicBezTo>
                  <a:cubicBezTo>
                    <a:pt x="184" y="172"/>
                    <a:pt x="184" y="172"/>
                    <a:pt x="184" y="172"/>
                  </a:cubicBezTo>
                  <a:cubicBezTo>
                    <a:pt x="186" y="170"/>
                    <a:pt x="189" y="169"/>
                    <a:pt x="192" y="169"/>
                  </a:cubicBezTo>
                  <a:cubicBezTo>
                    <a:pt x="195" y="169"/>
                    <a:pt x="198" y="170"/>
                    <a:pt x="201" y="172"/>
                  </a:cubicBezTo>
                  <a:cubicBezTo>
                    <a:pt x="203" y="175"/>
                    <a:pt x="204" y="178"/>
                    <a:pt x="204" y="181"/>
                  </a:cubicBezTo>
                  <a:cubicBezTo>
                    <a:pt x="204" y="184"/>
                    <a:pt x="203" y="187"/>
                    <a:pt x="201" y="189"/>
                  </a:cubicBezTo>
                  <a:cubicBezTo>
                    <a:pt x="165" y="224"/>
                    <a:pt x="165" y="224"/>
                    <a:pt x="165" y="224"/>
                  </a:cubicBezTo>
                  <a:cubicBezTo>
                    <a:pt x="165" y="224"/>
                    <a:pt x="165" y="225"/>
                    <a:pt x="165" y="225"/>
                  </a:cubicBezTo>
                  <a:close/>
                  <a:moveTo>
                    <a:pt x="212" y="234"/>
                  </a:moveTo>
                  <a:cubicBezTo>
                    <a:pt x="194" y="253"/>
                    <a:pt x="194" y="253"/>
                    <a:pt x="194" y="253"/>
                  </a:cubicBezTo>
                  <a:cubicBezTo>
                    <a:pt x="194" y="253"/>
                    <a:pt x="194" y="253"/>
                    <a:pt x="194" y="253"/>
                  </a:cubicBezTo>
                  <a:cubicBezTo>
                    <a:pt x="191" y="255"/>
                    <a:pt x="188" y="256"/>
                    <a:pt x="185" y="256"/>
                  </a:cubicBezTo>
                  <a:cubicBezTo>
                    <a:pt x="182" y="256"/>
                    <a:pt x="179" y="255"/>
                    <a:pt x="177" y="253"/>
                  </a:cubicBezTo>
                  <a:cubicBezTo>
                    <a:pt x="174" y="250"/>
                    <a:pt x="173" y="247"/>
                    <a:pt x="173" y="244"/>
                  </a:cubicBezTo>
                  <a:cubicBezTo>
                    <a:pt x="173" y="241"/>
                    <a:pt x="174" y="238"/>
                    <a:pt x="177" y="236"/>
                  </a:cubicBezTo>
                  <a:cubicBezTo>
                    <a:pt x="212" y="201"/>
                    <a:pt x="212" y="201"/>
                    <a:pt x="212" y="201"/>
                  </a:cubicBezTo>
                  <a:cubicBezTo>
                    <a:pt x="212" y="200"/>
                    <a:pt x="212" y="200"/>
                    <a:pt x="212" y="200"/>
                  </a:cubicBezTo>
                  <a:cubicBezTo>
                    <a:pt x="221" y="191"/>
                    <a:pt x="221" y="191"/>
                    <a:pt x="221" y="191"/>
                  </a:cubicBezTo>
                  <a:cubicBezTo>
                    <a:pt x="224" y="189"/>
                    <a:pt x="227" y="188"/>
                    <a:pt x="230" y="188"/>
                  </a:cubicBezTo>
                  <a:cubicBezTo>
                    <a:pt x="233" y="188"/>
                    <a:pt x="236" y="189"/>
                    <a:pt x="238" y="191"/>
                  </a:cubicBezTo>
                  <a:cubicBezTo>
                    <a:pt x="240" y="194"/>
                    <a:pt x="242" y="197"/>
                    <a:pt x="242" y="200"/>
                  </a:cubicBezTo>
                  <a:cubicBezTo>
                    <a:pt x="242" y="203"/>
                    <a:pt x="240" y="206"/>
                    <a:pt x="238" y="208"/>
                  </a:cubicBezTo>
                  <a:cubicBezTo>
                    <a:pt x="212" y="234"/>
                    <a:pt x="212" y="234"/>
                    <a:pt x="212" y="234"/>
                  </a:cubicBezTo>
                  <a:cubicBezTo>
                    <a:pt x="212" y="234"/>
                    <a:pt x="212" y="234"/>
                    <a:pt x="212" y="234"/>
                  </a:cubicBezTo>
                  <a:close/>
                  <a:moveTo>
                    <a:pt x="266" y="236"/>
                  </a:moveTo>
                  <a:cubicBezTo>
                    <a:pt x="240" y="262"/>
                    <a:pt x="240" y="262"/>
                    <a:pt x="240" y="262"/>
                  </a:cubicBezTo>
                  <a:cubicBezTo>
                    <a:pt x="238" y="265"/>
                    <a:pt x="235" y="266"/>
                    <a:pt x="232" y="266"/>
                  </a:cubicBezTo>
                  <a:cubicBezTo>
                    <a:pt x="229" y="266"/>
                    <a:pt x="226" y="265"/>
                    <a:pt x="223" y="262"/>
                  </a:cubicBezTo>
                  <a:cubicBezTo>
                    <a:pt x="221" y="260"/>
                    <a:pt x="220" y="257"/>
                    <a:pt x="220" y="254"/>
                  </a:cubicBezTo>
                  <a:cubicBezTo>
                    <a:pt x="220" y="251"/>
                    <a:pt x="221" y="248"/>
                    <a:pt x="223" y="246"/>
                  </a:cubicBezTo>
                  <a:cubicBezTo>
                    <a:pt x="249" y="219"/>
                    <a:pt x="249" y="219"/>
                    <a:pt x="249" y="219"/>
                  </a:cubicBezTo>
                  <a:cubicBezTo>
                    <a:pt x="249" y="219"/>
                    <a:pt x="249" y="219"/>
                    <a:pt x="249" y="219"/>
                  </a:cubicBezTo>
                  <a:cubicBezTo>
                    <a:pt x="250" y="219"/>
                    <a:pt x="250" y="219"/>
                    <a:pt x="250" y="219"/>
                  </a:cubicBezTo>
                  <a:cubicBezTo>
                    <a:pt x="252" y="217"/>
                    <a:pt x="255" y="216"/>
                    <a:pt x="258" y="216"/>
                  </a:cubicBezTo>
                  <a:cubicBezTo>
                    <a:pt x="261" y="216"/>
                    <a:pt x="264" y="217"/>
                    <a:pt x="266" y="219"/>
                  </a:cubicBezTo>
                  <a:cubicBezTo>
                    <a:pt x="269" y="222"/>
                    <a:pt x="270" y="225"/>
                    <a:pt x="270" y="228"/>
                  </a:cubicBezTo>
                  <a:cubicBezTo>
                    <a:pt x="270" y="231"/>
                    <a:pt x="269" y="234"/>
                    <a:pt x="266" y="2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5" name="Freeform 3"/>
            <p:cNvSpPr>
              <a:spLocks noChangeAspect="1" noEditPoints="1"/>
            </p:cNvSpPr>
            <p:nvPr/>
          </p:nvSpPr>
          <p:spPr bwMode="auto">
            <a:xfrm>
              <a:off x="5940923" y="4868652"/>
              <a:ext cx="399946" cy="463422"/>
            </a:xfrm>
            <a:custGeom>
              <a:avLst/>
              <a:gdLst>
                <a:gd name="T0" fmla="*/ 2147483647 w 355"/>
                <a:gd name="T1" fmla="*/ 2147483647 h 411"/>
                <a:gd name="T2" fmla="*/ 2147483647 w 355"/>
                <a:gd name="T3" fmla="*/ 2147483647 h 411"/>
                <a:gd name="T4" fmla="*/ 2147483647 w 355"/>
                <a:gd name="T5" fmla="*/ 2147483647 h 411"/>
                <a:gd name="T6" fmla="*/ 2147483647 w 355"/>
                <a:gd name="T7" fmla="*/ 2147483647 h 411"/>
                <a:gd name="T8" fmla="*/ 2147483647 w 355"/>
                <a:gd name="T9" fmla="*/ 2147483647 h 411"/>
                <a:gd name="T10" fmla="*/ 2147483647 w 355"/>
                <a:gd name="T11" fmla="*/ 2147483647 h 411"/>
                <a:gd name="T12" fmla="*/ 2147483647 w 355"/>
                <a:gd name="T13" fmla="*/ 2147483647 h 411"/>
                <a:gd name="T14" fmla="*/ 2147483647 w 355"/>
                <a:gd name="T15" fmla="*/ 2147483647 h 411"/>
                <a:gd name="T16" fmla="*/ 2147483647 w 355"/>
                <a:gd name="T17" fmla="*/ 2147483647 h 411"/>
                <a:gd name="T18" fmla="*/ 2147483647 w 355"/>
                <a:gd name="T19" fmla="*/ 2147483647 h 411"/>
                <a:gd name="T20" fmla="*/ 2147483647 w 355"/>
                <a:gd name="T21" fmla="*/ 2147483647 h 411"/>
                <a:gd name="T22" fmla="*/ 2147483647 w 355"/>
                <a:gd name="T23" fmla="*/ 2147483647 h 411"/>
                <a:gd name="T24" fmla="*/ 2147483647 w 355"/>
                <a:gd name="T25" fmla="*/ 2147483647 h 411"/>
                <a:gd name="T26" fmla="*/ 2147483647 w 355"/>
                <a:gd name="T27" fmla="*/ 2147483647 h 411"/>
                <a:gd name="T28" fmla="*/ 2147483647 w 355"/>
                <a:gd name="T29" fmla="*/ 2147483647 h 411"/>
                <a:gd name="T30" fmla="*/ 2147483647 w 355"/>
                <a:gd name="T31" fmla="*/ 2147483647 h 411"/>
                <a:gd name="T32" fmla="*/ 2147483647 w 355"/>
                <a:gd name="T33" fmla="*/ 2147483647 h 411"/>
                <a:gd name="T34" fmla="*/ 2147483647 w 355"/>
                <a:gd name="T35" fmla="*/ 2147483647 h 411"/>
                <a:gd name="T36" fmla="*/ 2147483647 w 355"/>
                <a:gd name="T37" fmla="*/ 2147483647 h 411"/>
                <a:gd name="T38" fmla="*/ 2147483647 w 355"/>
                <a:gd name="T39" fmla="*/ 2147483647 h 411"/>
                <a:gd name="T40" fmla="*/ 2147483647 w 355"/>
                <a:gd name="T41" fmla="*/ 2147483647 h 411"/>
                <a:gd name="T42" fmla="*/ 2147483647 w 355"/>
                <a:gd name="T43" fmla="*/ 2147483647 h 411"/>
                <a:gd name="T44" fmla="*/ 2147483647 w 355"/>
                <a:gd name="T45" fmla="*/ 2147483647 h 411"/>
                <a:gd name="T46" fmla="*/ 2147483647 w 355"/>
                <a:gd name="T47" fmla="*/ 2147483647 h 411"/>
                <a:gd name="T48" fmla="*/ 2147483647 w 355"/>
                <a:gd name="T49" fmla="*/ 2147483647 h 411"/>
                <a:gd name="T50" fmla="*/ 2147483647 w 355"/>
                <a:gd name="T51" fmla="*/ 2147483647 h 411"/>
                <a:gd name="T52" fmla="*/ 2147483647 w 355"/>
                <a:gd name="T53" fmla="*/ 2147483647 h 411"/>
                <a:gd name="T54" fmla="*/ 2147483647 w 355"/>
                <a:gd name="T55" fmla="*/ 2147483647 h 411"/>
                <a:gd name="T56" fmla="*/ 2147483647 w 355"/>
                <a:gd name="T57" fmla="*/ 2147483647 h 411"/>
                <a:gd name="T58" fmla="*/ 2147483647 w 355"/>
                <a:gd name="T59" fmla="*/ 2147483647 h 411"/>
                <a:gd name="T60" fmla="*/ 2147483647 w 355"/>
                <a:gd name="T61" fmla="*/ 2147483647 h 411"/>
                <a:gd name="T62" fmla="*/ 2147483647 w 355"/>
                <a:gd name="T63" fmla="*/ 2147483647 h 411"/>
                <a:gd name="T64" fmla="*/ 2147483647 w 355"/>
                <a:gd name="T65" fmla="*/ 2147483647 h 411"/>
                <a:gd name="T66" fmla="*/ 2147483647 w 355"/>
                <a:gd name="T67" fmla="*/ 2147483647 h 411"/>
                <a:gd name="T68" fmla="*/ 2147483647 w 355"/>
                <a:gd name="T69" fmla="*/ 2147483647 h 411"/>
                <a:gd name="T70" fmla="*/ 2147483647 w 355"/>
                <a:gd name="T71" fmla="*/ 2147483647 h 411"/>
                <a:gd name="T72" fmla="*/ 2147483647 w 355"/>
                <a:gd name="T73" fmla="*/ 2147483647 h 411"/>
                <a:gd name="T74" fmla="*/ 2147483647 w 355"/>
                <a:gd name="T75" fmla="*/ 2147483647 h 411"/>
                <a:gd name="T76" fmla="*/ 2147483647 w 355"/>
                <a:gd name="T77" fmla="*/ 2147483647 h 411"/>
                <a:gd name="T78" fmla="*/ 2147483647 w 355"/>
                <a:gd name="T79" fmla="*/ 2147483647 h 411"/>
                <a:gd name="T80" fmla="*/ 2147483647 w 355"/>
                <a:gd name="T81" fmla="*/ 2147483647 h 411"/>
                <a:gd name="T82" fmla="*/ 2147483647 w 355"/>
                <a:gd name="T83" fmla="*/ 2147483647 h 411"/>
                <a:gd name="T84" fmla="*/ 2147483647 w 355"/>
                <a:gd name="T85" fmla="*/ 2147483647 h 411"/>
                <a:gd name="T86" fmla="*/ 2147483647 w 355"/>
                <a:gd name="T87" fmla="*/ 2147483647 h 411"/>
                <a:gd name="T88" fmla="*/ 2147483647 w 355"/>
                <a:gd name="T89" fmla="*/ 2147483647 h 411"/>
                <a:gd name="T90" fmla="*/ 2147483647 w 355"/>
                <a:gd name="T91" fmla="*/ 2147483647 h 411"/>
                <a:gd name="T92" fmla="*/ 2147483647 w 355"/>
                <a:gd name="T93" fmla="*/ 2147483647 h 411"/>
                <a:gd name="T94" fmla="*/ 2147483647 w 355"/>
                <a:gd name="T95" fmla="*/ 2147483647 h 411"/>
                <a:gd name="T96" fmla="*/ 2147483647 w 355"/>
                <a:gd name="T97" fmla="*/ 2147483647 h 411"/>
                <a:gd name="T98" fmla="*/ 2147483647 w 355"/>
                <a:gd name="T99" fmla="*/ 2147483647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6" name="Freeform 3"/>
            <p:cNvSpPr>
              <a:spLocks noChangeAspect="1"/>
            </p:cNvSpPr>
            <p:nvPr/>
          </p:nvSpPr>
          <p:spPr bwMode="auto">
            <a:xfrm>
              <a:off x="6683929" y="4458854"/>
              <a:ext cx="411480" cy="411480"/>
            </a:xfrm>
            <a:custGeom>
              <a:avLst/>
              <a:gdLst>
                <a:gd name="T0" fmla="*/ 2147483647 w 349"/>
                <a:gd name="T1" fmla="*/ 2147483647 h 349"/>
                <a:gd name="T2" fmla="*/ 2147483647 w 349"/>
                <a:gd name="T3" fmla="*/ 2147483647 h 349"/>
                <a:gd name="T4" fmla="*/ 2147483647 w 349"/>
                <a:gd name="T5" fmla="*/ 2147483647 h 349"/>
                <a:gd name="T6" fmla="*/ 2147483647 w 349"/>
                <a:gd name="T7" fmla="*/ 2147483647 h 349"/>
                <a:gd name="T8" fmla="*/ 2147483647 w 349"/>
                <a:gd name="T9" fmla="*/ 2147483647 h 349"/>
                <a:gd name="T10" fmla="*/ 2147483647 w 349"/>
                <a:gd name="T11" fmla="*/ 2147483647 h 349"/>
                <a:gd name="T12" fmla="*/ 2147483647 w 349"/>
                <a:gd name="T13" fmla="*/ 2147483647 h 349"/>
                <a:gd name="T14" fmla="*/ 2147483647 w 349"/>
                <a:gd name="T15" fmla="*/ 2147483647 h 349"/>
                <a:gd name="T16" fmla="*/ 2147483647 w 349"/>
                <a:gd name="T17" fmla="*/ 2147483647 h 349"/>
                <a:gd name="T18" fmla="*/ 2147483647 w 349"/>
                <a:gd name="T19" fmla="*/ 2147483647 h 349"/>
                <a:gd name="T20" fmla="*/ 2147483647 w 349"/>
                <a:gd name="T21" fmla="*/ 2147483647 h 349"/>
                <a:gd name="T22" fmla="*/ 2147483647 w 349"/>
                <a:gd name="T23" fmla="*/ 2147483647 h 349"/>
                <a:gd name="T24" fmla="*/ 2147483647 w 349"/>
                <a:gd name="T25" fmla="*/ 2147483647 h 349"/>
                <a:gd name="T26" fmla="*/ 2147483647 w 349"/>
                <a:gd name="T27" fmla="*/ 2147483647 h 349"/>
                <a:gd name="T28" fmla="*/ 2147483647 w 349"/>
                <a:gd name="T29" fmla="*/ 2147483647 h 349"/>
                <a:gd name="T30" fmla="*/ 2147483647 w 349"/>
                <a:gd name="T31" fmla="*/ 2147483647 h 349"/>
                <a:gd name="T32" fmla="*/ 2147483647 w 349"/>
                <a:gd name="T33" fmla="*/ 2147483647 h 349"/>
                <a:gd name="T34" fmla="*/ 2147483647 w 349"/>
                <a:gd name="T35" fmla="*/ 2147483647 h 349"/>
                <a:gd name="T36" fmla="*/ 2147483647 w 349"/>
                <a:gd name="T37" fmla="*/ 2147483647 h 349"/>
                <a:gd name="T38" fmla="*/ 2147483647 w 349"/>
                <a:gd name="T39" fmla="*/ 2147483647 h 349"/>
                <a:gd name="T40" fmla="*/ 2147483647 w 349"/>
                <a:gd name="T41" fmla="*/ 2147483647 h 349"/>
                <a:gd name="T42" fmla="*/ 2147483647 w 349"/>
                <a:gd name="T43" fmla="*/ 2147483647 h 349"/>
                <a:gd name="T44" fmla="*/ 2147483647 w 349"/>
                <a:gd name="T45" fmla="*/ 2147483647 h 349"/>
                <a:gd name="T46" fmla="*/ 2147483647 w 349"/>
                <a:gd name="T47" fmla="*/ 2147483647 h 349"/>
                <a:gd name="T48" fmla="*/ 2147483647 w 349"/>
                <a:gd name="T49" fmla="*/ 2147483647 h 349"/>
                <a:gd name="T50" fmla="*/ 2147483647 w 349"/>
                <a:gd name="T51" fmla="*/ 2147483647 h 349"/>
                <a:gd name="T52" fmla="*/ 2147483647 w 349"/>
                <a:gd name="T53" fmla="*/ 2147483647 h 349"/>
                <a:gd name="T54" fmla="*/ 2147483647 w 349"/>
                <a:gd name="T55" fmla="*/ 2147483647 h 349"/>
                <a:gd name="T56" fmla="*/ 2147483647 w 349"/>
                <a:gd name="T57" fmla="*/ 2147483647 h 349"/>
                <a:gd name="T58" fmla="*/ 2147483647 w 349"/>
                <a:gd name="T59" fmla="*/ 2147483647 h 349"/>
                <a:gd name="T60" fmla="*/ 2147483647 w 349"/>
                <a:gd name="T61" fmla="*/ 2147483647 h 349"/>
                <a:gd name="T62" fmla="*/ 2147483647 w 349"/>
                <a:gd name="T63" fmla="*/ 2147483647 h 349"/>
                <a:gd name="T64" fmla="*/ 2147483647 w 349"/>
                <a:gd name="T65" fmla="*/ 2147483647 h 349"/>
                <a:gd name="T66" fmla="*/ 2147483647 w 349"/>
                <a:gd name="T67" fmla="*/ 2147483647 h 349"/>
                <a:gd name="T68" fmla="*/ 2147483647 w 349"/>
                <a:gd name="T69" fmla="*/ 2147483647 h 349"/>
                <a:gd name="T70" fmla="*/ 2147483647 w 349"/>
                <a:gd name="T71" fmla="*/ 2147483647 h 349"/>
                <a:gd name="T72" fmla="*/ 2147483647 w 349"/>
                <a:gd name="T73" fmla="*/ 2147483647 h 349"/>
                <a:gd name="T74" fmla="*/ 2147483647 w 349"/>
                <a:gd name="T75" fmla="*/ 2147483647 h 349"/>
                <a:gd name="T76" fmla="*/ 2147483647 w 349"/>
                <a:gd name="T77" fmla="*/ 0 h 349"/>
                <a:gd name="T78" fmla="*/ 2147483647 w 349"/>
                <a:gd name="T79" fmla="*/ 2147483647 h 349"/>
                <a:gd name="T80" fmla="*/ 2147483647 w 349"/>
                <a:gd name="T81" fmla="*/ 2147483647 h 349"/>
                <a:gd name="T82" fmla="*/ 2147483647 w 349"/>
                <a:gd name="T83" fmla="*/ 2147483647 h 349"/>
                <a:gd name="T84" fmla="*/ 2147483647 w 349"/>
                <a:gd name="T85" fmla="*/ 2147483647 h 349"/>
                <a:gd name="T86" fmla="*/ 2147483647 w 349"/>
                <a:gd name="T87" fmla="*/ 2147483647 h 349"/>
                <a:gd name="T88" fmla="*/ 0 w 349"/>
                <a:gd name="T89" fmla="*/ 2147483647 h 349"/>
                <a:gd name="T90" fmla="*/ 2147483647 w 349"/>
                <a:gd name="T91" fmla="*/ 2147483647 h 349"/>
                <a:gd name="T92" fmla="*/ 2147483647 w 349"/>
                <a:gd name="T93" fmla="*/ 2147483647 h 349"/>
                <a:gd name="T94" fmla="*/ 2147483647 w 349"/>
                <a:gd name="T95" fmla="*/ 2147483647 h 349"/>
                <a:gd name="T96" fmla="*/ 2147483647 w 349"/>
                <a:gd name="T97" fmla="*/ 2147483647 h 349"/>
                <a:gd name="T98" fmla="*/ 0 w 349"/>
                <a:gd name="T99" fmla="*/ 2147483647 h 349"/>
                <a:gd name="T100" fmla="*/ 2147483647 w 349"/>
                <a:gd name="T101" fmla="*/ 2147483647 h 349"/>
                <a:gd name="T102" fmla="*/ 2147483647 w 349"/>
                <a:gd name="T103" fmla="*/ 2147483647 h 349"/>
                <a:gd name="T104" fmla="*/ 2147483647 w 349"/>
                <a:gd name="T105" fmla="*/ 2147483647 h 349"/>
                <a:gd name="T106" fmla="*/ 2147483647 w 349"/>
                <a:gd name="T107" fmla="*/ 2147483647 h 349"/>
                <a:gd name="T108" fmla="*/ 2147483647 w 349"/>
                <a:gd name="T109" fmla="*/ 2147483647 h 349"/>
                <a:gd name="T110" fmla="*/ 2147483647 w 349"/>
                <a:gd name="T111" fmla="*/ 2147483647 h 349"/>
                <a:gd name="T112" fmla="*/ 2147483647 w 349"/>
                <a:gd name="T113" fmla="*/ 2147483647 h 3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49" h="349">
                  <a:moveTo>
                    <a:pt x="348" y="327"/>
                  </a:moveTo>
                  <a:cubicBezTo>
                    <a:pt x="340" y="328"/>
                    <a:pt x="340" y="328"/>
                    <a:pt x="340" y="328"/>
                  </a:cubicBezTo>
                  <a:cubicBezTo>
                    <a:pt x="348" y="327"/>
                    <a:pt x="348" y="327"/>
                    <a:pt x="348" y="327"/>
                  </a:cubicBezTo>
                  <a:cubicBezTo>
                    <a:pt x="348" y="319"/>
                    <a:pt x="340" y="257"/>
                    <a:pt x="340" y="254"/>
                  </a:cubicBezTo>
                  <a:cubicBezTo>
                    <a:pt x="340" y="250"/>
                    <a:pt x="338" y="247"/>
                    <a:pt x="336" y="243"/>
                  </a:cubicBezTo>
                  <a:cubicBezTo>
                    <a:pt x="334" y="240"/>
                    <a:pt x="329" y="238"/>
                    <a:pt x="325" y="238"/>
                  </a:cubicBezTo>
                  <a:cubicBezTo>
                    <a:pt x="320" y="238"/>
                    <a:pt x="315" y="241"/>
                    <a:pt x="311" y="244"/>
                  </a:cubicBezTo>
                  <a:cubicBezTo>
                    <a:pt x="311" y="245"/>
                    <a:pt x="311" y="245"/>
                    <a:pt x="311" y="245"/>
                  </a:cubicBezTo>
                  <a:cubicBezTo>
                    <a:pt x="298" y="233"/>
                    <a:pt x="298" y="233"/>
                    <a:pt x="298" y="233"/>
                  </a:cubicBezTo>
                  <a:cubicBezTo>
                    <a:pt x="306" y="215"/>
                    <a:pt x="311" y="196"/>
                    <a:pt x="311" y="175"/>
                  </a:cubicBezTo>
                  <a:cubicBezTo>
                    <a:pt x="311" y="154"/>
                    <a:pt x="306" y="134"/>
                    <a:pt x="298" y="117"/>
                  </a:cubicBezTo>
                  <a:cubicBezTo>
                    <a:pt x="311" y="104"/>
                    <a:pt x="311" y="104"/>
                    <a:pt x="311" y="104"/>
                  </a:cubicBezTo>
                  <a:cubicBezTo>
                    <a:pt x="311" y="105"/>
                    <a:pt x="311" y="105"/>
                    <a:pt x="311" y="105"/>
                  </a:cubicBezTo>
                  <a:cubicBezTo>
                    <a:pt x="315" y="109"/>
                    <a:pt x="320" y="112"/>
                    <a:pt x="325" y="112"/>
                  </a:cubicBezTo>
                  <a:cubicBezTo>
                    <a:pt x="329" y="112"/>
                    <a:pt x="334" y="109"/>
                    <a:pt x="336" y="106"/>
                  </a:cubicBezTo>
                  <a:cubicBezTo>
                    <a:pt x="338" y="103"/>
                    <a:pt x="339" y="99"/>
                    <a:pt x="340" y="95"/>
                  </a:cubicBezTo>
                  <a:cubicBezTo>
                    <a:pt x="340" y="92"/>
                    <a:pt x="341" y="83"/>
                    <a:pt x="342" y="72"/>
                  </a:cubicBezTo>
                  <a:cubicBezTo>
                    <a:pt x="343" y="68"/>
                    <a:pt x="340" y="64"/>
                    <a:pt x="335" y="63"/>
                  </a:cubicBezTo>
                  <a:cubicBezTo>
                    <a:pt x="331" y="63"/>
                    <a:pt x="327" y="66"/>
                    <a:pt x="327" y="70"/>
                  </a:cubicBezTo>
                  <a:cubicBezTo>
                    <a:pt x="325" y="81"/>
                    <a:pt x="324" y="91"/>
                    <a:pt x="324" y="94"/>
                  </a:cubicBezTo>
                  <a:cubicBezTo>
                    <a:pt x="324" y="94"/>
                    <a:pt x="324" y="95"/>
                    <a:pt x="324" y="95"/>
                  </a:cubicBezTo>
                  <a:cubicBezTo>
                    <a:pt x="323" y="95"/>
                    <a:pt x="323" y="94"/>
                    <a:pt x="323" y="94"/>
                  </a:cubicBezTo>
                  <a:cubicBezTo>
                    <a:pt x="321" y="92"/>
                    <a:pt x="316" y="87"/>
                    <a:pt x="316" y="87"/>
                  </a:cubicBezTo>
                  <a:cubicBezTo>
                    <a:pt x="315" y="86"/>
                    <a:pt x="313" y="85"/>
                    <a:pt x="311" y="85"/>
                  </a:cubicBezTo>
                  <a:cubicBezTo>
                    <a:pt x="308" y="85"/>
                    <a:pt x="306" y="86"/>
                    <a:pt x="305" y="87"/>
                  </a:cubicBezTo>
                  <a:cubicBezTo>
                    <a:pt x="283" y="109"/>
                    <a:pt x="283" y="109"/>
                    <a:pt x="283" y="109"/>
                  </a:cubicBezTo>
                  <a:cubicBezTo>
                    <a:pt x="280" y="112"/>
                    <a:pt x="280" y="115"/>
                    <a:pt x="281" y="119"/>
                  </a:cubicBezTo>
                  <a:cubicBezTo>
                    <a:pt x="281" y="119"/>
                    <a:pt x="281" y="119"/>
                    <a:pt x="281" y="119"/>
                  </a:cubicBezTo>
                  <a:cubicBezTo>
                    <a:pt x="281" y="119"/>
                    <a:pt x="281" y="119"/>
                    <a:pt x="281" y="119"/>
                  </a:cubicBezTo>
                  <a:cubicBezTo>
                    <a:pt x="290" y="136"/>
                    <a:pt x="295" y="155"/>
                    <a:pt x="295" y="175"/>
                  </a:cubicBezTo>
                  <a:cubicBezTo>
                    <a:pt x="295" y="195"/>
                    <a:pt x="290" y="214"/>
                    <a:pt x="281" y="231"/>
                  </a:cubicBezTo>
                  <a:cubicBezTo>
                    <a:pt x="280" y="234"/>
                    <a:pt x="280" y="238"/>
                    <a:pt x="283" y="240"/>
                  </a:cubicBezTo>
                  <a:cubicBezTo>
                    <a:pt x="305" y="262"/>
                    <a:pt x="305" y="262"/>
                    <a:pt x="305" y="262"/>
                  </a:cubicBezTo>
                  <a:cubicBezTo>
                    <a:pt x="306" y="264"/>
                    <a:pt x="308" y="265"/>
                    <a:pt x="311" y="265"/>
                  </a:cubicBezTo>
                  <a:cubicBezTo>
                    <a:pt x="313" y="265"/>
                    <a:pt x="315" y="264"/>
                    <a:pt x="316" y="262"/>
                  </a:cubicBezTo>
                  <a:cubicBezTo>
                    <a:pt x="316" y="262"/>
                    <a:pt x="321" y="257"/>
                    <a:pt x="323" y="256"/>
                  </a:cubicBezTo>
                  <a:cubicBezTo>
                    <a:pt x="323" y="255"/>
                    <a:pt x="324" y="255"/>
                    <a:pt x="324" y="255"/>
                  </a:cubicBezTo>
                  <a:cubicBezTo>
                    <a:pt x="324" y="255"/>
                    <a:pt x="324" y="255"/>
                    <a:pt x="324" y="256"/>
                  </a:cubicBezTo>
                  <a:cubicBezTo>
                    <a:pt x="324" y="259"/>
                    <a:pt x="332" y="320"/>
                    <a:pt x="332" y="329"/>
                  </a:cubicBezTo>
                  <a:cubicBezTo>
                    <a:pt x="333" y="329"/>
                    <a:pt x="333" y="330"/>
                    <a:pt x="333" y="330"/>
                  </a:cubicBezTo>
                  <a:cubicBezTo>
                    <a:pt x="332" y="331"/>
                    <a:pt x="332" y="331"/>
                    <a:pt x="332" y="332"/>
                  </a:cubicBezTo>
                  <a:cubicBezTo>
                    <a:pt x="331" y="333"/>
                    <a:pt x="331" y="333"/>
                    <a:pt x="329" y="333"/>
                  </a:cubicBezTo>
                  <a:cubicBezTo>
                    <a:pt x="329" y="333"/>
                    <a:pt x="329" y="333"/>
                    <a:pt x="328" y="333"/>
                  </a:cubicBezTo>
                  <a:cubicBezTo>
                    <a:pt x="320" y="332"/>
                    <a:pt x="265" y="325"/>
                    <a:pt x="255" y="324"/>
                  </a:cubicBezTo>
                  <a:cubicBezTo>
                    <a:pt x="255" y="324"/>
                    <a:pt x="254" y="324"/>
                    <a:pt x="254" y="324"/>
                  </a:cubicBezTo>
                  <a:cubicBezTo>
                    <a:pt x="254" y="324"/>
                    <a:pt x="255" y="324"/>
                    <a:pt x="255" y="323"/>
                  </a:cubicBezTo>
                  <a:cubicBezTo>
                    <a:pt x="257" y="322"/>
                    <a:pt x="262" y="317"/>
                    <a:pt x="262" y="317"/>
                  </a:cubicBezTo>
                  <a:cubicBezTo>
                    <a:pt x="263" y="315"/>
                    <a:pt x="264" y="313"/>
                    <a:pt x="264" y="311"/>
                  </a:cubicBezTo>
                  <a:cubicBezTo>
                    <a:pt x="264" y="309"/>
                    <a:pt x="263" y="307"/>
                    <a:pt x="262" y="305"/>
                  </a:cubicBezTo>
                  <a:cubicBezTo>
                    <a:pt x="239" y="283"/>
                    <a:pt x="239" y="283"/>
                    <a:pt x="239" y="283"/>
                  </a:cubicBezTo>
                  <a:cubicBezTo>
                    <a:pt x="237" y="281"/>
                    <a:pt x="233" y="280"/>
                    <a:pt x="230" y="282"/>
                  </a:cubicBezTo>
                  <a:cubicBezTo>
                    <a:pt x="213" y="291"/>
                    <a:pt x="194" y="296"/>
                    <a:pt x="174" y="296"/>
                  </a:cubicBezTo>
                  <a:cubicBezTo>
                    <a:pt x="154" y="296"/>
                    <a:pt x="135" y="291"/>
                    <a:pt x="118" y="282"/>
                  </a:cubicBezTo>
                  <a:cubicBezTo>
                    <a:pt x="118" y="282"/>
                    <a:pt x="118" y="282"/>
                    <a:pt x="118" y="282"/>
                  </a:cubicBezTo>
                  <a:cubicBezTo>
                    <a:pt x="115" y="280"/>
                    <a:pt x="111" y="281"/>
                    <a:pt x="109" y="284"/>
                  </a:cubicBezTo>
                  <a:cubicBezTo>
                    <a:pt x="87" y="305"/>
                    <a:pt x="87" y="305"/>
                    <a:pt x="87" y="305"/>
                  </a:cubicBezTo>
                  <a:cubicBezTo>
                    <a:pt x="85" y="307"/>
                    <a:pt x="84" y="309"/>
                    <a:pt x="84" y="311"/>
                  </a:cubicBezTo>
                  <a:cubicBezTo>
                    <a:pt x="84" y="313"/>
                    <a:pt x="85" y="315"/>
                    <a:pt x="87" y="317"/>
                  </a:cubicBezTo>
                  <a:cubicBezTo>
                    <a:pt x="87" y="317"/>
                    <a:pt x="92" y="322"/>
                    <a:pt x="93" y="323"/>
                  </a:cubicBezTo>
                  <a:cubicBezTo>
                    <a:pt x="94" y="324"/>
                    <a:pt x="94" y="324"/>
                    <a:pt x="94" y="325"/>
                  </a:cubicBezTo>
                  <a:cubicBezTo>
                    <a:pt x="94" y="325"/>
                    <a:pt x="94" y="325"/>
                    <a:pt x="93" y="325"/>
                  </a:cubicBezTo>
                  <a:cubicBezTo>
                    <a:pt x="90" y="325"/>
                    <a:pt x="28" y="332"/>
                    <a:pt x="20" y="333"/>
                  </a:cubicBezTo>
                  <a:cubicBezTo>
                    <a:pt x="20" y="333"/>
                    <a:pt x="19" y="333"/>
                    <a:pt x="19" y="333"/>
                  </a:cubicBezTo>
                  <a:cubicBezTo>
                    <a:pt x="18" y="333"/>
                    <a:pt x="18" y="333"/>
                    <a:pt x="17" y="332"/>
                  </a:cubicBezTo>
                  <a:cubicBezTo>
                    <a:pt x="16" y="332"/>
                    <a:pt x="16" y="332"/>
                    <a:pt x="16" y="330"/>
                  </a:cubicBezTo>
                  <a:cubicBezTo>
                    <a:pt x="16" y="330"/>
                    <a:pt x="16" y="329"/>
                    <a:pt x="16" y="329"/>
                  </a:cubicBezTo>
                  <a:cubicBezTo>
                    <a:pt x="17" y="321"/>
                    <a:pt x="24" y="265"/>
                    <a:pt x="25" y="256"/>
                  </a:cubicBezTo>
                  <a:cubicBezTo>
                    <a:pt x="25" y="255"/>
                    <a:pt x="25" y="255"/>
                    <a:pt x="25" y="255"/>
                  </a:cubicBezTo>
                  <a:cubicBezTo>
                    <a:pt x="25" y="255"/>
                    <a:pt x="25" y="255"/>
                    <a:pt x="26" y="256"/>
                  </a:cubicBezTo>
                  <a:cubicBezTo>
                    <a:pt x="27" y="257"/>
                    <a:pt x="32" y="262"/>
                    <a:pt x="32" y="262"/>
                  </a:cubicBezTo>
                  <a:cubicBezTo>
                    <a:pt x="34" y="264"/>
                    <a:pt x="36" y="265"/>
                    <a:pt x="38" y="265"/>
                  </a:cubicBezTo>
                  <a:cubicBezTo>
                    <a:pt x="40" y="265"/>
                    <a:pt x="42" y="264"/>
                    <a:pt x="44" y="262"/>
                  </a:cubicBezTo>
                  <a:cubicBezTo>
                    <a:pt x="66" y="240"/>
                    <a:pt x="66" y="240"/>
                    <a:pt x="66" y="240"/>
                  </a:cubicBezTo>
                  <a:cubicBezTo>
                    <a:pt x="68" y="238"/>
                    <a:pt x="69" y="234"/>
                    <a:pt x="67" y="231"/>
                  </a:cubicBezTo>
                  <a:cubicBezTo>
                    <a:pt x="58" y="214"/>
                    <a:pt x="53" y="195"/>
                    <a:pt x="53" y="175"/>
                  </a:cubicBezTo>
                  <a:cubicBezTo>
                    <a:pt x="53" y="155"/>
                    <a:pt x="58" y="136"/>
                    <a:pt x="67" y="119"/>
                  </a:cubicBezTo>
                  <a:cubicBezTo>
                    <a:pt x="69" y="116"/>
                    <a:pt x="68" y="112"/>
                    <a:pt x="66" y="110"/>
                  </a:cubicBezTo>
                  <a:cubicBezTo>
                    <a:pt x="44" y="87"/>
                    <a:pt x="44" y="87"/>
                    <a:pt x="44" y="87"/>
                  </a:cubicBezTo>
                  <a:cubicBezTo>
                    <a:pt x="42" y="86"/>
                    <a:pt x="40" y="85"/>
                    <a:pt x="38" y="85"/>
                  </a:cubicBezTo>
                  <a:cubicBezTo>
                    <a:pt x="36" y="85"/>
                    <a:pt x="34" y="86"/>
                    <a:pt x="32" y="87"/>
                  </a:cubicBezTo>
                  <a:cubicBezTo>
                    <a:pt x="32" y="87"/>
                    <a:pt x="27" y="92"/>
                    <a:pt x="26" y="94"/>
                  </a:cubicBezTo>
                  <a:cubicBezTo>
                    <a:pt x="25" y="94"/>
                    <a:pt x="25" y="95"/>
                    <a:pt x="25" y="95"/>
                  </a:cubicBezTo>
                  <a:cubicBezTo>
                    <a:pt x="24" y="95"/>
                    <a:pt x="24" y="94"/>
                    <a:pt x="24" y="94"/>
                  </a:cubicBezTo>
                  <a:cubicBezTo>
                    <a:pt x="24" y="91"/>
                    <a:pt x="17" y="29"/>
                    <a:pt x="16" y="21"/>
                  </a:cubicBezTo>
                  <a:cubicBezTo>
                    <a:pt x="16" y="20"/>
                    <a:pt x="16" y="20"/>
                    <a:pt x="16" y="20"/>
                  </a:cubicBezTo>
                  <a:cubicBezTo>
                    <a:pt x="16" y="18"/>
                    <a:pt x="16" y="18"/>
                    <a:pt x="17" y="17"/>
                  </a:cubicBezTo>
                  <a:cubicBezTo>
                    <a:pt x="18" y="17"/>
                    <a:pt x="17" y="17"/>
                    <a:pt x="19" y="17"/>
                  </a:cubicBezTo>
                  <a:cubicBezTo>
                    <a:pt x="19" y="17"/>
                    <a:pt x="20" y="17"/>
                    <a:pt x="20" y="17"/>
                  </a:cubicBezTo>
                  <a:cubicBezTo>
                    <a:pt x="28" y="17"/>
                    <a:pt x="84" y="24"/>
                    <a:pt x="93" y="25"/>
                  </a:cubicBezTo>
                  <a:cubicBezTo>
                    <a:pt x="94" y="25"/>
                    <a:pt x="94" y="25"/>
                    <a:pt x="94" y="25"/>
                  </a:cubicBezTo>
                  <a:cubicBezTo>
                    <a:pt x="94" y="26"/>
                    <a:pt x="94" y="26"/>
                    <a:pt x="93" y="26"/>
                  </a:cubicBezTo>
                  <a:cubicBezTo>
                    <a:pt x="92" y="28"/>
                    <a:pt x="87" y="33"/>
                    <a:pt x="87" y="33"/>
                  </a:cubicBezTo>
                  <a:cubicBezTo>
                    <a:pt x="85" y="34"/>
                    <a:pt x="84" y="36"/>
                    <a:pt x="84" y="38"/>
                  </a:cubicBezTo>
                  <a:cubicBezTo>
                    <a:pt x="84" y="41"/>
                    <a:pt x="85" y="43"/>
                    <a:pt x="87" y="44"/>
                  </a:cubicBezTo>
                  <a:cubicBezTo>
                    <a:pt x="109" y="66"/>
                    <a:pt x="109" y="66"/>
                    <a:pt x="109" y="66"/>
                  </a:cubicBezTo>
                  <a:cubicBezTo>
                    <a:pt x="111" y="69"/>
                    <a:pt x="115" y="69"/>
                    <a:pt x="118" y="68"/>
                  </a:cubicBezTo>
                  <a:cubicBezTo>
                    <a:pt x="135" y="59"/>
                    <a:pt x="154" y="54"/>
                    <a:pt x="174" y="54"/>
                  </a:cubicBezTo>
                  <a:cubicBezTo>
                    <a:pt x="194" y="54"/>
                    <a:pt x="213" y="59"/>
                    <a:pt x="230" y="68"/>
                  </a:cubicBezTo>
                  <a:cubicBezTo>
                    <a:pt x="233" y="69"/>
                    <a:pt x="237" y="69"/>
                    <a:pt x="239" y="66"/>
                  </a:cubicBezTo>
                  <a:cubicBezTo>
                    <a:pt x="262" y="44"/>
                    <a:pt x="262" y="44"/>
                    <a:pt x="262" y="44"/>
                  </a:cubicBezTo>
                  <a:cubicBezTo>
                    <a:pt x="263" y="43"/>
                    <a:pt x="264" y="41"/>
                    <a:pt x="264" y="38"/>
                  </a:cubicBezTo>
                  <a:cubicBezTo>
                    <a:pt x="264" y="36"/>
                    <a:pt x="263" y="34"/>
                    <a:pt x="262" y="33"/>
                  </a:cubicBezTo>
                  <a:cubicBezTo>
                    <a:pt x="262" y="33"/>
                    <a:pt x="257" y="28"/>
                    <a:pt x="255" y="26"/>
                  </a:cubicBezTo>
                  <a:cubicBezTo>
                    <a:pt x="255" y="26"/>
                    <a:pt x="254" y="25"/>
                    <a:pt x="254" y="25"/>
                  </a:cubicBezTo>
                  <a:cubicBezTo>
                    <a:pt x="254" y="25"/>
                    <a:pt x="255" y="25"/>
                    <a:pt x="255" y="25"/>
                  </a:cubicBezTo>
                  <a:cubicBezTo>
                    <a:pt x="258" y="25"/>
                    <a:pt x="320" y="17"/>
                    <a:pt x="328" y="17"/>
                  </a:cubicBezTo>
                  <a:cubicBezTo>
                    <a:pt x="329" y="16"/>
                    <a:pt x="329" y="16"/>
                    <a:pt x="329" y="16"/>
                  </a:cubicBezTo>
                  <a:cubicBezTo>
                    <a:pt x="331" y="17"/>
                    <a:pt x="331" y="17"/>
                    <a:pt x="332" y="17"/>
                  </a:cubicBezTo>
                  <a:cubicBezTo>
                    <a:pt x="332" y="18"/>
                    <a:pt x="332" y="18"/>
                    <a:pt x="332" y="20"/>
                  </a:cubicBezTo>
                  <a:cubicBezTo>
                    <a:pt x="332" y="20"/>
                    <a:pt x="332" y="20"/>
                    <a:pt x="332" y="21"/>
                  </a:cubicBezTo>
                  <a:cubicBezTo>
                    <a:pt x="332" y="23"/>
                    <a:pt x="331" y="30"/>
                    <a:pt x="330" y="39"/>
                  </a:cubicBezTo>
                  <a:cubicBezTo>
                    <a:pt x="330" y="43"/>
                    <a:pt x="333" y="47"/>
                    <a:pt x="337" y="48"/>
                  </a:cubicBezTo>
                  <a:cubicBezTo>
                    <a:pt x="342" y="48"/>
                    <a:pt x="346" y="45"/>
                    <a:pt x="346" y="41"/>
                  </a:cubicBezTo>
                  <a:cubicBezTo>
                    <a:pt x="347" y="32"/>
                    <a:pt x="348" y="25"/>
                    <a:pt x="348" y="22"/>
                  </a:cubicBezTo>
                  <a:cubicBezTo>
                    <a:pt x="348" y="21"/>
                    <a:pt x="348" y="21"/>
                    <a:pt x="348" y="20"/>
                  </a:cubicBezTo>
                  <a:cubicBezTo>
                    <a:pt x="349" y="15"/>
                    <a:pt x="347" y="10"/>
                    <a:pt x="343" y="6"/>
                  </a:cubicBezTo>
                  <a:cubicBezTo>
                    <a:pt x="339" y="2"/>
                    <a:pt x="334" y="0"/>
                    <a:pt x="329" y="0"/>
                  </a:cubicBezTo>
                  <a:cubicBezTo>
                    <a:pt x="328" y="0"/>
                    <a:pt x="327" y="1"/>
                    <a:pt x="326" y="1"/>
                  </a:cubicBezTo>
                  <a:cubicBezTo>
                    <a:pt x="318" y="1"/>
                    <a:pt x="256" y="9"/>
                    <a:pt x="253" y="9"/>
                  </a:cubicBezTo>
                  <a:cubicBezTo>
                    <a:pt x="250" y="9"/>
                    <a:pt x="246" y="11"/>
                    <a:pt x="243" y="13"/>
                  </a:cubicBezTo>
                  <a:cubicBezTo>
                    <a:pt x="240" y="15"/>
                    <a:pt x="237" y="20"/>
                    <a:pt x="237" y="24"/>
                  </a:cubicBezTo>
                  <a:cubicBezTo>
                    <a:pt x="237" y="29"/>
                    <a:pt x="240" y="34"/>
                    <a:pt x="244" y="38"/>
                  </a:cubicBezTo>
                  <a:cubicBezTo>
                    <a:pt x="244" y="38"/>
                    <a:pt x="244" y="38"/>
                    <a:pt x="245" y="38"/>
                  </a:cubicBezTo>
                  <a:cubicBezTo>
                    <a:pt x="232" y="51"/>
                    <a:pt x="232" y="51"/>
                    <a:pt x="232" y="51"/>
                  </a:cubicBezTo>
                  <a:cubicBezTo>
                    <a:pt x="215" y="43"/>
                    <a:pt x="195" y="38"/>
                    <a:pt x="174" y="38"/>
                  </a:cubicBezTo>
                  <a:cubicBezTo>
                    <a:pt x="153" y="38"/>
                    <a:pt x="134" y="43"/>
                    <a:pt x="116" y="51"/>
                  </a:cubicBezTo>
                  <a:cubicBezTo>
                    <a:pt x="104" y="38"/>
                    <a:pt x="104" y="38"/>
                    <a:pt x="104" y="38"/>
                  </a:cubicBezTo>
                  <a:cubicBezTo>
                    <a:pt x="104" y="38"/>
                    <a:pt x="104" y="38"/>
                    <a:pt x="105" y="38"/>
                  </a:cubicBezTo>
                  <a:cubicBezTo>
                    <a:pt x="108" y="34"/>
                    <a:pt x="111" y="29"/>
                    <a:pt x="111" y="24"/>
                  </a:cubicBezTo>
                  <a:cubicBezTo>
                    <a:pt x="111" y="20"/>
                    <a:pt x="109" y="15"/>
                    <a:pt x="106" y="13"/>
                  </a:cubicBezTo>
                  <a:cubicBezTo>
                    <a:pt x="102" y="11"/>
                    <a:pt x="99" y="10"/>
                    <a:pt x="95" y="9"/>
                  </a:cubicBezTo>
                  <a:cubicBezTo>
                    <a:pt x="86" y="8"/>
                    <a:pt x="30" y="2"/>
                    <a:pt x="22" y="1"/>
                  </a:cubicBezTo>
                  <a:cubicBezTo>
                    <a:pt x="21" y="1"/>
                    <a:pt x="20" y="1"/>
                    <a:pt x="19" y="1"/>
                  </a:cubicBezTo>
                  <a:cubicBezTo>
                    <a:pt x="14" y="0"/>
                    <a:pt x="9" y="2"/>
                    <a:pt x="5" y="6"/>
                  </a:cubicBezTo>
                  <a:cubicBezTo>
                    <a:pt x="2" y="10"/>
                    <a:pt x="0" y="15"/>
                    <a:pt x="0" y="20"/>
                  </a:cubicBezTo>
                  <a:cubicBezTo>
                    <a:pt x="0" y="21"/>
                    <a:pt x="0" y="22"/>
                    <a:pt x="0" y="23"/>
                  </a:cubicBezTo>
                  <a:cubicBezTo>
                    <a:pt x="1" y="31"/>
                    <a:pt x="8" y="93"/>
                    <a:pt x="8" y="96"/>
                  </a:cubicBezTo>
                  <a:cubicBezTo>
                    <a:pt x="9" y="99"/>
                    <a:pt x="10" y="103"/>
                    <a:pt x="12" y="106"/>
                  </a:cubicBezTo>
                  <a:cubicBezTo>
                    <a:pt x="15" y="109"/>
                    <a:pt x="19" y="112"/>
                    <a:pt x="23" y="112"/>
                  </a:cubicBezTo>
                  <a:cubicBezTo>
                    <a:pt x="29" y="112"/>
                    <a:pt x="33" y="109"/>
                    <a:pt x="37" y="105"/>
                  </a:cubicBezTo>
                  <a:cubicBezTo>
                    <a:pt x="37" y="105"/>
                    <a:pt x="37" y="105"/>
                    <a:pt x="38" y="104"/>
                  </a:cubicBezTo>
                  <a:cubicBezTo>
                    <a:pt x="50" y="117"/>
                    <a:pt x="50" y="117"/>
                    <a:pt x="50" y="117"/>
                  </a:cubicBezTo>
                  <a:cubicBezTo>
                    <a:pt x="42" y="134"/>
                    <a:pt x="37" y="154"/>
                    <a:pt x="37" y="175"/>
                  </a:cubicBezTo>
                  <a:cubicBezTo>
                    <a:pt x="37" y="196"/>
                    <a:pt x="42" y="215"/>
                    <a:pt x="50" y="233"/>
                  </a:cubicBezTo>
                  <a:cubicBezTo>
                    <a:pt x="38" y="245"/>
                    <a:pt x="38" y="245"/>
                    <a:pt x="38" y="245"/>
                  </a:cubicBezTo>
                  <a:cubicBezTo>
                    <a:pt x="38" y="245"/>
                    <a:pt x="37" y="245"/>
                    <a:pt x="37" y="244"/>
                  </a:cubicBezTo>
                  <a:cubicBezTo>
                    <a:pt x="33" y="241"/>
                    <a:pt x="29" y="238"/>
                    <a:pt x="23" y="238"/>
                  </a:cubicBezTo>
                  <a:cubicBezTo>
                    <a:pt x="19" y="238"/>
                    <a:pt x="15" y="240"/>
                    <a:pt x="12" y="243"/>
                  </a:cubicBezTo>
                  <a:cubicBezTo>
                    <a:pt x="10" y="247"/>
                    <a:pt x="9" y="250"/>
                    <a:pt x="9" y="254"/>
                  </a:cubicBezTo>
                  <a:cubicBezTo>
                    <a:pt x="8" y="263"/>
                    <a:pt x="1" y="319"/>
                    <a:pt x="0" y="327"/>
                  </a:cubicBezTo>
                  <a:cubicBezTo>
                    <a:pt x="0" y="328"/>
                    <a:pt x="0" y="329"/>
                    <a:pt x="0" y="330"/>
                  </a:cubicBezTo>
                  <a:cubicBezTo>
                    <a:pt x="0" y="335"/>
                    <a:pt x="2" y="340"/>
                    <a:pt x="5" y="344"/>
                  </a:cubicBezTo>
                  <a:cubicBezTo>
                    <a:pt x="9" y="347"/>
                    <a:pt x="14" y="349"/>
                    <a:pt x="19" y="349"/>
                  </a:cubicBezTo>
                  <a:cubicBezTo>
                    <a:pt x="19" y="349"/>
                    <a:pt x="19" y="349"/>
                    <a:pt x="19" y="349"/>
                  </a:cubicBezTo>
                  <a:cubicBezTo>
                    <a:pt x="20" y="349"/>
                    <a:pt x="21" y="349"/>
                    <a:pt x="22" y="349"/>
                  </a:cubicBezTo>
                  <a:cubicBezTo>
                    <a:pt x="30" y="348"/>
                    <a:pt x="92" y="341"/>
                    <a:pt x="95" y="341"/>
                  </a:cubicBezTo>
                  <a:cubicBezTo>
                    <a:pt x="99" y="340"/>
                    <a:pt x="102" y="339"/>
                    <a:pt x="106" y="337"/>
                  </a:cubicBezTo>
                  <a:cubicBezTo>
                    <a:pt x="109" y="334"/>
                    <a:pt x="111" y="330"/>
                    <a:pt x="111" y="326"/>
                  </a:cubicBezTo>
                  <a:cubicBezTo>
                    <a:pt x="111" y="320"/>
                    <a:pt x="108" y="316"/>
                    <a:pt x="105" y="312"/>
                  </a:cubicBezTo>
                  <a:cubicBezTo>
                    <a:pt x="104" y="312"/>
                    <a:pt x="104" y="312"/>
                    <a:pt x="104" y="311"/>
                  </a:cubicBezTo>
                  <a:cubicBezTo>
                    <a:pt x="116" y="299"/>
                    <a:pt x="116" y="299"/>
                    <a:pt x="116" y="299"/>
                  </a:cubicBezTo>
                  <a:cubicBezTo>
                    <a:pt x="134" y="307"/>
                    <a:pt x="153" y="312"/>
                    <a:pt x="174" y="312"/>
                  </a:cubicBezTo>
                  <a:cubicBezTo>
                    <a:pt x="195" y="312"/>
                    <a:pt x="215" y="307"/>
                    <a:pt x="232" y="299"/>
                  </a:cubicBezTo>
                  <a:cubicBezTo>
                    <a:pt x="245" y="311"/>
                    <a:pt x="245" y="311"/>
                    <a:pt x="245" y="311"/>
                  </a:cubicBezTo>
                  <a:cubicBezTo>
                    <a:pt x="244" y="312"/>
                    <a:pt x="244" y="312"/>
                    <a:pt x="244" y="312"/>
                  </a:cubicBezTo>
                  <a:cubicBezTo>
                    <a:pt x="240" y="316"/>
                    <a:pt x="237" y="320"/>
                    <a:pt x="237" y="326"/>
                  </a:cubicBezTo>
                  <a:cubicBezTo>
                    <a:pt x="237" y="330"/>
                    <a:pt x="240" y="334"/>
                    <a:pt x="243" y="337"/>
                  </a:cubicBezTo>
                  <a:cubicBezTo>
                    <a:pt x="246" y="339"/>
                    <a:pt x="250" y="340"/>
                    <a:pt x="254" y="340"/>
                  </a:cubicBezTo>
                  <a:cubicBezTo>
                    <a:pt x="262" y="341"/>
                    <a:pt x="318" y="348"/>
                    <a:pt x="327" y="349"/>
                  </a:cubicBezTo>
                  <a:cubicBezTo>
                    <a:pt x="328" y="349"/>
                    <a:pt x="328" y="349"/>
                    <a:pt x="329" y="349"/>
                  </a:cubicBezTo>
                  <a:cubicBezTo>
                    <a:pt x="334" y="349"/>
                    <a:pt x="339" y="347"/>
                    <a:pt x="343" y="344"/>
                  </a:cubicBezTo>
                  <a:cubicBezTo>
                    <a:pt x="347" y="340"/>
                    <a:pt x="349" y="334"/>
                    <a:pt x="349" y="330"/>
                  </a:cubicBezTo>
                  <a:cubicBezTo>
                    <a:pt x="349" y="329"/>
                    <a:pt x="348" y="328"/>
                    <a:pt x="348"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87" name="TextBox 86"/>
            <p:cNvSpPr txBox="1"/>
            <p:nvPr/>
          </p:nvSpPr>
          <p:spPr>
            <a:xfrm>
              <a:off x="5375030" y="2579259"/>
              <a:ext cx="1554480" cy="492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Qualified AoS from SDOD tool</a:t>
              </a:r>
            </a:p>
          </p:txBody>
        </p:sp>
        <p:sp>
          <p:nvSpPr>
            <p:cNvPr id="88" name="TextBox 87"/>
            <p:cNvSpPr txBox="1"/>
            <p:nvPr/>
          </p:nvSpPr>
          <p:spPr>
            <a:xfrm>
              <a:off x="5375030" y="5276992"/>
              <a:ext cx="1505272" cy="6924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Add approval CCB Steering or Project flow  </a:t>
              </a:r>
            </a:p>
          </p:txBody>
        </p:sp>
        <p:sp>
          <p:nvSpPr>
            <p:cNvPr id="89" name="TextBox 88"/>
            <p:cNvSpPr txBox="1"/>
            <p:nvPr/>
          </p:nvSpPr>
          <p:spPr>
            <a:xfrm>
              <a:off x="6661069" y="3206350"/>
              <a:ext cx="1188720" cy="29238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Create CR</a:t>
              </a:r>
            </a:p>
          </p:txBody>
        </p:sp>
        <p:sp>
          <p:nvSpPr>
            <p:cNvPr id="90" name="TextBox 89"/>
            <p:cNvSpPr txBox="1"/>
            <p:nvPr/>
          </p:nvSpPr>
          <p:spPr>
            <a:xfrm>
              <a:off x="4411500" y="3158420"/>
              <a:ext cx="1188720" cy="29238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CCB</a:t>
              </a:r>
            </a:p>
          </p:txBody>
        </p:sp>
        <p:sp>
          <p:nvSpPr>
            <p:cNvPr id="91" name="TextBox 90"/>
            <p:cNvSpPr txBox="1"/>
            <p:nvPr/>
          </p:nvSpPr>
          <p:spPr>
            <a:xfrm>
              <a:off x="6711083" y="5003227"/>
              <a:ext cx="1188720" cy="6924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Add Status, Financials &amp; Schedule</a:t>
              </a:r>
            </a:p>
          </p:txBody>
        </p:sp>
        <p:sp>
          <p:nvSpPr>
            <p:cNvPr id="92" name="TextBox 91"/>
            <p:cNvSpPr txBox="1"/>
            <p:nvPr/>
          </p:nvSpPr>
          <p:spPr>
            <a:xfrm>
              <a:off x="4312234" y="4989775"/>
              <a:ext cx="1306744" cy="492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Update stat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In GC</a:t>
              </a:r>
            </a:p>
          </p:txBody>
        </p:sp>
      </p:grpSp>
      <p:grpSp>
        <p:nvGrpSpPr>
          <p:cNvPr id="24" name="Group 23"/>
          <p:cNvGrpSpPr/>
          <p:nvPr/>
        </p:nvGrpSpPr>
        <p:grpSpPr>
          <a:xfrm>
            <a:off x="8088999" y="2603260"/>
            <a:ext cx="3902971" cy="3375884"/>
            <a:chOff x="8088999" y="2603260"/>
            <a:chExt cx="3902971" cy="3375884"/>
          </a:xfrm>
        </p:grpSpPr>
        <p:sp>
          <p:nvSpPr>
            <p:cNvPr id="94" name="Oval 93"/>
            <p:cNvSpPr/>
            <p:nvPr/>
          </p:nvSpPr>
          <p:spPr bwMode="auto">
            <a:xfrm>
              <a:off x="9855878" y="4125098"/>
              <a:ext cx="274320" cy="274320"/>
            </a:xfrm>
            <a:prstGeom prst="ellips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cxnSp>
          <p:nvCxnSpPr>
            <p:cNvPr id="95" name="Straight Connector 94"/>
            <p:cNvCxnSpPr/>
            <p:nvPr/>
          </p:nvCxnSpPr>
          <p:spPr bwMode="auto">
            <a:xfrm flipV="1">
              <a:off x="9636804" y="4381794"/>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96" name="Straight Connector 95"/>
            <p:cNvCxnSpPr/>
            <p:nvPr/>
          </p:nvCxnSpPr>
          <p:spPr bwMode="auto">
            <a:xfrm flipV="1">
              <a:off x="10198778" y="4065277"/>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97" name="Straight Connector 96"/>
            <p:cNvCxnSpPr/>
            <p:nvPr/>
          </p:nvCxnSpPr>
          <p:spPr bwMode="auto">
            <a:xfrm flipV="1">
              <a:off x="9993038" y="4484714"/>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98" name="Straight Connector 97"/>
            <p:cNvCxnSpPr/>
            <p:nvPr/>
          </p:nvCxnSpPr>
          <p:spPr bwMode="auto">
            <a:xfrm flipV="1">
              <a:off x="9993038" y="3875210"/>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99" name="Straight Connector 98"/>
            <p:cNvCxnSpPr/>
            <p:nvPr/>
          </p:nvCxnSpPr>
          <p:spPr bwMode="auto">
            <a:xfrm>
              <a:off x="9636804" y="4063189"/>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100" name="Straight Connector 99"/>
            <p:cNvCxnSpPr/>
            <p:nvPr/>
          </p:nvCxnSpPr>
          <p:spPr bwMode="auto">
            <a:xfrm>
              <a:off x="10198778" y="4379706"/>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sp>
          <p:nvSpPr>
            <p:cNvPr id="101" name="Oval 100"/>
            <p:cNvSpPr>
              <a:spLocks noChangeAspect="1"/>
            </p:cNvSpPr>
            <p:nvPr/>
          </p:nvSpPr>
          <p:spPr bwMode="auto">
            <a:xfrm>
              <a:off x="8873481" y="3488923"/>
              <a:ext cx="731520" cy="731520"/>
            </a:xfrm>
            <a:prstGeom prst="ellipse">
              <a:avLst/>
            </a:prstGeom>
            <a:solidFill>
              <a:schemeClr val="tx1">
                <a:lumMod val="90000"/>
                <a:lumOff val="10000"/>
              </a:schemeClr>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102" name="Oval 101"/>
            <p:cNvSpPr>
              <a:spLocks noChangeAspect="1"/>
            </p:cNvSpPr>
            <p:nvPr/>
          </p:nvSpPr>
          <p:spPr bwMode="auto">
            <a:xfrm>
              <a:off x="9627278" y="3058393"/>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103" name="Oval 102"/>
            <p:cNvSpPr>
              <a:spLocks noChangeAspect="1"/>
            </p:cNvSpPr>
            <p:nvPr/>
          </p:nvSpPr>
          <p:spPr bwMode="auto">
            <a:xfrm>
              <a:off x="8873481" y="4298834"/>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104" name="Oval 103"/>
            <p:cNvSpPr>
              <a:spLocks noChangeAspect="1"/>
            </p:cNvSpPr>
            <p:nvPr/>
          </p:nvSpPr>
          <p:spPr bwMode="auto">
            <a:xfrm>
              <a:off x="10378432" y="3488923"/>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105" name="Oval 104"/>
            <p:cNvSpPr>
              <a:spLocks noChangeAspect="1"/>
            </p:cNvSpPr>
            <p:nvPr/>
          </p:nvSpPr>
          <p:spPr bwMode="auto">
            <a:xfrm>
              <a:off x="10378432" y="4298834"/>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106" name="Oval 105"/>
            <p:cNvSpPr>
              <a:spLocks noChangeAspect="1"/>
            </p:cNvSpPr>
            <p:nvPr/>
          </p:nvSpPr>
          <p:spPr bwMode="auto">
            <a:xfrm>
              <a:off x="9629659" y="4734603"/>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2000" b="0" i="0" u="none" strike="noStrike" kern="1200" cap="none" spc="0" normalizeH="0" baseline="0" noProof="0">
                <a:ln>
                  <a:noFill/>
                </a:ln>
                <a:solidFill>
                  <a:srgbClr val="181818"/>
                </a:solidFill>
                <a:effectLst/>
                <a:uLnTx/>
                <a:uFillTx/>
                <a:latin typeface="Arial" charset="0"/>
                <a:ea typeface="+mn-ea"/>
                <a:cs typeface="+mn-cs"/>
              </a:endParaRPr>
            </a:p>
          </p:txBody>
        </p:sp>
        <p:sp>
          <p:nvSpPr>
            <p:cNvPr id="107" name="Freeform 3"/>
            <p:cNvSpPr>
              <a:spLocks noChangeAspect="1" noEditPoints="1"/>
            </p:cNvSpPr>
            <p:nvPr/>
          </p:nvSpPr>
          <p:spPr bwMode="auto">
            <a:xfrm>
              <a:off x="10502625" y="3671803"/>
              <a:ext cx="483134" cy="365760"/>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08" name="Freeform 3"/>
            <p:cNvSpPr>
              <a:spLocks noChangeAspect="1" noEditPoints="1"/>
            </p:cNvSpPr>
            <p:nvPr/>
          </p:nvSpPr>
          <p:spPr bwMode="auto">
            <a:xfrm>
              <a:off x="9759415" y="3119353"/>
              <a:ext cx="467247" cy="548640"/>
            </a:xfrm>
            <a:custGeom>
              <a:avLst/>
              <a:gdLst>
                <a:gd name="T0" fmla="*/ 2147483647 w 384"/>
                <a:gd name="T1" fmla="*/ 2147483647 h 451"/>
                <a:gd name="T2" fmla="*/ 2147483647 w 384"/>
                <a:gd name="T3" fmla="*/ 2147483647 h 451"/>
                <a:gd name="T4" fmla="*/ 2147483647 w 384"/>
                <a:gd name="T5" fmla="*/ 2147483647 h 451"/>
                <a:gd name="T6" fmla="*/ 2147483647 w 384"/>
                <a:gd name="T7" fmla="*/ 2147483647 h 451"/>
                <a:gd name="T8" fmla="*/ 2147483647 w 384"/>
                <a:gd name="T9" fmla="*/ 2147483647 h 451"/>
                <a:gd name="T10" fmla="*/ 2147483647 w 384"/>
                <a:gd name="T11" fmla="*/ 2147483647 h 451"/>
                <a:gd name="T12" fmla="*/ 2147483647 w 384"/>
                <a:gd name="T13" fmla="*/ 2147483647 h 451"/>
                <a:gd name="T14" fmla="*/ 2147483647 w 384"/>
                <a:gd name="T15" fmla="*/ 2147483647 h 451"/>
                <a:gd name="T16" fmla="*/ 2147483647 w 384"/>
                <a:gd name="T17" fmla="*/ 2147483647 h 451"/>
                <a:gd name="T18" fmla="*/ 2147483647 w 384"/>
                <a:gd name="T19" fmla="*/ 2147483647 h 451"/>
                <a:gd name="T20" fmla="*/ 2147483647 w 384"/>
                <a:gd name="T21" fmla="*/ 2147483647 h 451"/>
                <a:gd name="T22" fmla="*/ 0 w 384"/>
                <a:gd name="T23" fmla="*/ 2147483647 h 451"/>
                <a:gd name="T24" fmla="*/ 0 w 384"/>
                <a:gd name="T25" fmla="*/ 2147483647 h 451"/>
                <a:gd name="T26" fmla="*/ 2147483647 w 384"/>
                <a:gd name="T27" fmla="*/ 2147483647 h 451"/>
                <a:gd name="T28" fmla="*/ 2147483647 w 384"/>
                <a:gd name="T29" fmla="*/ 2147483647 h 451"/>
                <a:gd name="T30" fmla="*/ 2147483647 w 384"/>
                <a:gd name="T31" fmla="*/ 2147483647 h 451"/>
                <a:gd name="T32" fmla="*/ 2147483647 w 384"/>
                <a:gd name="T33" fmla="*/ 2147483647 h 451"/>
                <a:gd name="T34" fmla="*/ 2147483647 w 384"/>
                <a:gd name="T35" fmla="*/ 2147483647 h 451"/>
                <a:gd name="T36" fmla="*/ 2147483647 w 384"/>
                <a:gd name="T37" fmla="*/ 2147483647 h 451"/>
                <a:gd name="T38" fmla="*/ 2147483647 w 384"/>
                <a:gd name="T39" fmla="*/ 2147483647 h 451"/>
                <a:gd name="T40" fmla="*/ 2147483647 w 384"/>
                <a:gd name="T41" fmla="*/ 2147483647 h 451"/>
                <a:gd name="T42" fmla="*/ 2147483647 w 384"/>
                <a:gd name="T43" fmla="*/ 2147483647 h 451"/>
                <a:gd name="T44" fmla="*/ 2147483647 w 384"/>
                <a:gd name="T45" fmla="*/ 2147483647 h 451"/>
                <a:gd name="T46" fmla="*/ 2147483647 w 384"/>
                <a:gd name="T47" fmla="*/ 2147483647 h 451"/>
                <a:gd name="T48" fmla="*/ 2147483647 w 384"/>
                <a:gd name="T49" fmla="*/ 2147483647 h 451"/>
                <a:gd name="T50" fmla="*/ 2147483647 w 384"/>
                <a:gd name="T51" fmla="*/ 2147483647 h 451"/>
                <a:gd name="T52" fmla="*/ 2147483647 w 384"/>
                <a:gd name="T53" fmla="*/ 2147483647 h 451"/>
                <a:gd name="T54" fmla="*/ 2147483647 w 384"/>
                <a:gd name="T55" fmla="*/ 2147483647 h 451"/>
                <a:gd name="T56" fmla="*/ 2147483647 w 384"/>
                <a:gd name="T57" fmla="*/ 2147483647 h 451"/>
                <a:gd name="T58" fmla="*/ 2147483647 w 384"/>
                <a:gd name="T59" fmla="*/ 2147483647 h 451"/>
                <a:gd name="T60" fmla="*/ 2147483647 w 384"/>
                <a:gd name="T61" fmla="*/ 2147483647 h 451"/>
                <a:gd name="T62" fmla="*/ 2147483647 w 384"/>
                <a:gd name="T63" fmla="*/ 2147483647 h 451"/>
                <a:gd name="T64" fmla="*/ 2147483647 w 384"/>
                <a:gd name="T65" fmla="*/ 2147483647 h 451"/>
                <a:gd name="T66" fmla="*/ 2147483647 w 384"/>
                <a:gd name="T67" fmla="*/ 2147483647 h 451"/>
                <a:gd name="T68" fmla="*/ 2147483647 w 384"/>
                <a:gd name="T69" fmla="*/ 2147483647 h 451"/>
                <a:gd name="T70" fmla="*/ 2147483647 w 384"/>
                <a:gd name="T71" fmla="*/ 2147483647 h 451"/>
                <a:gd name="T72" fmla="*/ 2147483647 w 384"/>
                <a:gd name="T73" fmla="*/ 2147483647 h 451"/>
                <a:gd name="T74" fmla="*/ 2147483647 w 384"/>
                <a:gd name="T75" fmla="*/ 2147483647 h 451"/>
                <a:gd name="T76" fmla="*/ 2147483647 w 384"/>
                <a:gd name="T77" fmla="*/ 2147483647 h 451"/>
                <a:gd name="T78" fmla="*/ 2147483647 w 384"/>
                <a:gd name="T79" fmla="*/ 2147483647 h 451"/>
                <a:gd name="T80" fmla="*/ 2147483647 w 384"/>
                <a:gd name="T81" fmla="*/ 2147483647 h 451"/>
                <a:gd name="T82" fmla="*/ 2147483647 w 384"/>
                <a:gd name="T83" fmla="*/ 2147483647 h 451"/>
                <a:gd name="T84" fmla="*/ 2147483647 w 384"/>
                <a:gd name="T85" fmla="*/ 2147483647 h 451"/>
                <a:gd name="T86" fmla="*/ 2147483647 w 384"/>
                <a:gd name="T87" fmla="*/ 2147483647 h 451"/>
                <a:gd name="T88" fmla="*/ 2147483647 w 384"/>
                <a:gd name="T89" fmla="*/ 2147483647 h 451"/>
                <a:gd name="T90" fmla="*/ 2147483647 w 384"/>
                <a:gd name="T91" fmla="*/ 2147483647 h 451"/>
                <a:gd name="T92" fmla="*/ 2147483647 w 384"/>
                <a:gd name="T93" fmla="*/ 2147483647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84" h="451">
                  <a:moveTo>
                    <a:pt x="240" y="101"/>
                  </a:moveTo>
                  <a:cubicBezTo>
                    <a:pt x="236" y="101"/>
                    <a:pt x="232" y="104"/>
                    <a:pt x="232" y="109"/>
                  </a:cubicBezTo>
                  <a:cubicBezTo>
                    <a:pt x="231" y="113"/>
                    <a:pt x="235" y="117"/>
                    <a:pt x="239" y="117"/>
                  </a:cubicBezTo>
                  <a:cubicBezTo>
                    <a:pt x="303" y="122"/>
                    <a:pt x="368" y="172"/>
                    <a:pt x="368" y="259"/>
                  </a:cubicBezTo>
                  <a:cubicBezTo>
                    <a:pt x="368" y="275"/>
                    <a:pt x="366" y="290"/>
                    <a:pt x="362" y="305"/>
                  </a:cubicBezTo>
                  <a:cubicBezTo>
                    <a:pt x="361" y="291"/>
                    <a:pt x="351" y="279"/>
                    <a:pt x="341" y="274"/>
                  </a:cubicBezTo>
                  <a:cubicBezTo>
                    <a:pt x="347" y="267"/>
                    <a:pt x="350" y="258"/>
                    <a:pt x="350" y="248"/>
                  </a:cubicBezTo>
                  <a:cubicBezTo>
                    <a:pt x="350" y="225"/>
                    <a:pt x="331" y="207"/>
                    <a:pt x="309" y="207"/>
                  </a:cubicBezTo>
                  <a:cubicBezTo>
                    <a:pt x="286" y="207"/>
                    <a:pt x="267" y="225"/>
                    <a:pt x="267" y="248"/>
                  </a:cubicBezTo>
                  <a:cubicBezTo>
                    <a:pt x="267" y="258"/>
                    <a:pt x="271" y="267"/>
                    <a:pt x="277" y="275"/>
                  </a:cubicBezTo>
                  <a:cubicBezTo>
                    <a:pt x="269" y="279"/>
                    <a:pt x="260" y="287"/>
                    <a:pt x="258" y="301"/>
                  </a:cubicBezTo>
                  <a:cubicBezTo>
                    <a:pt x="252" y="294"/>
                    <a:pt x="245" y="289"/>
                    <a:pt x="239" y="286"/>
                  </a:cubicBezTo>
                  <a:cubicBezTo>
                    <a:pt x="249" y="274"/>
                    <a:pt x="256" y="259"/>
                    <a:pt x="256" y="243"/>
                  </a:cubicBezTo>
                  <a:cubicBezTo>
                    <a:pt x="256" y="208"/>
                    <a:pt x="227" y="180"/>
                    <a:pt x="192" y="180"/>
                  </a:cubicBezTo>
                  <a:cubicBezTo>
                    <a:pt x="158" y="180"/>
                    <a:pt x="129" y="208"/>
                    <a:pt x="129" y="243"/>
                  </a:cubicBezTo>
                  <a:cubicBezTo>
                    <a:pt x="129" y="259"/>
                    <a:pt x="136" y="274"/>
                    <a:pt x="146" y="286"/>
                  </a:cubicBezTo>
                  <a:cubicBezTo>
                    <a:pt x="140" y="289"/>
                    <a:pt x="133" y="294"/>
                    <a:pt x="127" y="301"/>
                  </a:cubicBezTo>
                  <a:cubicBezTo>
                    <a:pt x="125" y="287"/>
                    <a:pt x="116" y="279"/>
                    <a:pt x="108" y="275"/>
                  </a:cubicBezTo>
                  <a:cubicBezTo>
                    <a:pt x="114" y="267"/>
                    <a:pt x="118" y="258"/>
                    <a:pt x="118" y="248"/>
                  </a:cubicBezTo>
                  <a:cubicBezTo>
                    <a:pt x="118" y="225"/>
                    <a:pt x="99" y="207"/>
                    <a:pt x="76" y="207"/>
                  </a:cubicBezTo>
                  <a:cubicBezTo>
                    <a:pt x="54" y="207"/>
                    <a:pt x="35" y="225"/>
                    <a:pt x="35" y="248"/>
                  </a:cubicBezTo>
                  <a:cubicBezTo>
                    <a:pt x="35" y="258"/>
                    <a:pt x="38" y="267"/>
                    <a:pt x="44" y="274"/>
                  </a:cubicBezTo>
                  <a:cubicBezTo>
                    <a:pt x="34" y="279"/>
                    <a:pt x="24" y="292"/>
                    <a:pt x="23" y="307"/>
                  </a:cubicBezTo>
                  <a:cubicBezTo>
                    <a:pt x="18" y="292"/>
                    <a:pt x="16" y="276"/>
                    <a:pt x="16" y="260"/>
                  </a:cubicBezTo>
                  <a:cubicBezTo>
                    <a:pt x="16" y="124"/>
                    <a:pt x="106" y="90"/>
                    <a:pt x="162" y="83"/>
                  </a:cubicBezTo>
                  <a:cubicBezTo>
                    <a:pt x="166" y="99"/>
                    <a:pt x="166" y="99"/>
                    <a:pt x="166" y="99"/>
                  </a:cubicBezTo>
                  <a:cubicBezTo>
                    <a:pt x="167" y="102"/>
                    <a:pt x="169" y="104"/>
                    <a:pt x="172" y="105"/>
                  </a:cubicBezTo>
                  <a:cubicBezTo>
                    <a:pt x="175" y="106"/>
                    <a:pt x="178" y="104"/>
                    <a:pt x="180" y="102"/>
                  </a:cubicBezTo>
                  <a:cubicBezTo>
                    <a:pt x="225" y="43"/>
                    <a:pt x="225" y="43"/>
                    <a:pt x="225" y="43"/>
                  </a:cubicBezTo>
                  <a:cubicBezTo>
                    <a:pt x="226" y="41"/>
                    <a:pt x="227" y="38"/>
                    <a:pt x="226" y="36"/>
                  </a:cubicBezTo>
                  <a:cubicBezTo>
                    <a:pt x="226" y="34"/>
                    <a:pt x="224" y="32"/>
                    <a:pt x="222" y="31"/>
                  </a:cubicBezTo>
                  <a:cubicBezTo>
                    <a:pt x="154" y="1"/>
                    <a:pt x="154" y="1"/>
                    <a:pt x="154" y="1"/>
                  </a:cubicBezTo>
                  <a:cubicBezTo>
                    <a:pt x="151" y="0"/>
                    <a:pt x="148" y="1"/>
                    <a:pt x="145" y="3"/>
                  </a:cubicBezTo>
                  <a:cubicBezTo>
                    <a:pt x="143" y="5"/>
                    <a:pt x="142" y="8"/>
                    <a:pt x="143" y="11"/>
                  </a:cubicBezTo>
                  <a:cubicBezTo>
                    <a:pt x="147" y="26"/>
                    <a:pt x="147" y="26"/>
                    <a:pt x="147" y="26"/>
                  </a:cubicBezTo>
                  <a:cubicBezTo>
                    <a:pt x="108" y="38"/>
                    <a:pt x="1" y="115"/>
                    <a:pt x="0" y="258"/>
                  </a:cubicBezTo>
                  <a:cubicBezTo>
                    <a:pt x="0" y="259"/>
                    <a:pt x="0" y="259"/>
                    <a:pt x="0" y="259"/>
                  </a:cubicBezTo>
                  <a:cubicBezTo>
                    <a:pt x="0" y="259"/>
                    <a:pt x="0" y="259"/>
                    <a:pt x="0" y="259"/>
                  </a:cubicBezTo>
                  <a:cubicBezTo>
                    <a:pt x="0" y="259"/>
                    <a:pt x="0" y="259"/>
                    <a:pt x="0" y="259"/>
                  </a:cubicBezTo>
                  <a:cubicBezTo>
                    <a:pt x="0" y="259"/>
                    <a:pt x="0" y="259"/>
                    <a:pt x="0" y="259"/>
                  </a:cubicBezTo>
                  <a:cubicBezTo>
                    <a:pt x="0" y="365"/>
                    <a:pt x="86" y="451"/>
                    <a:pt x="192" y="451"/>
                  </a:cubicBezTo>
                  <a:cubicBezTo>
                    <a:pt x="298" y="451"/>
                    <a:pt x="384" y="365"/>
                    <a:pt x="384" y="259"/>
                  </a:cubicBezTo>
                  <a:cubicBezTo>
                    <a:pt x="384" y="162"/>
                    <a:pt x="312" y="107"/>
                    <a:pt x="240" y="101"/>
                  </a:cubicBezTo>
                  <a:close/>
                  <a:moveTo>
                    <a:pt x="159" y="39"/>
                  </a:moveTo>
                  <a:cubicBezTo>
                    <a:pt x="161" y="39"/>
                    <a:pt x="163" y="37"/>
                    <a:pt x="164" y="35"/>
                  </a:cubicBezTo>
                  <a:cubicBezTo>
                    <a:pt x="165" y="34"/>
                    <a:pt x="165" y="31"/>
                    <a:pt x="165" y="29"/>
                  </a:cubicBezTo>
                  <a:cubicBezTo>
                    <a:pt x="163" y="23"/>
                    <a:pt x="163" y="23"/>
                    <a:pt x="163" y="23"/>
                  </a:cubicBezTo>
                  <a:cubicBezTo>
                    <a:pt x="206" y="41"/>
                    <a:pt x="206" y="41"/>
                    <a:pt x="206" y="41"/>
                  </a:cubicBezTo>
                  <a:cubicBezTo>
                    <a:pt x="177" y="79"/>
                    <a:pt x="177" y="79"/>
                    <a:pt x="177" y="79"/>
                  </a:cubicBezTo>
                  <a:cubicBezTo>
                    <a:pt x="176" y="74"/>
                    <a:pt x="176" y="74"/>
                    <a:pt x="176" y="74"/>
                  </a:cubicBezTo>
                  <a:cubicBezTo>
                    <a:pt x="175" y="71"/>
                    <a:pt x="172" y="68"/>
                    <a:pt x="169" y="68"/>
                  </a:cubicBezTo>
                  <a:cubicBezTo>
                    <a:pt x="169" y="68"/>
                    <a:pt x="168" y="68"/>
                    <a:pt x="167" y="68"/>
                  </a:cubicBezTo>
                  <a:cubicBezTo>
                    <a:pt x="163" y="69"/>
                    <a:pt x="163" y="69"/>
                    <a:pt x="163" y="69"/>
                  </a:cubicBezTo>
                  <a:cubicBezTo>
                    <a:pt x="143" y="71"/>
                    <a:pt x="106" y="75"/>
                    <a:pt x="75" y="99"/>
                  </a:cubicBezTo>
                  <a:cubicBezTo>
                    <a:pt x="110" y="51"/>
                    <a:pt x="158" y="39"/>
                    <a:pt x="159" y="39"/>
                  </a:cubicBezTo>
                  <a:close/>
                  <a:moveTo>
                    <a:pt x="76" y="223"/>
                  </a:moveTo>
                  <a:cubicBezTo>
                    <a:pt x="90" y="223"/>
                    <a:pt x="102" y="234"/>
                    <a:pt x="102" y="248"/>
                  </a:cubicBezTo>
                  <a:cubicBezTo>
                    <a:pt x="102" y="262"/>
                    <a:pt x="90" y="273"/>
                    <a:pt x="76" y="273"/>
                  </a:cubicBezTo>
                  <a:cubicBezTo>
                    <a:pt x="62" y="273"/>
                    <a:pt x="51" y="262"/>
                    <a:pt x="51" y="248"/>
                  </a:cubicBezTo>
                  <a:cubicBezTo>
                    <a:pt x="51" y="234"/>
                    <a:pt x="62" y="223"/>
                    <a:pt x="76" y="223"/>
                  </a:cubicBezTo>
                  <a:close/>
                  <a:moveTo>
                    <a:pt x="112" y="415"/>
                  </a:moveTo>
                  <a:cubicBezTo>
                    <a:pt x="111" y="415"/>
                    <a:pt x="111" y="415"/>
                    <a:pt x="111" y="415"/>
                  </a:cubicBezTo>
                  <a:cubicBezTo>
                    <a:pt x="109" y="414"/>
                    <a:pt x="107" y="413"/>
                    <a:pt x="106" y="412"/>
                  </a:cubicBezTo>
                  <a:cubicBezTo>
                    <a:pt x="105" y="412"/>
                    <a:pt x="104" y="411"/>
                    <a:pt x="103" y="410"/>
                  </a:cubicBezTo>
                  <a:cubicBezTo>
                    <a:pt x="100" y="409"/>
                    <a:pt x="98" y="407"/>
                    <a:pt x="95" y="406"/>
                  </a:cubicBezTo>
                  <a:cubicBezTo>
                    <a:pt x="94" y="405"/>
                    <a:pt x="93" y="404"/>
                    <a:pt x="91" y="403"/>
                  </a:cubicBezTo>
                  <a:cubicBezTo>
                    <a:pt x="89" y="402"/>
                    <a:pt x="88" y="401"/>
                    <a:pt x="86" y="399"/>
                  </a:cubicBezTo>
                  <a:cubicBezTo>
                    <a:pt x="84" y="398"/>
                    <a:pt x="83" y="397"/>
                    <a:pt x="81" y="395"/>
                  </a:cubicBezTo>
                  <a:cubicBezTo>
                    <a:pt x="80" y="395"/>
                    <a:pt x="80" y="394"/>
                    <a:pt x="79" y="394"/>
                  </a:cubicBezTo>
                  <a:cubicBezTo>
                    <a:pt x="63" y="380"/>
                    <a:pt x="49" y="364"/>
                    <a:pt x="39" y="345"/>
                  </a:cubicBezTo>
                  <a:cubicBezTo>
                    <a:pt x="39" y="309"/>
                    <a:pt x="39" y="309"/>
                    <a:pt x="39" y="309"/>
                  </a:cubicBezTo>
                  <a:cubicBezTo>
                    <a:pt x="39" y="297"/>
                    <a:pt x="50" y="287"/>
                    <a:pt x="55" y="286"/>
                  </a:cubicBezTo>
                  <a:cubicBezTo>
                    <a:pt x="56" y="286"/>
                    <a:pt x="57" y="285"/>
                    <a:pt x="58" y="285"/>
                  </a:cubicBezTo>
                  <a:cubicBezTo>
                    <a:pt x="63" y="288"/>
                    <a:pt x="70" y="289"/>
                    <a:pt x="76" y="289"/>
                  </a:cubicBezTo>
                  <a:cubicBezTo>
                    <a:pt x="83" y="289"/>
                    <a:pt x="88" y="288"/>
                    <a:pt x="94" y="286"/>
                  </a:cubicBezTo>
                  <a:cubicBezTo>
                    <a:pt x="94" y="286"/>
                    <a:pt x="94" y="286"/>
                    <a:pt x="94" y="286"/>
                  </a:cubicBezTo>
                  <a:cubicBezTo>
                    <a:pt x="104" y="290"/>
                    <a:pt x="112" y="294"/>
                    <a:pt x="112" y="308"/>
                  </a:cubicBezTo>
                  <a:lnTo>
                    <a:pt x="112" y="415"/>
                  </a:lnTo>
                  <a:close/>
                  <a:moveTo>
                    <a:pt x="145" y="243"/>
                  </a:moveTo>
                  <a:cubicBezTo>
                    <a:pt x="145" y="217"/>
                    <a:pt x="167" y="196"/>
                    <a:pt x="192" y="196"/>
                  </a:cubicBezTo>
                  <a:cubicBezTo>
                    <a:pt x="218" y="196"/>
                    <a:pt x="240" y="217"/>
                    <a:pt x="240" y="243"/>
                  </a:cubicBezTo>
                  <a:cubicBezTo>
                    <a:pt x="240" y="269"/>
                    <a:pt x="218" y="290"/>
                    <a:pt x="192" y="290"/>
                  </a:cubicBezTo>
                  <a:cubicBezTo>
                    <a:pt x="167" y="290"/>
                    <a:pt x="145" y="269"/>
                    <a:pt x="145" y="243"/>
                  </a:cubicBezTo>
                  <a:close/>
                  <a:moveTo>
                    <a:pt x="257" y="422"/>
                  </a:moveTo>
                  <a:cubicBezTo>
                    <a:pt x="256" y="423"/>
                    <a:pt x="255" y="423"/>
                    <a:pt x="253" y="424"/>
                  </a:cubicBezTo>
                  <a:cubicBezTo>
                    <a:pt x="253" y="424"/>
                    <a:pt x="252" y="424"/>
                    <a:pt x="252" y="424"/>
                  </a:cubicBezTo>
                  <a:cubicBezTo>
                    <a:pt x="250" y="425"/>
                    <a:pt x="248" y="426"/>
                    <a:pt x="247" y="426"/>
                  </a:cubicBezTo>
                  <a:cubicBezTo>
                    <a:pt x="245" y="427"/>
                    <a:pt x="244" y="427"/>
                    <a:pt x="243" y="427"/>
                  </a:cubicBezTo>
                  <a:cubicBezTo>
                    <a:pt x="242" y="428"/>
                    <a:pt x="241" y="428"/>
                    <a:pt x="240" y="428"/>
                  </a:cubicBezTo>
                  <a:cubicBezTo>
                    <a:pt x="238" y="429"/>
                    <a:pt x="236" y="429"/>
                    <a:pt x="234" y="430"/>
                  </a:cubicBezTo>
                  <a:cubicBezTo>
                    <a:pt x="234" y="430"/>
                    <a:pt x="233" y="430"/>
                    <a:pt x="233" y="430"/>
                  </a:cubicBezTo>
                  <a:cubicBezTo>
                    <a:pt x="218" y="434"/>
                    <a:pt x="202" y="435"/>
                    <a:pt x="186" y="435"/>
                  </a:cubicBezTo>
                  <a:cubicBezTo>
                    <a:pt x="186" y="435"/>
                    <a:pt x="185" y="435"/>
                    <a:pt x="185" y="435"/>
                  </a:cubicBezTo>
                  <a:cubicBezTo>
                    <a:pt x="183" y="435"/>
                    <a:pt x="180" y="434"/>
                    <a:pt x="178" y="434"/>
                  </a:cubicBezTo>
                  <a:cubicBezTo>
                    <a:pt x="178" y="434"/>
                    <a:pt x="177" y="434"/>
                    <a:pt x="176" y="434"/>
                  </a:cubicBezTo>
                  <a:cubicBezTo>
                    <a:pt x="174" y="434"/>
                    <a:pt x="172" y="434"/>
                    <a:pt x="170" y="433"/>
                  </a:cubicBezTo>
                  <a:cubicBezTo>
                    <a:pt x="169" y="433"/>
                    <a:pt x="168" y="433"/>
                    <a:pt x="168" y="433"/>
                  </a:cubicBezTo>
                  <a:cubicBezTo>
                    <a:pt x="166" y="433"/>
                    <a:pt x="163" y="433"/>
                    <a:pt x="161" y="432"/>
                  </a:cubicBezTo>
                  <a:cubicBezTo>
                    <a:pt x="161" y="432"/>
                    <a:pt x="160" y="432"/>
                    <a:pt x="159" y="432"/>
                  </a:cubicBezTo>
                  <a:cubicBezTo>
                    <a:pt x="157" y="431"/>
                    <a:pt x="155" y="431"/>
                    <a:pt x="153" y="430"/>
                  </a:cubicBezTo>
                  <a:cubicBezTo>
                    <a:pt x="152" y="430"/>
                    <a:pt x="152" y="430"/>
                    <a:pt x="151" y="430"/>
                  </a:cubicBezTo>
                  <a:cubicBezTo>
                    <a:pt x="149" y="430"/>
                    <a:pt x="147" y="429"/>
                    <a:pt x="145" y="428"/>
                  </a:cubicBezTo>
                  <a:cubicBezTo>
                    <a:pt x="144" y="428"/>
                    <a:pt x="144" y="428"/>
                    <a:pt x="143" y="428"/>
                  </a:cubicBezTo>
                  <a:cubicBezTo>
                    <a:pt x="141" y="427"/>
                    <a:pt x="139" y="427"/>
                    <a:pt x="136" y="426"/>
                  </a:cubicBezTo>
                  <a:cubicBezTo>
                    <a:pt x="136" y="426"/>
                    <a:pt x="136" y="426"/>
                    <a:pt x="135" y="425"/>
                  </a:cubicBezTo>
                  <a:cubicBezTo>
                    <a:pt x="133" y="425"/>
                    <a:pt x="131" y="424"/>
                    <a:pt x="128" y="423"/>
                  </a:cubicBezTo>
                  <a:cubicBezTo>
                    <a:pt x="128" y="423"/>
                    <a:pt x="128" y="423"/>
                    <a:pt x="128" y="423"/>
                  </a:cubicBezTo>
                  <a:cubicBezTo>
                    <a:pt x="128" y="340"/>
                    <a:pt x="128" y="340"/>
                    <a:pt x="128" y="340"/>
                  </a:cubicBezTo>
                  <a:cubicBezTo>
                    <a:pt x="128" y="316"/>
                    <a:pt x="147" y="303"/>
                    <a:pt x="160" y="297"/>
                  </a:cubicBezTo>
                  <a:cubicBezTo>
                    <a:pt x="169" y="302"/>
                    <a:pt x="181" y="306"/>
                    <a:pt x="192" y="306"/>
                  </a:cubicBezTo>
                  <a:cubicBezTo>
                    <a:pt x="204" y="306"/>
                    <a:pt x="216" y="302"/>
                    <a:pt x="225" y="297"/>
                  </a:cubicBezTo>
                  <a:cubicBezTo>
                    <a:pt x="238" y="303"/>
                    <a:pt x="257" y="316"/>
                    <a:pt x="257" y="340"/>
                  </a:cubicBezTo>
                  <a:lnTo>
                    <a:pt x="257" y="422"/>
                  </a:lnTo>
                  <a:close/>
                  <a:moveTo>
                    <a:pt x="309" y="223"/>
                  </a:moveTo>
                  <a:cubicBezTo>
                    <a:pt x="323" y="223"/>
                    <a:pt x="334" y="234"/>
                    <a:pt x="334" y="248"/>
                  </a:cubicBezTo>
                  <a:cubicBezTo>
                    <a:pt x="334" y="262"/>
                    <a:pt x="323" y="273"/>
                    <a:pt x="309" y="273"/>
                  </a:cubicBezTo>
                  <a:cubicBezTo>
                    <a:pt x="295" y="273"/>
                    <a:pt x="283" y="262"/>
                    <a:pt x="283" y="248"/>
                  </a:cubicBezTo>
                  <a:cubicBezTo>
                    <a:pt x="283" y="234"/>
                    <a:pt x="295" y="223"/>
                    <a:pt x="309" y="223"/>
                  </a:cubicBezTo>
                  <a:close/>
                  <a:moveTo>
                    <a:pt x="346" y="344"/>
                  </a:moveTo>
                  <a:cubicBezTo>
                    <a:pt x="330" y="374"/>
                    <a:pt x="304" y="399"/>
                    <a:pt x="273" y="415"/>
                  </a:cubicBezTo>
                  <a:cubicBezTo>
                    <a:pt x="273" y="308"/>
                    <a:pt x="273" y="308"/>
                    <a:pt x="273" y="308"/>
                  </a:cubicBezTo>
                  <a:cubicBezTo>
                    <a:pt x="273" y="294"/>
                    <a:pt x="281" y="290"/>
                    <a:pt x="291" y="286"/>
                  </a:cubicBezTo>
                  <a:cubicBezTo>
                    <a:pt x="291" y="286"/>
                    <a:pt x="291" y="286"/>
                    <a:pt x="291" y="286"/>
                  </a:cubicBezTo>
                  <a:cubicBezTo>
                    <a:pt x="297" y="288"/>
                    <a:pt x="302" y="289"/>
                    <a:pt x="309" y="289"/>
                  </a:cubicBezTo>
                  <a:cubicBezTo>
                    <a:pt x="315" y="289"/>
                    <a:pt x="322" y="288"/>
                    <a:pt x="327" y="285"/>
                  </a:cubicBezTo>
                  <a:cubicBezTo>
                    <a:pt x="328" y="285"/>
                    <a:pt x="329" y="286"/>
                    <a:pt x="330" y="286"/>
                  </a:cubicBezTo>
                  <a:cubicBezTo>
                    <a:pt x="335" y="287"/>
                    <a:pt x="346" y="297"/>
                    <a:pt x="346" y="309"/>
                  </a:cubicBezTo>
                  <a:lnTo>
                    <a:pt x="346" y="344"/>
                  </a:lnTo>
                  <a:close/>
                  <a:moveTo>
                    <a:pt x="231" y="326"/>
                  </a:moveTo>
                  <a:cubicBezTo>
                    <a:pt x="227" y="326"/>
                    <a:pt x="223" y="330"/>
                    <a:pt x="223" y="334"/>
                  </a:cubicBezTo>
                  <a:cubicBezTo>
                    <a:pt x="223" y="406"/>
                    <a:pt x="223" y="406"/>
                    <a:pt x="223" y="406"/>
                  </a:cubicBezTo>
                  <a:cubicBezTo>
                    <a:pt x="223" y="410"/>
                    <a:pt x="227" y="414"/>
                    <a:pt x="231" y="414"/>
                  </a:cubicBezTo>
                  <a:cubicBezTo>
                    <a:pt x="236" y="414"/>
                    <a:pt x="239" y="410"/>
                    <a:pt x="239" y="406"/>
                  </a:cubicBezTo>
                  <a:cubicBezTo>
                    <a:pt x="239" y="334"/>
                    <a:pt x="239" y="334"/>
                    <a:pt x="239" y="334"/>
                  </a:cubicBezTo>
                  <a:cubicBezTo>
                    <a:pt x="239" y="330"/>
                    <a:pt x="236" y="326"/>
                    <a:pt x="231" y="326"/>
                  </a:cubicBezTo>
                  <a:close/>
                  <a:moveTo>
                    <a:pt x="153" y="326"/>
                  </a:moveTo>
                  <a:cubicBezTo>
                    <a:pt x="149" y="326"/>
                    <a:pt x="145" y="330"/>
                    <a:pt x="145" y="334"/>
                  </a:cubicBezTo>
                  <a:cubicBezTo>
                    <a:pt x="145" y="406"/>
                    <a:pt x="145" y="406"/>
                    <a:pt x="145" y="406"/>
                  </a:cubicBezTo>
                  <a:cubicBezTo>
                    <a:pt x="145" y="410"/>
                    <a:pt x="149" y="414"/>
                    <a:pt x="153" y="414"/>
                  </a:cubicBezTo>
                  <a:cubicBezTo>
                    <a:pt x="158" y="414"/>
                    <a:pt x="161" y="410"/>
                    <a:pt x="161" y="406"/>
                  </a:cubicBezTo>
                  <a:cubicBezTo>
                    <a:pt x="161" y="334"/>
                    <a:pt x="161" y="334"/>
                    <a:pt x="161" y="334"/>
                  </a:cubicBezTo>
                  <a:cubicBezTo>
                    <a:pt x="161" y="330"/>
                    <a:pt x="158" y="326"/>
                    <a:pt x="153" y="3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09" name="Freeform 3"/>
            <p:cNvSpPr>
              <a:spLocks noChangeAspect="1" noEditPoints="1"/>
            </p:cNvSpPr>
            <p:nvPr/>
          </p:nvSpPr>
          <p:spPr bwMode="auto">
            <a:xfrm>
              <a:off x="8978298" y="3708379"/>
              <a:ext cx="521886" cy="292608"/>
            </a:xfrm>
            <a:custGeom>
              <a:avLst/>
              <a:gdLst>
                <a:gd name="T0" fmla="*/ 2147483647 w 478"/>
                <a:gd name="T1" fmla="*/ 2147483647 h 268"/>
                <a:gd name="T2" fmla="*/ 2147483647 w 478"/>
                <a:gd name="T3" fmla="*/ 2147483647 h 268"/>
                <a:gd name="T4" fmla="*/ 2147483647 w 478"/>
                <a:gd name="T5" fmla="*/ 2147483647 h 268"/>
                <a:gd name="T6" fmla="*/ 2147483647 w 478"/>
                <a:gd name="T7" fmla="*/ 2147483647 h 268"/>
                <a:gd name="T8" fmla="*/ 2147483647 w 478"/>
                <a:gd name="T9" fmla="*/ 2147483647 h 268"/>
                <a:gd name="T10" fmla="*/ 2147483647 w 478"/>
                <a:gd name="T11" fmla="*/ 2147483647 h 268"/>
                <a:gd name="T12" fmla="*/ 2147483647 w 478"/>
                <a:gd name="T13" fmla="*/ 2147483647 h 268"/>
                <a:gd name="T14" fmla="*/ 2147483647 w 478"/>
                <a:gd name="T15" fmla="*/ 2147483647 h 268"/>
                <a:gd name="T16" fmla="*/ 2147483647 w 478"/>
                <a:gd name="T17" fmla="*/ 2147483647 h 268"/>
                <a:gd name="T18" fmla="*/ 2147483647 w 478"/>
                <a:gd name="T19" fmla="*/ 2147483647 h 268"/>
                <a:gd name="T20" fmla="*/ 2147483647 w 478"/>
                <a:gd name="T21" fmla="*/ 2147483647 h 268"/>
                <a:gd name="T22" fmla="*/ 2147483647 w 478"/>
                <a:gd name="T23" fmla="*/ 2147483647 h 268"/>
                <a:gd name="T24" fmla="*/ 2147483647 w 478"/>
                <a:gd name="T25" fmla="*/ 2147483647 h 268"/>
                <a:gd name="T26" fmla="*/ 2147483647 w 478"/>
                <a:gd name="T27" fmla="*/ 2147483647 h 268"/>
                <a:gd name="T28" fmla="*/ 2147483647 w 478"/>
                <a:gd name="T29" fmla="*/ 2147483647 h 268"/>
                <a:gd name="T30" fmla="*/ 2147483647 w 478"/>
                <a:gd name="T31" fmla="*/ 2147483647 h 268"/>
                <a:gd name="T32" fmla="*/ 2147483647 w 478"/>
                <a:gd name="T33" fmla="*/ 0 h 268"/>
                <a:gd name="T34" fmla="*/ 2147483647 w 478"/>
                <a:gd name="T35" fmla="*/ 2147483647 h 268"/>
                <a:gd name="T36" fmla="*/ 2147483647 w 478"/>
                <a:gd name="T37" fmla="*/ 2147483647 h 268"/>
                <a:gd name="T38" fmla="*/ 2147483647 w 478"/>
                <a:gd name="T39" fmla="*/ 2147483647 h 268"/>
                <a:gd name="T40" fmla="*/ 2147483647 w 478"/>
                <a:gd name="T41" fmla="*/ 2147483647 h 268"/>
                <a:gd name="T42" fmla="*/ 0 w 478"/>
                <a:gd name="T43" fmla="*/ 2147483647 h 268"/>
                <a:gd name="T44" fmla="*/ 2147483647 w 478"/>
                <a:gd name="T45" fmla="*/ 2147483647 h 268"/>
                <a:gd name="T46" fmla="*/ 2147483647 w 478"/>
                <a:gd name="T47" fmla="*/ 2147483647 h 268"/>
                <a:gd name="T48" fmla="*/ 2147483647 w 478"/>
                <a:gd name="T49" fmla="*/ 2147483647 h 268"/>
                <a:gd name="T50" fmla="*/ 2147483647 w 478"/>
                <a:gd name="T51" fmla="*/ 2147483647 h 268"/>
                <a:gd name="T52" fmla="*/ 2147483647 w 478"/>
                <a:gd name="T53" fmla="*/ 2147483647 h 268"/>
                <a:gd name="T54" fmla="*/ 2147483647 w 478"/>
                <a:gd name="T55" fmla="*/ 2147483647 h 268"/>
                <a:gd name="T56" fmla="*/ 2147483647 w 478"/>
                <a:gd name="T57" fmla="*/ 2147483647 h 268"/>
                <a:gd name="T58" fmla="*/ 2147483647 w 478"/>
                <a:gd name="T59" fmla="*/ 2147483647 h 268"/>
                <a:gd name="T60" fmla="*/ 2147483647 w 478"/>
                <a:gd name="T61" fmla="*/ 2147483647 h 268"/>
                <a:gd name="T62" fmla="*/ 2147483647 w 478"/>
                <a:gd name="T63" fmla="*/ 2147483647 h 268"/>
                <a:gd name="T64" fmla="*/ 2147483647 w 478"/>
                <a:gd name="T65" fmla="*/ 2147483647 h 268"/>
                <a:gd name="T66" fmla="*/ 2147483647 w 478"/>
                <a:gd name="T67" fmla="*/ 2147483647 h 268"/>
                <a:gd name="T68" fmla="*/ 2147483647 w 478"/>
                <a:gd name="T69" fmla="*/ 2147483647 h 268"/>
                <a:gd name="T70" fmla="*/ 2147483647 w 478"/>
                <a:gd name="T71" fmla="*/ 2147483647 h 268"/>
                <a:gd name="T72" fmla="*/ 2147483647 w 478"/>
                <a:gd name="T73" fmla="*/ 2147483647 h 268"/>
                <a:gd name="T74" fmla="*/ 2147483647 w 478"/>
                <a:gd name="T75" fmla="*/ 2147483647 h 268"/>
                <a:gd name="T76" fmla="*/ 2147483647 w 478"/>
                <a:gd name="T77" fmla="*/ 2147483647 h 268"/>
                <a:gd name="T78" fmla="*/ 2147483647 w 478"/>
                <a:gd name="T79" fmla="*/ 2147483647 h 268"/>
                <a:gd name="T80" fmla="*/ 2147483647 w 478"/>
                <a:gd name="T81" fmla="*/ 2147483647 h 268"/>
                <a:gd name="T82" fmla="*/ 2147483647 w 478"/>
                <a:gd name="T83" fmla="*/ 2147483647 h 268"/>
                <a:gd name="T84" fmla="*/ 2147483647 w 478"/>
                <a:gd name="T85" fmla="*/ 2147483647 h 268"/>
                <a:gd name="T86" fmla="*/ 2147483647 w 478"/>
                <a:gd name="T87" fmla="*/ 2147483647 h 268"/>
                <a:gd name="T88" fmla="*/ 2147483647 w 478"/>
                <a:gd name="T89" fmla="*/ 2147483647 h 268"/>
                <a:gd name="T90" fmla="*/ 2147483647 w 478"/>
                <a:gd name="T91" fmla="*/ 2147483647 h 268"/>
                <a:gd name="T92" fmla="*/ 2147483647 w 478"/>
                <a:gd name="T93" fmla="*/ 2147483647 h 268"/>
                <a:gd name="T94" fmla="*/ 2147483647 w 478"/>
                <a:gd name="T95" fmla="*/ 2147483647 h 268"/>
                <a:gd name="T96" fmla="*/ 2147483647 w 478"/>
                <a:gd name="T97" fmla="*/ 2147483647 h 268"/>
                <a:gd name="T98" fmla="*/ 2147483647 w 478"/>
                <a:gd name="T99" fmla="*/ 2147483647 h 268"/>
                <a:gd name="T100" fmla="*/ 2147483647 w 478"/>
                <a:gd name="T101" fmla="*/ 2147483647 h 268"/>
                <a:gd name="T102" fmla="*/ 2147483647 w 478"/>
                <a:gd name="T103" fmla="*/ 2147483647 h 268"/>
                <a:gd name="T104" fmla="*/ 2147483647 w 478"/>
                <a:gd name="T105" fmla="*/ 2147483647 h 268"/>
                <a:gd name="T106" fmla="*/ 2147483647 w 478"/>
                <a:gd name="T107" fmla="*/ 2147483647 h 268"/>
                <a:gd name="T108" fmla="*/ 2147483647 w 478"/>
                <a:gd name="T109" fmla="*/ 2147483647 h 268"/>
                <a:gd name="T110" fmla="*/ 2147483647 w 478"/>
                <a:gd name="T111" fmla="*/ 2147483647 h 268"/>
                <a:gd name="T112" fmla="*/ 2147483647 w 478"/>
                <a:gd name="T113" fmla="*/ 2147483647 h 268"/>
                <a:gd name="T114" fmla="*/ 2147483647 w 478"/>
                <a:gd name="T115" fmla="*/ 2147483647 h 268"/>
                <a:gd name="T116" fmla="*/ 2147483647 w 478"/>
                <a:gd name="T117" fmla="*/ 2147483647 h 268"/>
                <a:gd name="T118" fmla="*/ 2147483647 w 478"/>
                <a:gd name="T119" fmla="*/ 2147483647 h 268"/>
                <a:gd name="T120" fmla="*/ 2147483647 w 478"/>
                <a:gd name="T121" fmla="*/ 2147483647 h 268"/>
                <a:gd name="T122" fmla="*/ 2147483647 w 478"/>
                <a:gd name="T123" fmla="*/ 2147483647 h 2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8" h="268">
                  <a:moveTo>
                    <a:pt x="312" y="106"/>
                  </a:moveTo>
                  <a:cubicBezTo>
                    <a:pt x="312" y="101"/>
                    <a:pt x="308" y="98"/>
                    <a:pt x="304" y="98"/>
                  </a:cubicBezTo>
                  <a:cubicBezTo>
                    <a:pt x="68" y="98"/>
                    <a:pt x="68" y="98"/>
                    <a:pt x="68" y="98"/>
                  </a:cubicBezTo>
                  <a:cubicBezTo>
                    <a:pt x="64" y="98"/>
                    <a:pt x="60" y="101"/>
                    <a:pt x="60" y="106"/>
                  </a:cubicBezTo>
                  <a:cubicBezTo>
                    <a:pt x="60" y="110"/>
                    <a:pt x="64" y="114"/>
                    <a:pt x="68" y="114"/>
                  </a:cubicBezTo>
                  <a:cubicBezTo>
                    <a:pt x="304" y="114"/>
                    <a:pt x="304" y="114"/>
                    <a:pt x="304" y="114"/>
                  </a:cubicBezTo>
                  <a:cubicBezTo>
                    <a:pt x="308" y="114"/>
                    <a:pt x="312" y="110"/>
                    <a:pt x="312" y="106"/>
                  </a:cubicBezTo>
                  <a:close/>
                  <a:moveTo>
                    <a:pt x="312" y="50"/>
                  </a:moveTo>
                  <a:cubicBezTo>
                    <a:pt x="312" y="42"/>
                    <a:pt x="312" y="35"/>
                    <a:pt x="312" y="30"/>
                  </a:cubicBezTo>
                  <a:cubicBezTo>
                    <a:pt x="312" y="23"/>
                    <a:pt x="313" y="20"/>
                    <a:pt x="315" y="18"/>
                  </a:cubicBezTo>
                  <a:cubicBezTo>
                    <a:pt x="316" y="16"/>
                    <a:pt x="317" y="16"/>
                    <a:pt x="319" y="16"/>
                  </a:cubicBezTo>
                  <a:cubicBezTo>
                    <a:pt x="321" y="16"/>
                    <a:pt x="325" y="17"/>
                    <a:pt x="329" y="21"/>
                  </a:cubicBezTo>
                  <a:cubicBezTo>
                    <a:pt x="334" y="25"/>
                    <a:pt x="343" y="32"/>
                    <a:pt x="352" y="39"/>
                  </a:cubicBezTo>
                  <a:cubicBezTo>
                    <a:pt x="356" y="42"/>
                    <a:pt x="361" y="41"/>
                    <a:pt x="364" y="38"/>
                  </a:cubicBezTo>
                  <a:cubicBezTo>
                    <a:pt x="366" y="34"/>
                    <a:pt x="366" y="29"/>
                    <a:pt x="362" y="27"/>
                  </a:cubicBezTo>
                  <a:cubicBezTo>
                    <a:pt x="353" y="19"/>
                    <a:pt x="344" y="12"/>
                    <a:pt x="339" y="8"/>
                  </a:cubicBezTo>
                  <a:cubicBezTo>
                    <a:pt x="333" y="3"/>
                    <a:pt x="326" y="0"/>
                    <a:pt x="319" y="0"/>
                  </a:cubicBezTo>
                  <a:cubicBezTo>
                    <a:pt x="312" y="0"/>
                    <a:pt x="306" y="3"/>
                    <a:pt x="302" y="8"/>
                  </a:cubicBezTo>
                  <a:cubicBezTo>
                    <a:pt x="298" y="14"/>
                    <a:pt x="296" y="21"/>
                    <a:pt x="296" y="30"/>
                  </a:cubicBezTo>
                  <a:cubicBezTo>
                    <a:pt x="296" y="33"/>
                    <a:pt x="296" y="37"/>
                    <a:pt x="296" y="42"/>
                  </a:cubicBezTo>
                  <a:cubicBezTo>
                    <a:pt x="8" y="42"/>
                    <a:pt x="8" y="42"/>
                    <a:pt x="8" y="42"/>
                  </a:cubicBezTo>
                  <a:cubicBezTo>
                    <a:pt x="4" y="42"/>
                    <a:pt x="0" y="46"/>
                    <a:pt x="0" y="50"/>
                  </a:cubicBezTo>
                  <a:cubicBezTo>
                    <a:pt x="0" y="54"/>
                    <a:pt x="4" y="58"/>
                    <a:pt x="8" y="58"/>
                  </a:cubicBezTo>
                  <a:cubicBezTo>
                    <a:pt x="304" y="58"/>
                    <a:pt x="304" y="58"/>
                    <a:pt x="304" y="58"/>
                  </a:cubicBezTo>
                  <a:cubicBezTo>
                    <a:pt x="308" y="58"/>
                    <a:pt x="312" y="54"/>
                    <a:pt x="312" y="50"/>
                  </a:cubicBezTo>
                  <a:close/>
                  <a:moveTo>
                    <a:pt x="312" y="162"/>
                  </a:moveTo>
                  <a:cubicBezTo>
                    <a:pt x="312" y="157"/>
                    <a:pt x="308" y="154"/>
                    <a:pt x="304" y="154"/>
                  </a:cubicBezTo>
                  <a:cubicBezTo>
                    <a:pt x="130" y="154"/>
                    <a:pt x="130" y="154"/>
                    <a:pt x="130" y="154"/>
                  </a:cubicBezTo>
                  <a:cubicBezTo>
                    <a:pt x="126" y="154"/>
                    <a:pt x="122" y="157"/>
                    <a:pt x="122" y="162"/>
                  </a:cubicBezTo>
                  <a:cubicBezTo>
                    <a:pt x="122" y="166"/>
                    <a:pt x="126" y="170"/>
                    <a:pt x="130" y="170"/>
                  </a:cubicBezTo>
                  <a:cubicBezTo>
                    <a:pt x="304" y="170"/>
                    <a:pt x="304" y="170"/>
                    <a:pt x="304" y="170"/>
                  </a:cubicBezTo>
                  <a:cubicBezTo>
                    <a:pt x="308" y="170"/>
                    <a:pt x="312" y="166"/>
                    <a:pt x="312" y="162"/>
                  </a:cubicBezTo>
                  <a:close/>
                  <a:moveTo>
                    <a:pt x="464" y="107"/>
                  </a:moveTo>
                  <a:cubicBezTo>
                    <a:pt x="451" y="96"/>
                    <a:pt x="399" y="56"/>
                    <a:pt x="399" y="56"/>
                  </a:cubicBezTo>
                  <a:cubicBezTo>
                    <a:pt x="399" y="56"/>
                    <a:pt x="395" y="52"/>
                    <a:pt x="388" y="47"/>
                  </a:cubicBezTo>
                  <a:cubicBezTo>
                    <a:pt x="384" y="44"/>
                    <a:pt x="379" y="45"/>
                    <a:pt x="377" y="48"/>
                  </a:cubicBezTo>
                  <a:cubicBezTo>
                    <a:pt x="374" y="52"/>
                    <a:pt x="374" y="57"/>
                    <a:pt x="378" y="59"/>
                  </a:cubicBezTo>
                  <a:cubicBezTo>
                    <a:pt x="378" y="59"/>
                    <a:pt x="378" y="59"/>
                    <a:pt x="378" y="59"/>
                  </a:cubicBezTo>
                  <a:cubicBezTo>
                    <a:pt x="385" y="65"/>
                    <a:pt x="389" y="68"/>
                    <a:pt x="389" y="68"/>
                  </a:cubicBezTo>
                  <a:cubicBezTo>
                    <a:pt x="389" y="68"/>
                    <a:pt x="441" y="109"/>
                    <a:pt x="454" y="120"/>
                  </a:cubicBezTo>
                  <a:cubicBezTo>
                    <a:pt x="460" y="125"/>
                    <a:pt x="462" y="128"/>
                    <a:pt x="462" y="134"/>
                  </a:cubicBezTo>
                  <a:cubicBezTo>
                    <a:pt x="462" y="139"/>
                    <a:pt x="460" y="142"/>
                    <a:pt x="454" y="147"/>
                  </a:cubicBezTo>
                  <a:cubicBezTo>
                    <a:pt x="441" y="158"/>
                    <a:pt x="389" y="199"/>
                    <a:pt x="389" y="199"/>
                  </a:cubicBezTo>
                  <a:cubicBezTo>
                    <a:pt x="389" y="199"/>
                    <a:pt x="345" y="234"/>
                    <a:pt x="329" y="247"/>
                  </a:cubicBezTo>
                  <a:cubicBezTo>
                    <a:pt x="324" y="251"/>
                    <a:pt x="320" y="252"/>
                    <a:pt x="318" y="252"/>
                  </a:cubicBezTo>
                  <a:cubicBezTo>
                    <a:pt x="317" y="252"/>
                    <a:pt x="316" y="252"/>
                    <a:pt x="315" y="250"/>
                  </a:cubicBezTo>
                  <a:cubicBezTo>
                    <a:pt x="313" y="248"/>
                    <a:pt x="312" y="244"/>
                    <a:pt x="312" y="237"/>
                  </a:cubicBezTo>
                  <a:cubicBezTo>
                    <a:pt x="312" y="232"/>
                    <a:pt x="312" y="226"/>
                    <a:pt x="312" y="218"/>
                  </a:cubicBezTo>
                  <a:cubicBezTo>
                    <a:pt x="312" y="213"/>
                    <a:pt x="308" y="210"/>
                    <a:pt x="304" y="210"/>
                  </a:cubicBezTo>
                  <a:cubicBezTo>
                    <a:pt x="176" y="210"/>
                    <a:pt x="176" y="210"/>
                    <a:pt x="176" y="210"/>
                  </a:cubicBezTo>
                  <a:cubicBezTo>
                    <a:pt x="172" y="210"/>
                    <a:pt x="168" y="213"/>
                    <a:pt x="168" y="218"/>
                  </a:cubicBezTo>
                  <a:cubicBezTo>
                    <a:pt x="168" y="222"/>
                    <a:pt x="172" y="226"/>
                    <a:pt x="176" y="226"/>
                  </a:cubicBezTo>
                  <a:cubicBezTo>
                    <a:pt x="296" y="226"/>
                    <a:pt x="296" y="226"/>
                    <a:pt x="296" y="226"/>
                  </a:cubicBezTo>
                  <a:cubicBezTo>
                    <a:pt x="296" y="230"/>
                    <a:pt x="296" y="234"/>
                    <a:pt x="296" y="237"/>
                  </a:cubicBezTo>
                  <a:cubicBezTo>
                    <a:pt x="296" y="246"/>
                    <a:pt x="298" y="253"/>
                    <a:pt x="302" y="259"/>
                  </a:cubicBezTo>
                  <a:cubicBezTo>
                    <a:pt x="305" y="264"/>
                    <a:pt x="312" y="268"/>
                    <a:pt x="318" y="268"/>
                  </a:cubicBezTo>
                  <a:cubicBezTo>
                    <a:pt x="318" y="268"/>
                    <a:pt x="318" y="268"/>
                    <a:pt x="318" y="268"/>
                  </a:cubicBezTo>
                  <a:cubicBezTo>
                    <a:pt x="326" y="268"/>
                    <a:pt x="333" y="264"/>
                    <a:pt x="339" y="259"/>
                  </a:cubicBezTo>
                  <a:cubicBezTo>
                    <a:pt x="354" y="246"/>
                    <a:pt x="399" y="212"/>
                    <a:pt x="399" y="211"/>
                  </a:cubicBezTo>
                  <a:cubicBezTo>
                    <a:pt x="399" y="211"/>
                    <a:pt x="451" y="171"/>
                    <a:pt x="464" y="160"/>
                  </a:cubicBezTo>
                  <a:cubicBezTo>
                    <a:pt x="472" y="153"/>
                    <a:pt x="478" y="144"/>
                    <a:pt x="478" y="134"/>
                  </a:cubicBezTo>
                  <a:cubicBezTo>
                    <a:pt x="478" y="123"/>
                    <a:pt x="472" y="114"/>
                    <a:pt x="46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10" name="Freeform 3"/>
            <p:cNvSpPr>
              <a:spLocks noChangeAspect="1" noEditPoints="1"/>
            </p:cNvSpPr>
            <p:nvPr/>
          </p:nvSpPr>
          <p:spPr bwMode="auto">
            <a:xfrm>
              <a:off x="8964921" y="4500910"/>
              <a:ext cx="548640" cy="327368"/>
            </a:xfrm>
            <a:custGeom>
              <a:avLst/>
              <a:gdLst>
                <a:gd name="T0" fmla="*/ 2147483647 w 486"/>
                <a:gd name="T1" fmla="*/ 2147483647 h 290"/>
                <a:gd name="T2" fmla="*/ 2147483647 w 486"/>
                <a:gd name="T3" fmla="*/ 2147483647 h 290"/>
                <a:gd name="T4" fmla="*/ 2147483647 w 486"/>
                <a:gd name="T5" fmla="*/ 2147483647 h 290"/>
                <a:gd name="T6" fmla="*/ 2147483647 w 486"/>
                <a:gd name="T7" fmla="*/ 2147483647 h 290"/>
                <a:gd name="T8" fmla="*/ 2147483647 w 486"/>
                <a:gd name="T9" fmla="*/ 2147483647 h 290"/>
                <a:gd name="T10" fmla="*/ 2147483647 w 486"/>
                <a:gd name="T11" fmla="*/ 2147483647 h 290"/>
                <a:gd name="T12" fmla="*/ 2147483647 w 486"/>
                <a:gd name="T13" fmla="*/ 2147483647 h 290"/>
                <a:gd name="T14" fmla="*/ 2147483647 w 486"/>
                <a:gd name="T15" fmla="*/ 2147483647 h 290"/>
                <a:gd name="T16" fmla="*/ 2147483647 w 486"/>
                <a:gd name="T17" fmla="*/ 2147483647 h 290"/>
                <a:gd name="T18" fmla="*/ 2147483647 w 486"/>
                <a:gd name="T19" fmla="*/ 2147483647 h 290"/>
                <a:gd name="T20" fmla="*/ 2147483647 w 486"/>
                <a:gd name="T21" fmla="*/ 2147483647 h 290"/>
                <a:gd name="T22" fmla="*/ 2147483647 w 486"/>
                <a:gd name="T23" fmla="*/ 2147483647 h 290"/>
                <a:gd name="T24" fmla="*/ 2147483647 w 486"/>
                <a:gd name="T25" fmla="*/ 2147483647 h 290"/>
                <a:gd name="T26" fmla="*/ 2147483647 w 486"/>
                <a:gd name="T27" fmla="*/ 2147483647 h 290"/>
                <a:gd name="T28" fmla="*/ 2147483647 w 486"/>
                <a:gd name="T29" fmla="*/ 2147483647 h 290"/>
                <a:gd name="T30" fmla="*/ 2147483647 w 486"/>
                <a:gd name="T31" fmla="*/ 2147483647 h 290"/>
                <a:gd name="T32" fmla="*/ 2147483647 w 486"/>
                <a:gd name="T33" fmla="*/ 2147483647 h 290"/>
                <a:gd name="T34" fmla="*/ 2147483647 w 486"/>
                <a:gd name="T35" fmla="*/ 2147483647 h 290"/>
                <a:gd name="T36" fmla="*/ 2147483647 w 486"/>
                <a:gd name="T37" fmla="*/ 2147483647 h 290"/>
                <a:gd name="T38" fmla="*/ 2147483647 w 486"/>
                <a:gd name="T39" fmla="*/ 2147483647 h 290"/>
                <a:gd name="T40" fmla="*/ 2147483647 w 486"/>
                <a:gd name="T41" fmla="*/ 2147483647 h 290"/>
                <a:gd name="T42" fmla="*/ 2147483647 w 486"/>
                <a:gd name="T43" fmla="*/ 2147483647 h 290"/>
                <a:gd name="T44" fmla="*/ 2147483647 w 486"/>
                <a:gd name="T45" fmla="*/ 2147483647 h 290"/>
                <a:gd name="T46" fmla="*/ 2147483647 w 486"/>
                <a:gd name="T47" fmla="*/ 2147483647 h 290"/>
                <a:gd name="T48" fmla="*/ 2147483647 w 486"/>
                <a:gd name="T49" fmla="*/ 2147483647 h 290"/>
                <a:gd name="T50" fmla="*/ 2147483647 w 486"/>
                <a:gd name="T51" fmla="*/ 2147483647 h 290"/>
                <a:gd name="T52" fmla="*/ 2147483647 w 486"/>
                <a:gd name="T53" fmla="*/ 2147483647 h 290"/>
                <a:gd name="T54" fmla="*/ 2147483647 w 486"/>
                <a:gd name="T55" fmla="*/ 2147483647 h 290"/>
                <a:gd name="T56" fmla="*/ 2147483647 w 486"/>
                <a:gd name="T57" fmla="*/ 2147483647 h 290"/>
                <a:gd name="T58" fmla="*/ 2147483647 w 486"/>
                <a:gd name="T59" fmla="*/ 2147483647 h 290"/>
                <a:gd name="T60" fmla="*/ 2147483647 w 486"/>
                <a:gd name="T61" fmla="*/ 2147483647 h 290"/>
                <a:gd name="T62" fmla="*/ 2147483647 w 486"/>
                <a:gd name="T63" fmla="*/ 2147483647 h 290"/>
                <a:gd name="T64" fmla="*/ 2147483647 w 486"/>
                <a:gd name="T65" fmla="*/ 2147483647 h 290"/>
                <a:gd name="T66" fmla="*/ 2147483647 w 486"/>
                <a:gd name="T67" fmla="*/ 2147483647 h 290"/>
                <a:gd name="T68" fmla="*/ 2147483647 w 486"/>
                <a:gd name="T69" fmla="*/ 2147483647 h 290"/>
                <a:gd name="T70" fmla="*/ 2147483647 w 486"/>
                <a:gd name="T71" fmla="*/ 2147483647 h 290"/>
                <a:gd name="T72" fmla="*/ 2147483647 w 486"/>
                <a:gd name="T73" fmla="*/ 2147483647 h 290"/>
                <a:gd name="T74" fmla="*/ 2147483647 w 486"/>
                <a:gd name="T75" fmla="*/ 2147483647 h 290"/>
                <a:gd name="T76" fmla="*/ 2147483647 w 486"/>
                <a:gd name="T77" fmla="*/ 2147483647 h 290"/>
                <a:gd name="T78" fmla="*/ 2147483647 w 486"/>
                <a:gd name="T79" fmla="*/ 2147483647 h 290"/>
                <a:gd name="T80" fmla="*/ 2147483647 w 486"/>
                <a:gd name="T81" fmla="*/ 2147483647 h 290"/>
                <a:gd name="T82" fmla="*/ 2147483647 w 486"/>
                <a:gd name="T83" fmla="*/ 2147483647 h 290"/>
                <a:gd name="T84" fmla="*/ 2147483647 w 486"/>
                <a:gd name="T85" fmla="*/ 2147483647 h 290"/>
                <a:gd name="T86" fmla="*/ 2147483647 w 486"/>
                <a:gd name="T87" fmla="*/ 2147483647 h 290"/>
                <a:gd name="T88" fmla="*/ 2147483647 w 486"/>
                <a:gd name="T89" fmla="*/ 2147483647 h 290"/>
                <a:gd name="T90" fmla="*/ 2147483647 w 486"/>
                <a:gd name="T91" fmla="*/ 2147483647 h 290"/>
                <a:gd name="T92" fmla="*/ 2147483647 w 486"/>
                <a:gd name="T93" fmla="*/ 2147483647 h 290"/>
                <a:gd name="T94" fmla="*/ 2147483647 w 486"/>
                <a:gd name="T95" fmla="*/ 2147483647 h 290"/>
                <a:gd name="T96" fmla="*/ 2147483647 w 486"/>
                <a:gd name="T97" fmla="*/ 2147483647 h 290"/>
                <a:gd name="T98" fmla="*/ 2147483647 w 486"/>
                <a:gd name="T99" fmla="*/ 2147483647 h 290"/>
                <a:gd name="T100" fmla="*/ 2147483647 w 486"/>
                <a:gd name="T101" fmla="*/ 2147483647 h 290"/>
                <a:gd name="T102" fmla="*/ 2147483647 w 486"/>
                <a:gd name="T103" fmla="*/ 2147483647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86" h="290">
                  <a:moveTo>
                    <a:pt x="408" y="62"/>
                  </a:moveTo>
                  <a:cubicBezTo>
                    <a:pt x="414" y="65"/>
                    <a:pt x="421" y="66"/>
                    <a:pt x="426" y="66"/>
                  </a:cubicBezTo>
                  <a:cubicBezTo>
                    <a:pt x="478" y="66"/>
                    <a:pt x="478" y="66"/>
                    <a:pt x="478" y="66"/>
                  </a:cubicBezTo>
                  <a:cubicBezTo>
                    <a:pt x="483" y="66"/>
                    <a:pt x="486" y="63"/>
                    <a:pt x="486" y="58"/>
                  </a:cubicBezTo>
                  <a:cubicBezTo>
                    <a:pt x="486" y="54"/>
                    <a:pt x="483" y="50"/>
                    <a:pt x="478" y="50"/>
                  </a:cubicBezTo>
                  <a:cubicBezTo>
                    <a:pt x="426" y="50"/>
                    <a:pt x="426" y="50"/>
                    <a:pt x="426" y="50"/>
                  </a:cubicBezTo>
                  <a:cubicBezTo>
                    <a:pt x="424" y="50"/>
                    <a:pt x="418" y="49"/>
                    <a:pt x="413" y="47"/>
                  </a:cubicBezTo>
                  <a:cubicBezTo>
                    <a:pt x="409" y="46"/>
                    <a:pt x="405" y="48"/>
                    <a:pt x="403" y="52"/>
                  </a:cubicBezTo>
                  <a:cubicBezTo>
                    <a:pt x="402" y="56"/>
                    <a:pt x="404" y="61"/>
                    <a:pt x="408" y="62"/>
                  </a:cubicBezTo>
                  <a:close/>
                  <a:moveTo>
                    <a:pt x="478" y="189"/>
                  </a:moveTo>
                  <a:cubicBezTo>
                    <a:pt x="424" y="189"/>
                    <a:pt x="424" y="189"/>
                    <a:pt x="424" y="189"/>
                  </a:cubicBezTo>
                  <a:cubicBezTo>
                    <a:pt x="408" y="173"/>
                    <a:pt x="344" y="106"/>
                    <a:pt x="327" y="91"/>
                  </a:cubicBezTo>
                  <a:cubicBezTo>
                    <a:pt x="311" y="76"/>
                    <a:pt x="276" y="71"/>
                    <a:pt x="245" y="66"/>
                  </a:cubicBezTo>
                  <a:cubicBezTo>
                    <a:pt x="235" y="64"/>
                    <a:pt x="225" y="62"/>
                    <a:pt x="218" y="61"/>
                  </a:cubicBezTo>
                  <a:cubicBezTo>
                    <a:pt x="196" y="56"/>
                    <a:pt x="184" y="68"/>
                    <a:pt x="178" y="74"/>
                  </a:cubicBezTo>
                  <a:cubicBezTo>
                    <a:pt x="177" y="75"/>
                    <a:pt x="176" y="76"/>
                    <a:pt x="176" y="76"/>
                  </a:cubicBezTo>
                  <a:cubicBezTo>
                    <a:pt x="175" y="77"/>
                    <a:pt x="174" y="77"/>
                    <a:pt x="174" y="78"/>
                  </a:cubicBezTo>
                  <a:cubicBezTo>
                    <a:pt x="167" y="83"/>
                    <a:pt x="151" y="98"/>
                    <a:pt x="130" y="99"/>
                  </a:cubicBezTo>
                  <a:cubicBezTo>
                    <a:pt x="126" y="100"/>
                    <a:pt x="118" y="99"/>
                    <a:pt x="117" y="95"/>
                  </a:cubicBezTo>
                  <a:cubicBezTo>
                    <a:pt x="115" y="92"/>
                    <a:pt x="117" y="88"/>
                    <a:pt x="117" y="87"/>
                  </a:cubicBezTo>
                  <a:cubicBezTo>
                    <a:pt x="119" y="86"/>
                    <a:pt x="125" y="82"/>
                    <a:pt x="131" y="78"/>
                  </a:cubicBezTo>
                  <a:cubicBezTo>
                    <a:pt x="140" y="71"/>
                    <a:pt x="154" y="62"/>
                    <a:pt x="164" y="54"/>
                  </a:cubicBezTo>
                  <a:cubicBezTo>
                    <a:pt x="179" y="42"/>
                    <a:pt x="212" y="23"/>
                    <a:pt x="222" y="19"/>
                  </a:cubicBezTo>
                  <a:cubicBezTo>
                    <a:pt x="228" y="17"/>
                    <a:pt x="267" y="19"/>
                    <a:pt x="299" y="22"/>
                  </a:cubicBezTo>
                  <a:cubicBezTo>
                    <a:pt x="313" y="23"/>
                    <a:pt x="329" y="25"/>
                    <a:pt x="332" y="26"/>
                  </a:cubicBezTo>
                  <a:cubicBezTo>
                    <a:pt x="337" y="28"/>
                    <a:pt x="375" y="46"/>
                    <a:pt x="377" y="47"/>
                  </a:cubicBezTo>
                  <a:cubicBezTo>
                    <a:pt x="378" y="48"/>
                    <a:pt x="379" y="48"/>
                    <a:pt x="380" y="48"/>
                  </a:cubicBezTo>
                  <a:cubicBezTo>
                    <a:pt x="385" y="48"/>
                    <a:pt x="388" y="44"/>
                    <a:pt x="388" y="40"/>
                  </a:cubicBezTo>
                  <a:cubicBezTo>
                    <a:pt x="388" y="37"/>
                    <a:pt x="387" y="35"/>
                    <a:pt x="384" y="33"/>
                  </a:cubicBezTo>
                  <a:cubicBezTo>
                    <a:pt x="384" y="33"/>
                    <a:pt x="384" y="33"/>
                    <a:pt x="384" y="33"/>
                  </a:cubicBezTo>
                  <a:cubicBezTo>
                    <a:pt x="384" y="33"/>
                    <a:pt x="384" y="33"/>
                    <a:pt x="384" y="33"/>
                  </a:cubicBezTo>
                  <a:cubicBezTo>
                    <a:pt x="383" y="33"/>
                    <a:pt x="383" y="33"/>
                    <a:pt x="383" y="33"/>
                  </a:cubicBezTo>
                  <a:cubicBezTo>
                    <a:pt x="377" y="30"/>
                    <a:pt x="342" y="13"/>
                    <a:pt x="339" y="11"/>
                  </a:cubicBezTo>
                  <a:cubicBezTo>
                    <a:pt x="337" y="11"/>
                    <a:pt x="333" y="9"/>
                    <a:pt x="301" y="6"/>
                  </a:cubicBezTo>
                  <a:cubicBezTo>
                    <a:pt x="284" y="4"/>
                    <a:pt x="228" y="0"/>
                    <a:pt x="217" y="4"/>
                  </a:cubicBezTo>
                  <a:cubicBezTo>
                    <a:pt x="204" y="9"/>
                    <a:pt x="170" y="29"/>
                    <a:pt x="154" y="42"/>
                  </a:cubicBezTo>
                  <a:cubicBezTo>
                    <a:pt x="151" y="44"/>
                    <a:pt x="148" y="46"/>
                    <a:pt x="145" y="49"/>
                  </a:cubicBezTo>
                  <a:cubicBezTo>
                    <a:pt x="123" y="49"/>
                    <a:pt x="105" y="56"/>
                    <a:pt x="87" y="63"/>
                  </a:cubicBezTo>
                  <a:cubicBezTo>
                    <a:pt x="68" y="71"/>
                    <a:pt x="52" y="77"/>
                    <a:pt x="37" y="77"/>
                  </a:cubicBezTo>
                  <a:cubicBezTo>
                    <a:pt x="8" y="77"/>
                    <a:pt x="8" y="77"/>
                    <a:pt x="8" y="77"/>
                  </a:cubicBezTo>
                  <a:cubicBezTo>
                    <a:pt x="3" y="77"/>
                    <a:pt x="0" y="81"/>
                    <a:pt x="0" y="85"/>
                  </a:cubicBezTo>
                  <a:cubicBezTo>
                    <a:pt x="0" y="90"/>
                    <a:pt x="3" y="93"/>
                    <a:pt x="8" y="93"/>
                  </a:cubicBezTo>
                  <a:cubicBezTo>
                    <a:pt x="37" y="93"/>
                    <a:pt x="37" y="93"/>
                    <a:pt x="37" y="93"/>
                  </a:cubicBezTo>
                  <a:cubicBezTo>
                    <a:pt x="56" y="93"/>
                    <a:pt x="75" y="85"/>
                    <a:pt x="93" y="78"/>
                  </a:cubicBezTo>
                  <a:cubicBezTo>
                    <a:pt x="99" y="75"/>
                    <a:pt x="110" y="70"/>
                    <a:pt x="117" y="68"/>
                  </a:cubicBezTo>
                  <a:cubicBezTo>
                    <a:pt x="112" y="72"/>
                    <a:pt x="108" y="74"/>
                    <a:pt x="107" y="75"/>
                  </a:cubicBezTo>
                  <a:cubicBezTo>
                    <a:pt x="101" y="80"/>
                    <a:pt x="98" y="92"/>
                    <a:pt x="102" y="101"/>
                  </a:cubicBezTo>
                  <a:cubicBezTo>
                    <a:pt x="104" y="106"/>
                    <a:pt x="110" y="117"/>
                    <a:pt x="131" y="115"/>
                  </a:cubicBezTo>
                  <a:cubicBezTo>
                    <a:pt x="158" y="113"/>
                    <a:pt x="177" y="96"/>
                    <a:pt x="184" y="90"/>
                  </a:cubicBezTo>
                  <a:cubicBezTo>
                    <a:pt x="185" y="89"/>
                    <a:pt x="185" y="89"/>
                    <a:pt x="186" y="88"/>
                  </a:cubicBezTo>
                  <a:cubicBezTo>
                    <a:pt x="187" y="88"/>
                    <a:pt x="188" y="87"/>
                    <a:pt x="189" y="86"/>
                  </a:cubicBezTo>
                  <a:cubicBezTo>
                    <a:pt x="194" y="81"/>
                    <a:pt x="201" y="74"/>
                    <a:pt x="214" y="76"/>
                  </a:cubicBezTo>
                  <a:cubicBezTo>
                    <a:pt x="222" y="78"/>
                    <a:pt x="232" y="80"/>
                    <a:pt x="242" y="81"/>
                  </a:cubicBezTo>
                  <a:cubicBezTo>
                    <a:pt x="270" y="86"/>
                    <a:pt x="304" y="91"/>
                    <a:pt x="316" y="103"/>
                  </a:cubicBezTo>
                  <a:cubicBezTo>
                    <a:pt x="332" y="117"/>
                    <a:pt x="395" y="182"/>
                    <a:pt x="412" y="200"/>
                  </a:cubicBezTo>
                  <a:cubicBezTo>
                    <a:pt x="412" y="200"/>
                    <a:pt x="412" y="200"/>
                    <a:pt x="412" y="200"/>
                  </a:cubicBezTo>
                  <a:cubicBezTo>
                    <a:pt x="414" y="202"/>
                    <a:pt x="416" y="204"/>
                    <a:pt x="416" y="204"/>
                  </a:cubicBezTo>
                  <a:cubicBezTo>
                    <a:pt x="418" y="206"/>
                    <a:pt x="420" y="210"/>
                    <a:pt x="420" y="212"/>
                  </a:cubicBezTo>
                  <a:cubicBezTo>
                    <a:pt x="420" y="215"/>
                    <a:pt x="419" y="218"/>
                    <a:pt x="417" y="220"/>
                  </a:cubicBezTo>
                  <a:cubicBezTo>
                    <a:pt x="415" y="222"/>
                    <a:pt x="412" y="223"/>
                    <a:pt x="410" y="223"/>
                  </a:cubicBezTo>
                  <a:cubicBezTo>
                    <a:pt x="407" y="223"/>
                    <a:pt x="404" y="222"/>
                    <a:pt x="402" y="220"/>
                  </a:cubicBezTo>
                  <a:cubicBezTo>
                    <a:pt x="360" y="178"/>
                    <a:pt x="360" y="178"/>
                    <a:pt x="360" y="178"/>
                  </a:cubicBezTo>
                  <a:cubicBezTo>
                    <a:pt x="357" y="175"/>
                    <a:pt x="352" y="175"/>
                    <a:pt x="349" y="178"/>
                  </a:cubicBezTo>
                  <a:cubicBezTo>
                    <a:pt x="347" y="179"/>
                    <a:pt x="347" y="182"/>
                    <a:pt x="347" y="184"/>
                  </a:cubicBezTo>
                  <a:cubicBezTo>
                    <a:pt x="347" y="186"/>
                    <a:pt x="347" y="188"/>
                    <a:pt x="349" y="189"/>
                  </a:cubicBezTo>
                  <a:cubicBezTo>
                    <a:pt x="387" y="227"/>
                    <a:pt x="387" y="227"/>
                    <a:pt x="387" y="227"/>
                  </a:cubicBezTo>
                  <a:cubicBezTo>
                    <a:pt x="389" y="229"/>
                    <a:pt x="390" y="232"/>
                    <a:pt x="390" y="235"/>
                  </a:cubicBezTo>
                  <a:cubicBezTo>
                    <a:pt x="390" y="237"/>
                    <a:pt x="389" y="240"/>
                    <a:pt x="387" y="242"/>
                  </a:cubicBezTo>
                  <a:cubicBezTo>
                    <a:pt x="385" y="244"/>
                    <a:pt x="382" y="245"/>
                    <a:pt x="379" y="245"/>
                  </a:cubicBezTo>
                  <a:cubicBezTo>
                    <a:pt x="377" y="245"/>
                    <a:pt x="374" y="244"/>
                    <a:pt x="372" y="242"/>
                  </a:cubicBezTo>
                  <a:cubicBezTo>
                    <a:pt x="327" y="197"/>
                    <a:pt x="327" y="197"/>
                    <a:pt x="327" y="197"/>
                  </a:cubicBezTo>
                  <a:cubicBezTo>
                    <a:pt x="324" y="194"/>
                    <a:pt x="319" y="194"/>
                    <a:pt x="316" y="197"/>
                  </a:cubicBezTo>
                  <a:cubicBezTo>
                    <a:pt x="315" y="199"/>
                    <a:pt x="314" y="201"/>
                    <a:pt x="314" y="203"/>
                  </a:cubicBezTo>
                  <a:cubicBezTo>
                    <a:pt x="314" y="205"/>
                    <a:pt x="315" y="207"/>
                    <a:pt x="316" y="209"/>
                  </a:cubicBezTo>
                  <a:cubicBezTo>
                    <a:pt x="353" y="246"/>
                    <a:pt x="353" y="246"/>
                    <a:pt x="353" y="246"/>
                  </a:cubicBezTo>
                  <a:cubicBezTo>
                    <a:pt x="355" y="248"/>
                    <a:pt x="356" y="251"/>
                    <a:pt x="356" y="253"/>
                  </a:cubicBezTo>
                  <a:cubicBezTo>
                    <a:pt x="356" y="256"/>
                    <a:pt x="355" y="259"/>
                    <a:pt x="353" y="261"/>
                  </a:cubicBezTo>
                  <a:cubicBezTo>
                    <a:pt x="351" y="263"/>
                    <a:pt x="348" y="264"/>
                    <a:pt x="346" y="264"/>
                  </a:cubicBezTo>
                  <a:cubicBezTo>
                    <a:pt x="343" y="264"/>
                    <a:pt x="340" y="263"/>
                    <a:pt x="338" y="261"/>
                  </a:cubicBezTo>
                  <a:cubicBezTo>
                    <a:pt x="305" y="227"/>
                    <a:pt x="305" y="227"/>
                    <a:pt x="305" y="227"/>
                  </a:cubicBezTo>
                  <a:cubicBezTo>
                    <a:pt x="301" y="224"/>
                    <a:pt x="296" y="224"/>
                    <a:pt x="293" y="227"/>
                  </a:cubicBezTo>
                  <a:cubicBezTo>
                    <a:pt x="292" y="229"/>
                    <a:pt x="291" y="231"/>
                    <a:pt x="291" y="233"/>
                  </a:cubicBezTo>
                  <a:cubicBezTo>
                    <a:pt x="291" y="235"/>
                    <a:pt x="292" y="237"/>
                    <a:pt x="293" y="238"/>
                  </a:cubicBezTo>
                  <a:cubicBezTo>
                    <a:pt x="313" y="258"/>
                    <a:pt x="313" y="258"/>
                    <a:pt x="313" y="258"/>
                  </a:cubicBezTo>
                  <a:cubicBezTo>
                    <a:pt x="314" y="259"/>
                    <a:pt x="314" y="261"/>
                    <a:pt x="314" y="263"/>
                  </a:cubicBezTo>
                  <a:cubicBezTo>
                    <a:pt x="314" y="266"/>
                    <a:pt x="313" y="269"/>
                    <a:pt x="311" y="271"/>
                  </a:cubicBezTo>
                  <a:cubicBezTo>
                    <a:pt x="309" y="273"/>
                    <a:pt x="306" y="274"/>
                    <a:pt x="304" y="274"/>
                  </a:cubicBezTo>
                  <a:cubicBezTo>
                    <a:pt x="301" y="274"/>
                    <a:pt x="298" y="273"/>
                    <a:pt x="296" y="271"/>
                  </a:cubicBezTo>
                  <a:cubicBezTo>
                    <a:pt x="283" y="258"/>
                    <a:pt x="283" y="258"/>
                    <a:pt x="283" y="258"/>
                  </a:cubicBezTo>
                  <a:cubicBezTo>
                    <a:pt x="283" y="258"/>
                    <a:pt x="280" y="255"/>
                    <a:pt x="274" y="251"/>
                  </a:cubicBezTo>
                  <a:cubicBezTo>
                    <a:pt x="278" y="247"/>
                    <a:pt x="278" y="247"/>
                    <a:pt x="278" y="247"/>
                  </a:cubicBezTo>
                  <a:cubicBezTo>
                    <a:pt x="283" y="242"/>
                    <a:pt x="286" y="235"/>
                    <a:pt x="286" y="228"/>
                  </a:cubicBezTo>
                  <a:cubicBezTo>
                    <a:pt x="286" y="221"/>
                    <a:pt x="283" y="213"/>
                    <a:pt x="278" y="208"/>
                  </a:cubicBezTo>
                  <a:cubicBezTo>
                    <a:pt x="272" y="203"/>
                    <a:pt x="265" y="200"/>
                    <a:pt x="258" y="200"/>
                  </a:cubicBezTo>
                  <a:cubicBezTo>
                    <a:pt x="258" y="200"/>
                    <a:pt x="258" y="200"/>
                    <a:pt x="258" y="200"/>
                  </a:cubicBezTo>
                  <a:cubicBezTo>
                    <a:pt x="258" y="200"/>
                    <a:pt x="258" y="200"/>
                    <a:pt x="258" y="200"/>
                  </a:cubicBezTo>
                  <a:cubicBezTo>
                    <a:pt x="258" y="193"/>
                    <a:pt x="255" y="185"/>
                    <a:pt x="249" y="180"/>
                  </a:cubicBezTo>
                  <a:cubicBezTo>
                    <a:pt x="244" y="175"/>
                    <a:pt x="237" y="172"/>
                    <a:pt x="230" y="172"/>
                  </a:cubicBezTo>
                  <a:cubicBezTo>
                    <a:pt x="226" y="172"/>
                    <a:pt x="223" y="173"/>
                    <a:pt x="219" y="174"/>
                  </a:cubicBezTo>
                  <a:cubicBezTo>
                    <a:pt x="218" y="169"/>
                    <a:pt x="216" y="165"/>
                    <a:pt x="212" y="161"/>
                  </a:cubicBezTo>
                  <a:cubicBezTo>
                    <a:pt x="207" y="156"/>
                    <a:pt x="199" y="153"/>
                    <a:pt x="192" y="153"/>
                  </a:cubicBezTo>
                  <a:cubicBezTo>
                    <a:pt x="185" y="153"/>
                    <a:pt x="178" y="156"/>
                    <a:pt x="173" y="161"/>
                  </a:cubicBezTo>
                  <a:cubicBezTo>
                    <a:pt x="142" y="192"/>
                    <a:pt x="142" y="192"/>
                    <a:pt x="142" y="192"/>
                  </a:cubicBezTo>
                  <a:cubicBezTo>
                    <a:pt x="140" y="188"/>
                    <a:pt x="138" y="185"/>
                    <a:pt x="135" y="182"/>
                  </a:cubicBezTo>
                  <a:cubicBezTo>
                    <a:pt x="130" y="176"/>
                    <a:pt x="123" y="173"/>
                    <a:pt x="116" y="173"/>
                  </a:cubicBezTo>
                  <a:cubicBezTo>
                    <a:pt x="108" y="173"/>
                    <a:pt x="101" y="176"/>
                    <a:pt x="96" y="182"/>
                  </a:cubicBezTo>
                  <a:cubicBezTo>
                    <a:pt x="70" y="208"/>
                    <a:pt x="70" y="208"/>
                    <a:pt x="70" y="208"/>
                  </a:cubicBezTo>
                  <a:cubicBezTo>
                    <a:pt x="65" y="213"/>
                    <a:pt x="62" y="218"/>
                    <a:pt x="62" y="224"/>
                  </a:cubicBezTo>
                  <a:cubicBezTo>
                    <a:pt x="8" y="224"/>
                    <a:pt x="8" y="224"/>
                    <a:pt x="8" y="224"/>
                  </a:cubicBezTo>
                  <a:cubicBezTo>
                    <a:pt x="3" y="224"/>
                    <a:pt x="0" y="228"/>
                    <a:pt x="0" y="232"/>
                  </a:cubicBezTo>
                  <a:cubicBezTo>
                    <a:pt x="0" y="237"/>
                    <a:pt x="3" y="240"/>
                    <a:pt x="8" y="240"/>
                  </a:cubicBezTo>
                  <a:cubicBezTo>
                    <a:pt x="64" y="240"/>
                    <a:pt x="64" y="240"/>
                    <a:pt x="64" y="240"/>
                  </a:cubicBezTo>
                  <a:cubicBezTo>
                    <a:pt x="66" y="243"/>
                    <a:pt x="67" y="245"/>
                    <a:pt x="70" y="247"/>
                  </a:cubicBezTo>
                  <a:cubicBezTo>
                    <a:pt x="75" y="253"/>
                    <a:pt x="82" y="256"/>
                    <a:pt x="89" y="256"/>
                  </a:cubicBezTo>
                  <a:cubicBezTo>
                    <a:pt x="89" y="256"/>
                    <a:pt x="89" y="256"/>
                    <a:pt x="89" y="256"/>
                  </a:cubicBezTo>
                  <a:cubicBezTo>
                    <a:pt x="96" y="256"/>
                    <a:pt x="104" y="253"/>
                    <a:pt x="109" y="247"/>
                  </a:cubicBezTo>
                  <a:cubicBezTo>
                    <a:pt x="109" y="247"/>
                    <a:pt x="109" y="247"/>
                    <a:pt x="109" y="247"/>
                  </a:cubicBezTo>
                  <a:cubicBezTo>
                    <a:pt x="111" y="246"/>
                    <a:pt x="111" y="246"/>
                    <a:pt x="111" y="246"/>
                  </a:cubicBezTo>
                  <a:cubicBezTo>
                    <a:pt x="112" y="249"/>
                    <a:pt x="114" y="253"/>
                    <a:pt x="117" y="256"/>
                  </a:cubicBezTo>
                  <a:cubicBezTo>
                    <a:pt x="123" y="261"/>
                    <a:pt x="130" y="264"/>
                    <a:pt x="137" y="264"/>
                  </a:cubicBezTo>
                  <a:cubicBezTo>
                    <a:pt x="137" y="264"/>
                    <a:pt x="137" y="264"/>
                    <a:pt x="137" y="264"/>
                  </a:cubicBezTo>
                  <a:cubicBezTo>
                    <a:pt x="144" y="264"/>
                    <a:pt x="151" y="261"/>
                    <a:pt x="157" y="256"/>
                  </a:cubicBezTo>
                  <a:cubicBezTo>
                    <a:pt x="159" y="254"/>
                    <a:pt x="159" y="254"/>
                    <a:pt x="159" y="254"/>
                  </a:cubicBezTo>
                  <a:cubicBezTo>
                    <a:pt x="160" y="257"/>
                    <a:pt x="162" y="261"/>
                    <a:pt x="165" y="264"/>
                  </a:cubicBezTo>
                  <a:cubicBezTo>
                    <a:pt x="171" y="269"/>
                    <a:pt x="178" y="272"/>
                    <a:pt x="185" y="272"/>
                  </a:cubicBezTo>
                  <a:cubicBezTo>
                    <a:pt x="185" y="272"/>
                    <a:pt x="185" y="272"/>
                    <a:pt x="185" y="272"/>
                  </a:cubicBezTo>
                  <a:cubicBezTo>
                    <a:pt x="192" y="272"/>
                    <a:pt x="199" y="269"/>
                    <a:pt x="205" y="264"/>
                  </a:cubicBezTo>
                  <a:cubicBezTo>
                    <a:pt x="205" y="264"/>
                    <a:pt x="205" y="264"/>
                    <a:pt x="205" y="264"/>
                  </a:cubicBezTo>
                  <a:cubicBezTo>
                    <a:pt x="205" y="263"/>
                    <a:pt x="205" y="263"/>
                    <a:pt x="205" y="263"/>
                  </a:cubicBezTo>
                  <a:cubicBezTo>
                    <a:pt x="207" y="267"/>
                    <a:pt x="209" y="271"/>
                    <a:pt x="212" y="274"/>
                  </a:cubicBezTo>
                  <a:cubicBezTo>
                    <a:pt x="217" y="279"/>
                    <a:pt x="224" y="282"/>
                    <a:pt x="232" y="282"/>
                  </a:cubicBezTo>
                  <a:cubicBezTo>
                    <a:pt x="232" y="282"/>
                    <a:pt x="232" y="282"/>
                    <a:pt x="232" y="282"/>
                  </a:cubicBezTo>
                  <a:cubicBezTo>
                    <a:pt x="239" y="282"/>
                    <a:pt x="246" y="279"/>
                    <a:pt x="251" y="274"/>
                  </a:cubicBezTo>
                  <a:cubicBezTo>
                    <a:pt x="251" y="274"/>
                    <a:pt x="251" y="274"/>
                    <a:pt x="251" y="274"/>
                  </a:cubicBezTo>
                  <a:cubicBezTo>
                    <a:pt x="263" y="262"/>
                    <a:pt x="263" y="262"/>
                    <a:pt x="263" y="262"/>
                  </a:cubicBezTo>
                  <a:cubicBezTo>
                    <a:pt x="266" y="264"/>
                    <a:pt x="268" y="266"/>
                    <a:pt x="269" y="267"/>
                  </a:cubicBezTo>
                  <a:cubicBezTo>
                    <a:pt x="271" y="269"/>
                    <a:pt x="272" y="270"/>
                    <a:pt x="272" y="270"/>
                  </a:cubicBezTo>
                  <a:cubicBezTo>
                    <a:pt x="285" y="282"/>
                    <a:pt x="285" y="282"/>
                    <a:pt x="285" y="282"/>
                  </a:cubicBezTo>
                  <a:cubicBezTo>
                    <a:pt x="290" y="287"/>
                    <a:pt x="297" y="290"/>
                    <a:pt x="304" y="290"/>
                  </a:cubicBezTo>
                  <a:cubicBezTo>
                    <a:pt x="304" y="290"/>
                    <a:pt x="304" y="290"/>
                    <a:pt x="304" y="290"/>
                  </a:cubicBezTo>
                  <a:cubicBezTo>
                    <a:pt x="310" y="290"/>
                    <a:pt x="317" y="287"/>
                    <a:pt x="322" y="282"/>
                  </a:cubicBezTo>
                  <a:cubicBezTo>
                    <a:pt x="325" y="280"/>
                    <a:pt x="327" y="277"/>
                    <a:pt x="328" y="273"/>
                  </a:cubicBezTo>
                  <a:cubicBezTo>
                    <a:pt x="333" y="278"/>
                    <a:pt x="340" y="280"/>
                    <a:pt x="346" y="280"/>
                  </a:cubicBezTo>
                  <a:cubicBezTo>
                    <a:pt x="353" y="280"/>
                    <a:pt x="359" y="277"/>
                    <a:pt x="365" y="272"/>
                  </a:cubicBezTo>
                  <a:cubicBezTo>
                    <a:pt x="368" y="269"/>
                    <a:pt x="370" y="264"/>
                    <a:pt x="371" y="260"/>
                  </a:cubicBezTo>
                  <a:cubicBezTo>
                    <a:pt x="374" y="261"/>
                    <a:pt x="377" y="261"/>
                    <a:pt x="379" y="261"/>
                  </a:cubicBezTo>
                  <a:cubicBezTo>
                    <a:pt x="386" y="261"/>
                    <a:pt x="393" y="258"/>
                    <a:pt x="398" y="253"/>
                  </a:cubicBezTo>
                  <a:cubicBezTo>
                    <a:pt x="402" y="249"/>
                    <a:pt x="405" y="244"/>
                    <a:pt x="406" y="239"/>
                  </a:cubicBezTo>
                  <a:cubicBezTo>
                    <a:pt x="407" y="239"/>
                    <a:pt x="408" y="239"/>
                    <a:pt x="410" y="239"/>
                  </a:cubicBezTo>
                  <a:cubicBezTo>
                    <a:pt x="416" y="239"/>
                    <a:pt x="423" y="236"/>
                    <a:pt x="428" y="231"/>
                  </a:cubicBezTo>
                  <a:cubicBezTo>
                    <a:pt x="434" y="226"/>
                    <a:pt x="436" y="219"/>
                    <a:pt x="436" y="212"/>
                  </a:cubicBezTo>
                  <a:cubicBezTo>
                    <a:pt x="436" y="210"/>
                    <a:pt x="436" y="208"/>
                    <a:pt x="435" y="205"/>
                  </a:cubicBezTo>
                  <a:cubicBezTo>
                    <a:pt x="478" y="205"/>
                    <a:pt x="478" y="205"/>
                    <a:pt x="478" y="205"/>
                  </a:cubicBezTo>
                  <a:cubicBezTo>
                    <a:pt x="483" y="205"/>
                    <a:pt x="486" y="202"/>
                    <a:pt x="486" y="197"/>
                  </a:cubicBezTo>
                  <a:cubicBezTo>
                    <a:pt x="486" y="193"/>
                    <a:pt x="483" y="189"/>
                    <a:pt x="478" y="189"/>
                  </a:cubicBezTo>
                  <a:close/>
                  <a:moveTo>
                    <a:pt x="98" y="236"/>
                  </a:moveTo>
                  <a:cubicBezTo>
                    <a:pt x="98" y="236"/>
                    <a:pt x="98" y="236"/>
                    <a:pt x="98" y="236"/>
                  </a:cubicBezTo>
                  <a:cubicBezTo>
                    <a:pt x="95" y="238"/>
                    <a:pt x="92" y="240"/>
                    <a:pt x="89" y="240"/>
                  </a:cubicBezTo>
                  <a:cubicBezTo>
                    <a:pt x="86" y="240"/>
                    <a:pt x="83" y="238"/>
                    <a:pt x="81" y="236"/>
                  </a:cubicBezTo>
                  <a:cubicBezTo>
                    <a:pt x="78" y="234"/>
                    <a:pt x="77" y="231"/>
                    <a:pt x="77" y="228"/>
                  </a:cubicBezTo>
                  <a:cubicBezTo>
                    <a:pt x="77" y="225"/>
                    <a:pt x="78" y="222"/>
                    <a:pt x="81" y="219"/>
                  </a:cubicBezTo>
                  <a:cubicBezTo>
                    <a:pt x="107" y="193"/>
                    <a:pt x="107" y="193"/>
                    <a:pt x="107" y="193"/>
                  </a:cubicBezTo>
                  <a:cubicBezTo>
                    <a:pt x="109" y="191"/>
                    <a:pt x="112" y="189"/>
                    <a:pt x="116" y="189"/>
                  </a:cubicBezTo>
                  <a:cubicBezTo>
                    <a:pt x="119" y="189"/>
                    <a:pt x="122" y="191"/>
                    <a:pt x="124" y="193"/>
                  </a:cubicBezTo>
                  <a:cubicBezTo>
                    <a:pt x="126" y="195"/>
                    <a:pt x="127" y="198"/>
                    <a:pt x="127" y="201"/>
                  </a:cubicBezTo>
                  <a:cubicBezTo>
                    <a:pt x="127" y="204"/>
                    <a:pt x="126" y="207"/>
                    <a:pt x="124" y="210"/>
                  </a:cubicBezTo>
                  <a:lnTo>
                    <a:pt x="98" y="236"/>
                  </a:lnTo>
                  <a:close/>
                  <a:moveTo>
                    <a:pt x="165" y="225"/>
                  </a:moveTo>
                  <a:cubicBezTo>
                    <a:pt x="145" y="245"/>
                    <a:pt x="145" y="245"/>
                    <a:pt x="145" y="245"/>
                  </a:cubicBezTo>
                  <a:cubicBezTo>
                    <a:pt x="143" y="247"/>
                    <a:pt x="140" y="248"/>
                    <a:pt x="137" y="248"/>
                  </a:cubicBezTo>
                  <a:cubicBezTo>
                    <a:pt x="134" y="248"/>
                    <a:pt x="131" y="247"/>
                    <a:pt x="129" y="245"/>
                  </a:cubicBezTo>
                  <a:cubicBezTo>
                    <a:pt x="126" y="242"/>
                    <a:pt x="125" y="239"/>
                    <a:pt x="125" y="236"/>
                  </a:cubicBezTo>
                  <a:cubicBezTo>
                    <a:pt x="125" y="233"/>
                    <a:pt x="126" y="230"/>
                    <a:pt x="129" y="228"/>
                  </a:cubicBezTo>
                  <a:cubicBezTo>
                    <a:pt x="184" y="172"/>
                    <a:pt x="184" y="172"/>
                    <a:pt x="184" y="172"/>
                  </a:cubicBezTo>
                  <a:cubicBezTo>
                    <a:pt x="186" y="170"/>
                    <a:pt x="189" y="169"/>
                    <a:pt x="192" y="169"/>
                  </a:cubicBezTo>
                  <a:cubicBezTo>
                    <a:pt x="195" y="169"/>
                    <a:pt x="198" y="170"/>
                    <a:pt x="201" y="172"/>
                  </a:cubicBezTo>
                  <a:cubicBezTo>
                    <a:pt x="203" y="175"/>
                    <a:pt x="204" y="178"/>
                    <a:pt x="204" y="181"/>
                  </a:cubicBezTo>
                  <a:cubicBezTo>
                    <a:pt x="204" y="184"/>
                    <a:pt x="203" y="187"/>
                    <a:pt x="201" y="189"/>
                  </a:cubicBezTo>
                  <a:cubicBezTo>
                    <a:pt x="165" y="224"/>
                    <a:pt x="165" y="224"/>
                    <a:pt x="165" y="224"/>
                  </a:cubicBezTo>
                  <a:cubicBezTo>
                    <a:pt x="165" y="224"/>
                    <a:pt x="165" y="225"/>
                    <a:pt x="165" y="225"/>
                  </a:cubicBezTo>
                  <a:close/>
                  <a:moveTo>
                    <a:pt x="212" y="234"/>
                  </a:moveTo>
                  <a:cubicBezTo>
                    <a:pt x="194" y="253"/>
                    <a:pt x="194" y="253"/>
                    <a:pt x="194" y="253"/>
                  </a:cubicBezTo>
                  <a:cubicBezTo>
                    <a:pt x="194" y="253"/>
                    <a:pt x="194" y="253"/>
                    <a:pt x="194" y="253"/>
                  </a:cubicBezTo>
                  <a:cubicBezTo>
                    <a:pt x="191" y="255"/>
                    <a:pt x="188" y="256"/>
                    <a:pt x="185" y="256"/>
                  </a:cubicBezTo>
                  <a:cubicBezTo>
                    <a:pt x="182" y="256"/>
                    <a:pt x="179" y="255"/>
                    <a:pt x="177" y="253"/>
                  </a:cubicBezTo>
                  <a:cubicBezTo>
                    <a:pt x="174" y="250"/>
                    <a:pt x="173" y="247"/>
                    <a:pt x="173" y="244"/>
                  </a:cubicBezTo>
                  <a:cubicBezTo>
                    <a:pt x="173" y="241"/>
                    <a:pt x="174" y="238"/>
                    <a:pt x="177" y="236"/>
                  </a:cubicBezTo>
                  <a:cubicBezTo>
                    <a:pt x="212" y="201"/>
                    <a:pt x="212" y="201"/>
                    <a:pt x="212" y="201"/>
                  </a:cubicBezTo>
                  <a:cubicBezTo>
                    <a:pt x="212" y="200"/>
                    <a:pt x="212" y="200"/>
                    <a:pt x="212" y="200"/>
                  </a:cubicBezTo>
                  <a:cubicBezTo>
                    <a:pt x="221" y="191"/>
                    <a:pt x="221" y="191"/>
                    <a:pt x="221" y="191"/>
                  </a:cubicBezTo>
                  <a:cubicBezTo>
                    <a:pt x="224" y="189"/>
                    <a:pt x="227" y="188"/>
                    <a:pt x="230" y="188"/>
                  </a:cubicBezTo>
                  <a:cubicBezTo>
                    <a:pt x="233" y="188"/>
                    <a:pt x="236" y="189"/>
                    <a:pt x="238" y="191"/>
                  </a:cubicBezTo>
                  <a:cubicBezTo>
                    <a:pt x="240" y="194"/>
                    <a:pt x="242" y="197"/>
                    <a:pt x="242" y="200"/>
                  </a:cubicBezTo>
                  <a:cubicBezTo>
                    <a:pt x="242" y="203"/>
                    <a:pt x="240" y="206"/>
                    <a:pt x="238" y="208"/>
                  </a:cubicBezTo>
                  <a:cubicBezTo>
                    <a:pt x="212" y="234"/>
                    <a:pt x="212" y="234"/>
                    <a:pt x="212" y="234"/>
                  </a:cubicBezTo>
                  <a:cubicBezTo>
                    <a:pt x="212" y="234"/>
                    <a:pt x="212" y="234"/>
                    <a:pt x="212" y="234"/>
                  </a:cubicBezTo>
                  <a:close/>
                  <a:moveTo>
                    <a:pt x="266" y="236"/>
                  </a:moveTo>
                  <a:cubicBezTo>
                    <a:pt x="240" y="262"/>
                    <a:pt x="240" y="262"/>
                    <a:pt x="240" y="262"/>
                  </a:cubicBezTo>
                  <a:cubicBezTo>
                    <a:pt x="238" y="265"/>
                    <a:pt x="235" y="266"/>
                    <a:pt x="232" y="266"/>
                  </a:cubicBezTo>
                  <a:cubicBezTo>
                    <a:pt x="229" y="266"/>
                    <a:pt x="226" y="265"/>
                    <a:pt x="223" y="262"/>
                  </a:cubicBezTo>
                  <a:cubicBezTo>
                    <a:pt x="221" y="260"/>
                    <a:pt x="220" y="257"/>
                    <a:pt x="220" y="254"/>
                  </a:cubicBezTo>
                  <a:cubicBezTo>
                    <a:pt x="220" y="251"/>
                    <a:pt x="221" y="248"/>
                    <a:pt x="223" y="246"/>
                  </a:cubicBezTo>
                  <a:cubicBezTo>
                    <a:pt x="249" y="219"/>
                    <a:pt x="249" y="219"/>
                    <a:pt x="249" y="219"/>
                  </a:cubicBezTo>
                  <a:cubicBezTo>
                    <a:pt x="249" y="219"/>
                    <a:pt x="249" y="219"/>
                    <a:pt x="249" y="219"/>
                  </a:cubicBezTo>
                  <a:cubicBezTo>
                    <a:pt x="250" y="219"/>
                    <a:pt x="250" y="219"/>
                    <a:pt x="250" y="219"/>
                  </a:cubicBezTo>
                  <a:cubicBezTo>
                    <a:pt x="252" y="217"/>
                    <a:pt x="255" y="216"/>
                    <a:pt x="258" y="216"/>
                  </a:cubicBezTo>
                  <a:cubicBezTo>
                    <a:pt x="261" y="216"/>
                    <a:pt x="264" y="217"/>
                    <a:pt x="266" y="219"/>
                  </a:cubicBezTo>
                  <a:cubicBezTo>
                    <a:pt x="269" y="222"/>
                    <a:pt x="270" y="225"/>
                    <a:pt x="270" y="228"/>
                  </a:cubicBezTo>
                  <a:cubicBezTo>
                    <a:pt x="270" y="231"/>
                    <a:pt x="269" y="234"/>
                    <a:pt x="266" y="2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11" name="Freeform 3"/>
            <p:cNvSpPr>
              <a:spLocks noChangeAspect="1" noEditPoints="1"/>
            </p:cNvSpPr>
            <p:nvPr/>
          </p:nvSpPr>
          <p:spPr bwMode="auto">
            <a:xfrm>
              <a:off x="9795446" y="4868652"/>
              <a:ext cx="399946" cy="463422"/>
            </a:xfrm>
            <a:custGeom>
              <a:avLst/>
              <a:gdLst>
                <a:gd name="T0" fmla="*/ 2147483647 w 355"/>
                <a:gd name="T1" fmla="*/ 2147483647 h 411"/>
                <a:gd name="T2" fmla="*/ 2147483647 w 355"/>
                <a:gd name="T3" fmla="*/ 2147483647 h 411"/>
                <a:gd name="T4" fmla="*/ 2147483647 w 355"/>
                <a:gd name="T5" fmla="*/ 2147483647 h 411"/>
                <a:gd name="T6" fmla="*/ 2147483647 w 355"/>
                <a:gd name="T7" fmla="*/ 2147483647 h 411"/>
                <a:gd name="T8" fmla="*/ 2147483647 w 355"/>
                <a:gd name="T9" fmla="*/ 2147483647 h 411"/>
                <a:gd name="T10" fmla="*/ 2147483647 w 355"/>
                <a:gd name="T11" fmla="*/ 2147483647 h 411"/>
                <a:gd name="T12" fmla="*/ 2147483647 w 355"/>
                <a:gd name="T13" fmla="*/ 2147483647 h 411"/>
                <a:gd name="T14" fmla="*/ 2147483647 w 355"/>
                <a:gd name="T15" fmla="*/ 2147483647 h 411"/>
                <a:gd name="T16" fmla="*/ 2147483647 w 355"/>
                <a:gd name="T17" fmla="*/ 2147483647 h 411"/>
                <a:gd name="T18" fmla="*/ 2147483647 w 355"/>
                <a:gd name="T19" fmla="*/ 2147483647 h 411"/>
                <a:gd name="T20" fmla="*/ 2147483647 w 355"/>
                <a:gd name="T21" fmla="*/ 2147483647 h 411"/>
                <a:gd name="T22" fmla="*/ 2147483647 w 355"/>
                <a:gd name="T23" fmla="*/ 2147483647 h 411"/>
                <a:gd name="T24" fmla="*/ 2147483647 w 355"/>
                <a:gd name="T25" fmla="*/ 2147483647 h 411"/>
                <a:gd name="T26" fmla="*/ 2147483647 w 355"/>
                <a:gd name="T27" fmla="*/ 2147483647 h 411"/>
                <a:gd name="T28" fmla="*/ 2147483647 w 355"/>
                <a:gd name="T29" fmla="*/ 2147483647 h 411"/>
                <a:gd name="T30" fmla="*/ 2147483647 w 355"/>
                <a:gd name="T31" fmla="*/ 2147483647 h 411"/>
                <a:gd name="T32" fmla="*/ 2147483647 w 355"/>
                <a:gd name="T33" fmla="*/ 2147483647 h 411"/>
                <a:gd name="T34" fmla="*/ 2147483647 w 355"/>
                <a:gd name="T35" fmla="*/ 2147483647 h 411"/>
                <a:gd name="T36" fmla="*/ 2147483647 w 355"/>
                <a:gd name="T37" fmla="*/ 2147483647 h 411"/>
                <a:gd name="T38" fmla="*/ 2147483647 w 355"/>
                <a:gd name="T39" fmla="*/ 2147483647 h 411"/>
                <a:gd name="T40" fmla="*/ 2147483647 w 355"/>
                <a:gd name="T41" fmla="*/ 2147483647 h 411"/>
                <a:gd name="T42" fmla="*/ 2147483647 w 355"/>
                <a:gd name="T43" fmla="*/ 2147483647 h 411"/>
                <a:gd name="T44" fmla="*/ 2147483647 w 355"/>
                <a:gd name="T45" fmla="*/ 2147483647 h 411"/>
                <a:gd name="T46" fmla="*/ 2147483647 w 355"/>
                <a:gd name="T47" fmla="*/ 2147483647 h 411"/>
                <a:gd name="T48" fmla="*/ 2147483647 w 355"/>
                <a:gd name="T49" fmla="*/ 2147483647 h 411"/>
                <a:gd name="T50" fmla="*/ 2147483647 w 355"/>
                <a:gd name="T51" fmla="*/ 2147483647 h 411"/>
                <a:gd name="T52" fmla="*/ 2147483647 w 355"/>
                <a:gd name="T53" fmla="*/ 2147483647 h 411"/>
                <a:gd name="T54" fmla="*/ 2147483647 w 355"/>
                <a:gd name="T55" fmla="*/ 2147483647 h 411"/>
                <a:gd name="T56" fmla="*/ 2147483647 w 355"/>
                <a:gd name="T57" fmla="*/ 2147483647 h 411"/>
                <a:gd name="T58" fmla="*/ 2147483647 w 355"/>
                <a:gd name="T59" fmla="*/ 2147483647 h 411"/>
                <a:gd name="T60" fmla="*/ 2147483647 w 355"/>
                <a:gd name="T61" fmla="*/ 2147483647 h 411"/>
                <a:gd name="T62" fmla="*/ 2147483647 w 355"/>
                <a:gd name="T63" fmla="*/ 2147483647 h 411"/>
                <a:gd name="T64" fmla="*/ 2147483647 w 355"/>
                <a:gd name="T65" fmla="*/ 2147483647 h 411"/>
                <a:gd name="T66" fmla="*/ 2147483647 w 355"/>
                <a:gd name="T67" fmla="*/ 2147483647 h 411"/>
                <a:gd name="T68" fmla="*/ 2147483647 w 355"/>
                <a:gd name="T69" fmla="*/ 2147483647 h 411"/>
                <a:gd name="T70" fmla="*/ 2147483647 w 355"/>
                <a:gd name="T71" fmla="*/ 2147483647 h 411"/>
                <a:gd name="T72" fmla="*/ 2147483647 w 355"/>
                <a:gd name="T73" fmla="*/ 2147483647 h 411"/>
                <a:gd name="T74" fmla="*/ 2147483647 w 355"/>
                <a:gd name="T75" fmla="*/ 2147483647 h 411"/>
                <a:gd name="T76" fmla="*/ 2147483647 w 355"/>
                <a:gd name="T77" fmla="*/ 2147483647 h 411"/>
                <a:gd name="T78" fmla="*/ 2147483647 w 355"/>
                <a:gd name="T79" fmla="*/ 2147483647 h 411"/>
                <a:gd name="T80" fmla="*/ 2147483647 w 355"/>
                <a:gd name="T81" fmla="*/ 2147483647 h 411"/>
                <a:gd name="T82" fmla="*/ 2147483647 w 355"/>
                <a:gd name="T83" fmla="*/ 2147483647 h 411"/>
                <a:gd name="T84" fmla="*/ 2147483647 w 355"/>
                <a:gd name="T85" fmla="*/ 2147483647 h 411"/>
                <a:gd name="T86" fmla="*/ 2147483647 w 355"/>
                <a:gd name="T87" fmla="*/ 2147483647 h 411"/>
                <a:gd name="T88" fmla="*/ 2147483647 w 355"/>
                <a:gd name="T89" fmla="*/ 2147483647 h 411"/>
                <a:gd name="T90" fmla="*/ 2147483647 w 355"/>
                <a:gd name="T91" fmla="*/ 2147483647 h 411"/>
                <a:gd name="T92" fmla="*/ 2147483647 w 355"/>
                <a:gd name="T93" fmla="*/ 2147483647 h 411"/>
                <a:gd name="T94" fmla="*/ 2147483647 w 355"/>
                <a:gd name="T95" fmla="*/ 2147483647 h 411"/>
                <a:gd name="T96" fmla="*/ 2147483647 w 355"/>
                <a:gd name="T97" fmla="*/ 2147483647 h 411"/>
                <a:gd name="T98" fmla="*/ 2147483647 w 355"/>
                <a:gd name="T99" fmla="*/ 2147483647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81818"/>
                  </a:solidFill>
                  <a:effectLst/>
                  <a:uLnTx/>
                  <a:uFillTx/>
                  <a:latin typeface="Ericsson Hilda"/>
                  <a:ea typeface="+mn-ea"/>
                  <a:cs typeface="+mn-cs"/>
                </a:rPr>
                <a:t>  </a:t>
              </a:r>
            </a:p>
          </p:txBody>
        </p:sp>
        <p:sp>
          <p:nvSpPr>
            <p:cNvPr id="112" name="Freeform 3"/>
            <p:cNvSpPr>
              <a:spLocks noChangeAspect="1"/>
            </p:cNvSpPr>
            <p:nvPr/>
          </p:nvSpPr>
          <p:spPr bwMode="auto">
            <a:xfrm>
              <a:off x="10538452" y="4458854"/>
              <a:ext cx="411480" cy="411480"/>
            </a:xfrm>
            <a:custGeom>
              <a:avLst/>
              <a:gdLst>
                <a:gd name="T0" fmla="*/ 2147483647 w 349"/>
                <a:gd name="T1" fmla="*/ 2147483647 h 349"/>
                <a:gd name="T2" fmla="*/ 2147483647 w 349"/>
                <a:gd name="T3" fmla="*/ 2147483647 h 349"/>
                <a:gd name="T4" fmla="*/ 2147483647 w 349"/>
                <a:gd name="T5" fmla="*/ 2147483647 h 349"/>
                <a:gd name="T6" fmla="*/ 2147483647 w 349"/>
                <a:gd name="T7" fmla="*/ 2147483647 h 349"/>
                <a:gd name="T8" fmla="*/ 2147483647 w 349"/>
                <a:gd name="T9" fmla="*/ 2147483647 h 349"/>
                <a:gd name="T10" fmla="*/ 2147483647 w 349"/>
                <a:gd name="T11" fmla="*/ 2147483647 h 349"/>
                <a:gd name="T12" fmla="*/ 2147483647 w 349"/>
                <a:gd name="T13" fmla="*/ 2147483647 h 349"/>
                <a:gd name="T14" fmla="*/ 2147483647 w 349"/>
                <a:gd name="T15" fmla="*/ 2147483647 h 349"/>
                <a:gd name="T16" fmla="*/ 2147483647 w 349"/>
                <a:gd name="T17" fmla="*/ 2147483647 h 349"/>
                <a:gd name="T18" fmla="*/ 2147483647 w 349"/>
                <a:gd name="T19" fmla="*/ 2147483647 h 349"/>
                <a:gd name="T20" fmla="*/ 2147483647 w 349"/>
                <a:gd name="T21" fmla="*/ 2147483647 h 349"/>
                <a:gd name="T22" fmla="*/ 2147483647 w 349"/>
                <a:gd name="T23" fmla="*/ 2147483647 h 349"/>
                <a:gd name="T24" fmla="*/ 2147483647 w 349"/>
                <a:gd name="T25" fmla="*/ 2147483647 h 349"/>
                <a:gd name="T26" fmla="*/ 2147483647 w 349"/>
                <a:gd name="T27" fmla="*/ 2147483647 h 349"/>
                <a:gd name="T28" fmla="*/ 2147483647 w 349"/>
                <a:gd name="T29" fmla="*/ 2147483647 h 349"/>
                <a:gd name="T30" fmla="*/ 2147483647 w 349"/>
                <a:gd name="T31" fmla="*/ 2147483647 h 349"/>
                <a:gd name="T32" fmla="*/ 2147483647 w 349"/>
                <a:gd name="T33" fmla="*/ 2147483647 h 349"/>
                <a:gd name="T34" fmla="*/ 2147483647 w 349"/>
                <a:gd name="T35" fmla="*/ 2147483647 h 349"/>
                <a:gd name="T36" fmla="*/ 2147483647 w 349"/>
                <a:gd name="T37" fmla="*/ 2147483647 h 349"/>
                <a:gd name="T38" fmla="*/ 2147483647 w 349"/>
                <a:gd name="T39" fmla="*/ 2147483647 h 349"/>
                <a:gd name="T40" fmla="*/ 2147483647 w 349"/>
                <a:gd name="T41" fmla="*/ 2147483647 h 349"/>
                <a:gd name="T42" fmla="*/ 2147483647 w 349"/>
                <a:gd name="T43" fmla="*/ 2147483647 h 349"/>
                <a:gd name="T44" fmla="*/ 2147483647 w 349"/>
                <a:gd name="T45" fmla="*/ 2147483647 h 349"/>
                <a:gd name="T46" fmla="*/ 2147483647 w 349"/>
                <a:gd name="T47" fmla="*/ 2147483647 h 349"/>
                <a:gd name="T48" fmla="*/ 2147483647 w 349"/>
                <a:gd name="T49" fmla="*/ 2147483647 h 349"/>
                <a:gd name="T50" fmla="*/ 2147483647 w 349"/>
                <a:gd name="T51" fmla="*/ 2147483647 h 349"/>
                <a:gd name="T52" fmla="*/ 2147483647 w 349"/>
                <a:gd name="T53" fmla="*/ 2147483647 h 349"/>
                <a:gd name="T54" fmla="*/ 2147483647 w 349"/>
                <a:gd name="T55" fmla="*/ 2147483647 h 349"/>
                <a:gd name="T56" fmla="*/ 2147483647 w 349"/>
                <a:gd name="T57" fmla="*/ 2147483647 h 349"/>
                <a:gd name="T58" fmla="*/ 2147483647 w 349"/>
                <a:gd name="T59" fmla="*/ 2147483647 h 349"/>
                <a:gd name="T60" fmla="*/ 2147483647 w 349"/>
                <a:gd name="T61" fmla="*/ 2147483647 h 349"/>
                <a:gd name="T62" fmla="*/ 2147483647 w 349"/>
                <a:gd name="T63" fmla="*/ 2147483647 h 349"/>
                <a:gd name="T64" fmla="*/ 2147483647 w 349"/>
                <a:gd name="T65" fmla="*/ 2147483647 h 349"/>
                <a:gd name="T66" fmla="*/ 2147483647 w 349"/>
                <a:gd name="T67" fmla="*/ 2147483647 h 349"/>
                <a:gd name="T68" fmla="*/ 2147483647 w 349"/>
                <a:gd name="T69" fmla="*/ 2147483647 h 349"/>
                <a:gd name="T70" fmla="*/ 2147483647 w 349"/>
                <a:gd name="T71" fmla="*/ 2147483647 h 349"/>
                <a:gd name="T72" fmla="*/ 2147483647 w 349"/>
                <a:gd name="T73" fmla="*/ 2147483647 h 349"/>
                <a:gd name="T74" fmla="*/ 2147483647 w 349"/>
                <a:gd name="T75" fmla="*/ 2147483647 h 349"/>
                <a:gd name="T76" fmla="*/ 2147483647 w 349"/>
                <a:gd name="T77" fmla="*/ 0 h 349"/>
                <a:gd name="T78" fmla="*/ 2147483647 w 349"/>
                <a:gd name="T79" fmla="*/ 2147483647 h 349"/>
                <a:gd name="T80" fmla="*/ 2147483647 w 349"/>
                <a:gd name="T81" fmla="*/ 2147483647 h 349"/>
                <a:gd name="T82" fmla="*/ 2147483647 w 349"/>
                <a:gd name="T83" fmla="*/ 2147483647 h 349"/>
                <a:gd name="T84" fmla="*/ 2147483647 w 349"/>
                <a:gd name="T85" fmla="*/ 2147483647 h 349"/>
                <a:gd name="T86" fmla="*/ 2147483647 w 349"/>
                <a:gd name="T87" fmla="*/ 2147483647 h 349"/>
                <a:gd name="T88" fmla="*/ 0 w 349"/>
                <a:gd name="T89" fmla="*/ 2147483647 h 349"/>
                <a:gd name="T90" fmla="*/ 2147483647 w 349"/>
                <a:gd name="T91" fmla="*/ 2147483647 h 349"/>
                <a:gd name="T92" fmla="*/ 2147483647 w 349"/>
                <a:gd name="T93" fmla="*/ 2147483647 h 349"/>
                <a:gd name="T94" fmla="*/ 2147483647 w 349"/>
                <a:gd name="T95" fmla="*/ 2147483647 h 349"/>
                <a:gd name="T96" fmla="*/ 2147483647 w 349"/>
                <a:gd name="T97" fmla="*/ 2147483647 h 349"/>
                <a:gd name="T98" fmla="*/ 0 w 349"/>
                <a:gd name="T99" fmla="*/ 2147483647 h 349"/>
                <a:gd name="T100" fmla="*/ 2147483647 w 349"/>
                <a:gd name="T101" fmla="*/ 2147483647 h 349"/>
                <a:gd name="T102" fmla="*/ 2147483647 w 349"/>
                <a:gd name="T103" fmla="*/ 2147483647 h 349"/>
                <a:gd name="T104" fmla="*/ 2147483647 w 349"/>
                <a:gd name="T105" fmla="*/ 2147483647 h 349"/>
                <a:gd name="T106" fmla="*/ 2147483647 w 349"/>
                <a:gd name="T107" fmla="*/ 2147483647 h 349"/>
                <a:gd name="T108" fmla="*/ 2147483647 w 349"/>
                <a:gd name="T109" fmla="*/ 2147483647 h 349"/>
                <a:gd name="T110" fmla="*/ 2147483647 w 349"/>
                <a:gd name="T111" fmla="*/ 2147483647 h 349"/>
                <a:gd name="T112" fmla="*/ 2147483647 w 349"/>
                <a:gd name="T113" fmla="*/ 2147483647 h 3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49" h="349">
                  <a:moveTo>
                    <a:pt x="348" y="327"/>
                  </a:moveTo>
                  <a:cubicBezTo>
                    <a:pt x="340" y="328"/>
                    <a:pt x="340" y="328"/>
                    <a:pt x="340" y="328"/>
                  </a:cubicBezTo>
                  <a:cubicBezTo>
                    <a:pt x="348" y="327"/>
                    <a:pt x="348" y="327"/>
                    <a:pt x="348" y="327"/>
                  </a:cubicBezTo>
                  <a:cubicBezTo>
                    <a:pt x="348" y="319"/>
                    <a:pt x="340" y="257"/>
                    <a:pt x="340" y="254"/>
                  </a:cubicBezTo>
                  <a:cubicBezTo>
                    <a:pt x="340" y="250"/>
                    <a:pt x="338" y="247"/>
                    <a:pt x="336" y="243"/>
                  </a:cubicBezTo>
                  <a:cubicBezTo>
                    <a:pt x="334" y="240"/>
                    <a:pt x="329" y="238"/>
                    <a:pt x="325" y="238"/>
                  </a:cubicBezTo>
                  <a:cubicBezTo>
                    <a:pt x="320" y="238"/>
                    <a:pt x="315" y="241"/>
                    <a:pt x="311" y="244"/>
                  </a:cubicBezTo>
                  <a:cubicBezTo>
                    <a:pt x="311" y="245"/>
                    <a:pt x="311" y="245"/>
                    <a:pt x="311" y="245"/>
                  </a:cubicBezTo>
                  <a:cubicBezTo>
                    <a:pt x="298" y="233"/>
                    <a:pt x="298" y="233"/>
                    <a:pt x="298" y="233"/>
                  </a:cubicBezTo>
                  <a:cubicBezTo>
                    <a:pt x="306" y="215"/>
                    <a:pt x="311" y="196"/>
                    <a:pt x="311" y="175"/>
                  </a:cubicBezTo>
                  <a:cubicBezTo>
                    <a:pt x="311" y="154"/>
                    <a:pt x="306" y="134"/>
                    <a:pt x="298" y="117"/>
                  </a:cubicBezTo>
                  <a:cubicBezTo>
                    <a:pt x="311" y="104"/>
                    <a:pt x="311" y="104"/>
                    <a:pt x="311" y="104"/>
                  </a:cubicBezTo>
                  <a:cubicBezTo>
                    <a:pt x="311" y="105"/>
                    <a:pt x="311" y="105"/>
                    <a:pt x="311" y="105"/>
                  </a:cubicBezTo>
                  <a:cubicBezTo>
                    <a:pt x="315" y="109"/>
                    <a:pt x="320" y="112"/>
                    <a:pt x="325" y="112"/>
                  </a:cubicBezTo>
                  <a:cubicBezTo>
                    <a:pt x="329" y="112"/>
                    <a:pt x="334" y="109"/>
                    <a:pt x="336" y="106"/>
                  </a:cubicBezTo>
                  <a:cubicBezTo>
                    <a:pt x="338" y="103"/>
                    <a:pt x="339" y="99"/>
                    <a:pt x="340" y="95"/>
                  </a:cubicBezTo>
                  <a:cubicBezTo>
                    <a:pt x="340" y="92"/>
                    <a:pt x="341" y="83"/>
                    <a:pt x="342" y="72"/>
                  </a:cubicBezTo>
                  <a:cubicBezTo>
                    <a:pt x="343" y="68"/>
                    <a:pt x="340" y="64"/>
                    <a:pt x="335" y="63"/>
                  </a:cubicBezTo>
                  <a:cubicBezTo>
                    <a:pt x="331" y="63"/>
                    <a:pt x="327" y="66"/>
                    <a:pt x="327" y="70"/>
                  </a:cubicBezTo>
                  <a:cubicBezTo>
                    <a:pt x="325" y="81"/>
                    <a:pt x="324" y="91"/>
                    <a:pt x="324" y="94"/>
                  </a:cubicBezTo>
                  <a:cubicBezTo>
                    <a:pt x="324" y="94"/>
                    <a:pt x="324" y="95"/>
                    <a:pt x="324" y="95"/>
                  </a:cubicBezTo>
                  <a:cubicBezTo>
                    <a:pt x="323" y="95"/>
                    <a:pt x="323" y="94"/>
                    <a:pt x="323" y="94"/>
                  </a:cubicBezTo>
                  <a:cubicBezTo>
                    <a:pt x="321" y="92"/>
                    <a:pt x="316" y="87"/>
                    <a:pt x="316" y="87"/>
                  </a:cubicBezTo>
                  <a:cubicBezTo>
                    <a:pt x="315" y="86"/>
                    <a:pt x="313" y="85"/>
                    <a:pt x="311" y="85"/>
                  </a:cubicBezTo>
                  <a:cubicBezTo>
                    <a:pt x="308" y="85"/>
                    <a:pt x="306" y="86"/>
                    <a:pt x="305" y="87"/>
                  </a:cubicBezTo>
                  <a:cubicBezTo>
                    <a:pt x="283" y="109"/>
                    <a:pt x="283" y="109"/>
                    <a:pt x="283" y="109"/>
                  </a:cubicBezTo>
                  <a:cubicBezTo>
                    <a:pt x="280" y="112"/>
                    <a:pt x="280" y="115"/>
                    <a:pt x="281" y="119"/>
                  </a:cubicBezTo>
                  <a:cubicBezTo>
                    <a:pt x="281" y="119"/>
                    <a:pt x="281" y="119"/>
                    <a:pt x="281" y="119"/>
                  </a:cubicBezTo>
                  <a:cubicBezTo>
                    <a:pt x="281" y="119"/>
                    <a:pt x="281" y="119"/>
                    <a:pt x="281" y="119"/>
                  </a:cubicBezTo>
                  <a:cubicBezTo>
                    <a:pt x="290" y="136"/>
                    <a:pt x="295" y="155"/>
                    <a:pt x="295" y="175"/>
                  </a:cubicBezTo>
                  <a:cubicBezTo>
                    <a:pt x="295" y="195"/>
                    <a:pt x="290" y="214"/>
                    <a:pt x="281" y="231"/>
                  </a:cubicBezTo>
                  <a:cubicBezTo>
                    <a:pt x="280" y="234"/>
                    <a:pt x="280" y="238"/>
                    <a:pt x="283" y="240"/>
                  </a:cubicBezTo>
                  <a:cubicBezTo>
                    <a:pt x="305" y="262"/>
                    <a:pt x="305" y="262"/>
                    <a:pt x="305" y="262"/>
                  </a:cubicBezTo>
                  <a:cubicBezTo>
                    <a:pt x="306" y="264"/>
                    <a:pt x="308" y="265"/>
                    <a:pt x="311" y="265"/>
                  </a:cubicBezTo>
                  <a:cubicBezTo>
                    <a:pt x="313" y="265"/>
                    <a:pt x="315" y="264"/>
                    <a:pt x="316" y="262"/>
                  </a:cubicBezTo>
                  <a:cubicBezTo>
                    <a:pt x="316" y="262"/>
                    <a:pt x="321" y="257"/>
                    <a:pt x="323" y="256"/>
                  </a:cubicBezTo>
                  <a:cubicBezTo>
                    <a:pt x="323" y="255"/>
                    <a:pt x="324" y="255"/>
                    <a:pt x="324" y="255"/>
                  </a:cubicBezTo>
                  <a:cubicBezTo>
                    <a:pt x="324" y="255"/>
                    <a:pt x="324" y="255"/>
                    <a:pt x="324" y="256"/>
                  </a:cubicBezTo>
                  <a:cubicBezTo>
                    <a:pt x="324" y="259"/>
                    <a:pt x="332" y="320"/>
                    <a:pt x="332" y="329"/>
                  </a:cubicBezTo>
                  <a:cubicBezTo>
                    <a:pt x="333" y="329"/>
                    <a:pt x="333" y="330"/>
                    <a:pt x="333" y="330"/>
                  </a:cubicBezTo>
                  <a:cubicBezTo>
                    <a:pt x="332" y="331"/>
                    <a:pt x="332" y="331"/>
                    <a:pt x="332" y="332"/>
                  </a:cubicBezTo>
                  <a:cubicBezTo>
                    <a:pt x="331" y="333"/>
                    <a:pt x="331" y="333"/>
                    <a:pt x="329" y="333"/>
                  </a:cubicBezTo>
                  <a:cubicBezTo>
                    <a:pt x="329" y="333"/>
                    <a:pt x="329" y="333"/>
                    <a:pt x="328" y="333"/>
                  </a:cubicBezTo>
                  <a:cubicBezTo>
                    <a:pt x="320" y="332"/>
                    <a:pt x="265" y="325"/>
                    <a:pt x="255" y="324"/>
                  </a:cubicBezTo>
                  <a:cubicBezTo>
                    <a:pt x="255" y="324"/>
                    <a:pt x="254" y="324"/>
                    <a:pt x="254" y="324"/>
                  </a:cubicBezTo>
                  <a:cubicBezTo>
                    <a:pt x="254" y="324"/>
                    <a:pt x="255" y="324"/>
                    <a:pt x="255" y="323"/>
                  </a:cubicBezTo>
                  <a:cubicBezTo>
                    <a:pt x="257" y="322"/>
                    <a:pt x="262" y="317"/>
                    <a:pt x="262" y="317"/>
                  </a:cubicBezTo>
                  <a:cubicBezTo>
                    <a:pt x="263" y="315"/>
                    <a:pt x="264" y="313"/>
                    <a:pt x="264" y="311"/>
                  </a:cubicBezTo>
                  <a:cubicBezTo>
                    <a:pt x="264" y="309"/>
                    <a:pt x="263" y="307"/>
                    <a:pt x="262" y="305"/>
                  </a:cubicBezTo>
                  <a:cubicBezTo>
                    <a:pt x="239" y="283"/>
                    <a:pt x="239" y="283"/>
                    <a:pt x="239" y="283"/>
                  </a:cubicBezTo>
                  <a:cubicBezTo>
                    <a:pt x="237" y="281"/>
                    <a:pt x="233" y="280"/>
                    <a:pt x="230" y="282"/>
                  </a:cubicBezTo>
                  <a:cubicBezTo>
                    <a:pt x="213" y="291"/>
                    <a:pt x="194" y="296"/>
                    <a:pt x="174" y="296"/>
                  </a:cubicBezTo>
                  <a:cubicBezTo>
                    <a:pt x="154" y="296"/>
                    <a:pt x="135" y="291"/>
                    <a:pt x="118" y="282"/>
                  </a:cubicBezTo>
                  <a:cubicBezTo>
                    <a:pt x="118" y="282"/>
                    <a:pt x="118" y="282"/>
                    <a:pt x="118" y="282"/>
                  </a:cubicBezTo>
                  <a:cubicBezTo>
                    <a:pt x="115" y="280"/>
                    <a:pt x="111" y="281"/>
                    <a:pt x="109" y="284"/>
                  </a:cubicBezTo>
                  <a:cubicBezTo>
                    <a:pt x="87" y="305"/>
                    <a:pt x="87" y="305"/>
                    <a:pt x="87" y="305"/>
                  </a:cubicBezTo>
                  <a:cubicBezTo>
                    <a:pt x="85" y="307"/>
                    <a:pt x="84" y="309"/>
                    <a:pt x="84" y="311"/>
                  </a:cubicBezTo>
                  <a:cubicBezTo>
                    <a:pt x="84" y="313"/>
                    <a:pt x="85" y="315"/>
                    <a:pt x="87" y="317"/>
                  </a:cubicBezTo>
                  <a:cubicBezTo>
                    <a:pt x="87" y="317"/>
                    <a:pt x="92" y="322"/>
                    <a:pt x="93" y="323"/>
                  </a:cubicBezTo>
                  <a:cubicBezTo>
                    <a:pt x="94" y="324"/>
                    <a:pt x="94" y="324"/>
                    <a:pt x="94" y="325"/>
                  </a:cubicBezTo>
                  <a:cubicBezTo>
                    <a:pt x="94" y="325"/>
                    <a:pt x="94" y="325"/>
                    <a:pt x="93" y="325"/>
                  </a:cubicBezTo>
                  <a:cubicBezTo>
                    <a:pt x="90" y="325"/>
                    <a:pt x="28" y="332"/>
                    <a:pt x="20" y="333"/>
                  </a:cubicBezTo>
                  <a:cubicBezTo>
                    <a:pt x="20" y="333"/>
                    <a:pt x="19" y="333"/>
                    <a:pt x="19" y="333"/>
                  </a:cubicBezTo>
                  <a:cubicBezTo>
                    <a:pt x="18" y="333"/>
                    <a:pt x="18" y="333"/>
                    <a:pt x="17" y="332"/>
                  </a:cubicBezTo>
                  <a:cubicBezTo>
                    <a:pt x="16" y="332"/>
                    <a:pt x="16" y="332"/>
                    <a:pt x="16" y="330"/>
                  </a:cubicBezTo>
                  <a:cubicBezTo>
                    <a:pt x="16" y="330"/>
                    <a:pt x="16" y="329"/>
                    <a:pt x="16" y="329"/>
                  </a:cubicBezTo>
                  <a:cubicBezTo>
                    <a:pt x="17" y="321"/>
                    <a:pt x="24" y="265"/>
                    <a:pt x="25" y="256"/>
                  </a:cubicBezTo>
                  <a:cubicBezTo>
                    <a:pt x="25" y="255"/>
                    <a:pt x="25" y="255"/>
                    <a:pt x="25" y="255"/>
                  </a:cubicBezTo>
                  <a:cubicBezTo>
                    <a:pt x="25" y="255"/>
                    <a:pt x="25" y="255"/>
                    <a:pt x="26" y="256"/>
                  </a:cubicBezTo>
                  <a:cubicBezTo>
                    <a:pt x="27" y="257"/>
                    <a:pt x="32" y="262"/>
                    <a:pt x="32" y="262"/>
                  </a:cubicBezTo>
                  <a:cubicBezTo>
                    <a:pt x="34" y="264"/>
                    <a:pt x="36" y="265"/>
                    <a:pt x="38" y="265"/>
                  </a:cubicBezTo>
                  <a:cubicBezTo>
                    <a:pt x="40" y="265"/>
                    <a:pt x="42" y="264"/>
                    <a:pt x="44" y="262"/>
                  </a:cubicBezTo>
                  <a:cubicBezTo>
                    <a:pt x="66" y="240"/>
                    <a:pt x="66" y="240"/>
                    <a:pt x="66" y="240"/>
                  </a:cubicBezTo>
                  <a:cubicBezTo>
                    <a:pt x="68" y="238"/>
                    <a:pt x="69" y="234"/>
                    <a:pt x="67" y="231"/>
                  </a:cubicBezTo>
                  <a:cubicBezTo>
                    <a:pt x="58" y="214"/>
                    <a:pt x="53" y="195"/>
                    <a:pt x="53" y="175"/>
                  </a:cubicBezTo>
                  <a:cubicBezTo>
                    <a:pt x="53" y="155"/>
                    <a:pt x="58" y="136"/>
                    <a:pt x="67" y="119"/>
                  </a:cubicBezTo>
                  <a:cubicBezTo>
                    <a:pt x="69" y="116"/>
                    <a:pt x="68" y="112"/>
                    <a:pt x="66" y="110"/>
                  </a:cubicBezTo>
                  <a:cubicBezTo>
                    <a:pt x="44" y="87"/>
                    <a:pt x="44" y="87"/>
                    <a:pt x="44" y="87"/>
                  </a:cubicBezTo>
                  <a:cubicBezTo>
                    <a:pt x="42" y="86"/>
                    <a:pt x="40" y="85"/>
                    <a:pt x="38" y="85"/>
                  </a:cubicBezTo>
                  <a:cubicBezTo>
                    <a:pt x="36" y="85"/>
                    <a:pt x="34" y="86"/>
                    <a:pt x="32" y="87"/>
                  </a:cubicBezTo>
                  <a:cubicBezTo>
                    <a:pt x="32" y="87"/>
                    <a:pt x="27" y="92"/>
                    <a:pt x="26" y="94"/>
                  </a:cubicBezTo>
                  <a:cubicBezTo>
                    <a:pt x="25" y="94"/>
                    <a:pt x="25" y="95"/>
                    <a:pt x="25" y="95"/>
                  </a:cubicBezTo>
                  <a:cubicBezTo>
                    <a:pt x="24" y="95"/>
                    <a:pt x="24" y="94"/>
                    <a:pt x="24" y="94"/>
                  </a:cubicBezTo>
                  <a:cubicBezTo>
                    <a:pt x="24" y="91"/>
                    <a:pt x="17" y="29"/>
                    <a:pt x="16" y="21"/>
                  </a:cubicBezTo>
                  <a:cubicBezTo>
                    <a:pt x="16" y="20"/>
                    <a:pt x="16" y="20"/>
                    <a:pt x="16" y="20"/>
                  </a:cubicBezTo>
                  <a:cubicBezTo>
                    <a:pt x="16" y="18"/>
                    <a:pt x="16" y="18"/>
                    <a:pt x="17" y="17"/>
                  </a:cubicBezTo>
                  <a:cubicBezTo>
                    <a:pt x="18" y="17"/>
                    <a:pt x="17" y="17"/>
                    <a:pt x="19" y="17"/>
                  </a:cubicBezTo>
                  <a:cubicBezTo>
                    <a:pt x="19" y="17"/>
                    <a:pt x="20" y="17"/>
                    <a:pt x="20" y="17"/>
                  </a:cubicBezTo>
                  <a:cubicBezTo>
                    <a:pt x="28" y="17"/>
                    <a:pt x="84" y="24"/>
                    <a:pt x="93" y="25"/>
                  </a:cubicBezTo>
                  <a:cubicBezTo>
                    <a:pt x="94" y="25"/>
                    <a:pt x="94" y="25"/>
                    <a:pt x="94" y="25"/>
                  </a:cubicBezTo>
                  <a:cubicBezTo>
                    <a:pt x="94" y="26"/>
                    <a:pt x="94" y="26"/>
                    <a:pt x="93" y="26"/>
                  </a:cubicBezTo>
                  <a:cubicBezTo>
                    <a:pt x="92" y="28"/>
                    <a:pt x="87" y="33"/>
                    <a:pt x="87" y="33"/>
                  </a:cubicBezTo>
                  <a:cubicBezTo>
                    <a:pt x="85" y="34"/>
                    <a:pt x="84" y="36"/>
                    <a:pt x="84" y="38"/>
                  </a:cubicBezTo>
                  <a:cubicBezTo>
                    <a:pt x="84" y="41"/>
                    <a:pt x="85" y="43"/>
                    <a:pt x="87" y="44"/>
                  </a:cubicBezTo>
                  <a:cubicBezTo>
                    <a:pt x="109" y="66"/>
                    <a:pt x="109" y="66"/>
                    <a:pt x="109" y="66"/>
                  </a:cubicBezTo>
                  <a:cubicBezTo>
                    <a:pt x="111" y="69"/>
                    <a:pt x="115" y="69"/>
                    <a:pt x="118" y="68"/>
                  </a:cubicBezTo>
                  <a:cubicBezTo>
                    <a:pt x="135" y="59"/>
                    <a:pt x="154" y="54"/>
                    <a:pt x="174" y="54"/>
                  </a:cubicBezTo>
                  <a:cubicBezTo>
                    <a:pt x="194" y="54"/>
                    <a:pt x="213" y="59"/>
                    <a:pt x="230" y="68"/>
                  </a:cubicBezTo>
                  <a:cubicBezTo>
                    <a:pt x="233" y="69"/>
                    <a:pt x="237" y="69"/>
                    <a:pt x="239" y="66"/>
                  </a:cubicBezTo>
                  <a:cubicBezTo>
                    <a:pt x="262" y="44"/>
                    <a:pt x="262" y="44"/>
                    <a:pt x="262" y="44"/>
                  </a:cubicBezTo>
                  <a:cubicBezTo>
                    <a:pt x="263" y="43"/>
                    <a:pt x="264" y="41"/>
                    <a:pt x="264" y="38"/>
                  </a:cubicBezTo>
                  <a:cubicBezTo>
                    <a:pt x="264" y="36"/>
                    <a:pt x="263" y="34"/>
                    <a:pt x="262" y="33"/>
                  </a:cubicBezTo>
                  <a:cubicBezTo>
                    <a:pt x="262" y="33"/>
                    <a:pt x="257" y="28"/>
                    <a:pt x="255" y="26"/>
                  </a:cubicBezTo>
                  <a:cubicBezTo>
                    <a:pt x="255" y="26"/>
                    <a:pt x="254" y="25"/>
                    <a:pt x="254" y="25"/>
                  </a:cubicBezTo>
                  <a:cubicBezTo>
                    <a:pt x="254" y="25"/>
                    <a:pt x="255" y="25"/>
                    <a:pt x="255" y="25"/>
                  </a:cubicBezTo>
                  <a:cubicBezTo>
                    <a:pt x="258" y="25"/>
                    <a:pt x="320" y="17"/>
                    <a:pt x="328" y="17"/>
                  </a:cubicBezTo>
                  <a:cubicBezTo>
                    <a:pt x="329" y="16"/>
                    <a:pt x="329" y="16"/>
                    <a:pt x="329" y="16"/>
                  </a:cubicBezTo>
                  <a:cubicBezTo>
                    <a:pt x="331" y="17"/>
                    <a:pt x="331" y="17"/>
                    <a:pt x="332" y="17"/>
                  </a:cubicBezTo>
                  <a:cubicBezTo>
                    <a:pt x="332" y="18"/>
                    <a:pt x="332" y="18"/>
                    <a:pt x="332" y="20"/>
                  </a:cubicBezTo>
                  <a:cubicBezTo>
                    <a:pt x="332" y="20"/>
                    <a:pt x="332" y="20"/>
                    <a:pt x="332" y="21"/>
                  </a:cubicBezTo>
                  <a:cubicBezTo>
                    <a:pt x="332" y="23"/>
                    <a:pt x="331" y="30"/>
                    <a:pt x="330" y="39"/>
                  </a:cubicBezTo>
                  <a:cubicBezTo>
                    <a:pt x="330" y="43"/>
                    <a:pt x="333" y="47"/>
                    <a:pt x="337" y="48"/>
                  </a:cubicBezTo>
                  <a:cubicBezTo>
                    <a:pt x="342" y="48"/>
                    <a:pt x="346" y="45"/>
                    <a:pt x="346" y="41"/>
                  </a:cubicBezTo>
                  <a:cubicBezTo>
                    <a:pt x="347" y="32"/>
                    <a:pt x="348" y="25"/>
                    <a:pt x="348" y="22"/>
                  </a:cubicBezTo>
                  <a:cubicBezTo>
                    <a:pt x="348" y="21"/>
                    <a:pt x="348" y="21"/>
                    <a:pt x="348" y="20"/>
                  </a:cubicBezTo>
                  <a:cubicBezTo>
                    <a:pt x="349" y="15"/>
                    <a:pt x="347" y="10"/>
                    <a:pt x="343" y="6"/>
                  </a:cubicBezTo>
                  <a:cubicBezTo>
                    <a:pt x="339" y="2"/>
                    <a:pt x="334" y="0"/>
                    <a:pt x="329" y="0"/>
                  </a:cubicBezTo>
                  <a:cubicBezTo>
                    <a:pt x="328" y="0"/>
                    <a:pt x="327" y="1"/>
                    <a:pt x="326" y="1"/>
                  </a:cubicBezTo>
                  <a:cubicBezTo>
                    <a:pt x="318" y="1"/>
                    <a:pt x="256" y="9"/>
                    <a:pt x="253" y="9"/>
                  </a:cubicBezTo>
                  <a:cubicBezTo>
                    <a:pt x="250" y="9"/>
                    <a:pt x="246" y="11"/>
                    <a:pt x="243" y="13"/>
                  </a:cubicBezTo>
                  <a:cubicBezTo>
                    <a:pt x="240" y="15"/>
                    <a:pt x="237" y="20"/>
                    <a:pt x="237" y="24"/>
                  </a:cubicBezTo>
                  <a:cubicBezTo>
                    <a:pt x="237" y="29"/>
                    <a:pt x="240" y="34"/>
                    <a:pt x="244" y="38"/>
                  </a:cubicBezTo>
                  <a:cubicBezTo>
                    <a:pt x="244" y="38"/>
                    <a:pt x="244" y="38"/>
                    <a:pt x="245" y="38"/>
                  </a:cubicBezTo>
                  <a:cubicBezTo>
                    <a:pt x="232" y="51"/>
                    <a:pt x="232" y="51"/>
                    <a:pt x="232" y="51"/>
                  </a:cubicBezTo>
                  <a:cubicBezTo>
                    <a:pt x="215" y="43"/>
                    <a:pt x="195" y="38"/>
                    <a:pt x="174" y="38"/>
                  </a:cubicBezTo>
                  <a:cubicBezTo>
                    <a:pt x="153" y="38"/>
                    <a:pt x="134" y="43"/>
                    <a:pt x="116" y="51"/>
                  </a:cubicBezTo>
                  <a:cubicBezTo>
                    <a:pt x="104" y="38"/>
                    <a:pt x="104" y="38"/>
                    <a:pt x="104" y="38"/>
                  </a:cubicBezTo>
                  <a:cubicBezTo>
                    <a:pt x="104" y="38"/>
                    <a:pt x="104" y="38"/>
                    <a:pt x="105" y="38"/>
                  </a:cubicBezTo>
                  <a:cubicBezTo>
                    <a:pt x="108" y="34"/>
                    <a:pt x="111" y="29"/>
                    <a:pt x="111" y="24"/>
                  </a:cubicBezTo>
                  <a:cubicBezTo>
                    <a:pt x="111" y="20"/>
                    <a:pt x="109" y="15"/>
                    <a:pt x="106" y="13"/>
                  </a:cubicBezTo>
                  <a:cubicBezTo>
                    <a:pt x="102" y="11"/>
                    <a:pt x="99" y="10"/>
                    <a:pt x="95" y="9"/>
                  </a:cubicBezTo>
                  <a:cubicBezTo>
                    <a:pt x="86" y="8"/>
                    <a:pt x="30" y="2"/>
                    <a:pt x="22" y="1"/>
                  </a:cubicBezTo>
                  <a:cubicBezTo>
                    <a:pt x="21" y="1"/>
                    <a:pt x="20" y="1"/>
                    <a:pt x="19" y="1"/>
                  </a:cubicBezTo>
                  <a:cubicBezTo>
                    <a:pt x="14" y="0"/>
                    <a:pt x="9" y="2"/>
                    <a:pt x="5" y="6"/>
                  </a:cubicBezTo>
                  <a:cubicBezTo>
                    <a:pt x="2" y="10"/>
                    <a:pt x="0" y="15"/>
                    <a:pt x="0" y="20"/>
                  </a:cubicBezTo>
                  <a:cubicBezTo>
                    <a:pt x="0" y="21"/>
                    <a:pt x="0" y="22"/>
                    <a:pt x="0" y="23"/>
                  </a:cubicBezTo>
                  <a:cubicBezTo>
                    <a:pt x="1" y="31"/>
                    <a:pt x="8" y="93"/>
                    <a:pt x="8" y="96"/>
                  </a:cubicBezTo>
                  <a:cubicBezTo>
                    <a:pt x="9" y="99"/>
                    <a:pt x="10" y="103"/>
                    <a:pt x="12" y="106"/>
                  </a:cubicBezTo>
                  <a:cubicBezTo>
                    <a:pt x="15" y="109"/>
                    <a:pt x="19" y="112"/>
                    <a:pt x="23" y="112"/>
                  </a:cubicBezTo>
                  <a:cubicBezTo>
                    <a:pt x="29" y="112"/>
                    <a:pt x="33" y="109"/>
                    <a:pt x="37" y="105"/>
                  </a:cubicBezTo>
                  <a:cubicBezTo>
                    <a:pt x="37" y="105"/>
                    <a:pt x="37" y="105"/>
                    <a:pt x="38" y="104"/>
                  </a:cubicBezTo>
                  <a:cubicBezTo>
                    <a:pt x="50" y="117"/>
                    <a:pt x="50" y="117"/>
                    <a:pt x="50" y="117"/>
                  </a:cubicBezTo>
                  <a:cubicBezTo>
                    <a:pt x="42" y="134"/>
                    <a:pt x="37" y="154"/>
                    <a:pt x="37" y="175"/>
                  </a:cubicBezTo>
                  <a:cubicBezTo>
                    <a:pt x="37" y="196"/>
                    <a:pt x="42" y="215"/>
                    <a:pt x="50" y="233"/>
                  </a:cubicBezTo>
                  <a:cubicBezTo>
                    <a:pt x="38" y="245"/>
                    <a:pt x="38" y="245"/>
                    <a:pt x="38" y="245"/>
                  </a:cubicBezTo>
                  <a:cubicBezTo>
                    <a:pt x="38" y="245"/>
                    <a:pt x="37" y="245"/>
                    <a:pt x="37" y="244"/>
                  </a:cubicBezTo>
                  <a:cubicBezTo>
                    <a:pt x="33" y="241"/>
                    <a:pt x="29" y="238"/>
                    <a:pt x="23" y="238"/>
                  </a:cubicBezTo>
                  <a:cubicBezTo>
                    <a:pt x="19" y="238"/>
                    <a:pt x="15" y="240"/>
                    <a:pt x="12" y="243"/>
                  </a:cubicBezTo>
                  <a:cubicBezTo>
                    <a:pt x="10" y="247"/>
                    <a:pt x="9" y="250"/>
                    <a:pt x="9" y="254"/>
                  </a:cubicBezTo>
                  <a:cubicBezTo>
                    <a:pt x="8" y="263"/>
                    <a:pt x="1" y="319"/>
                    <a:pt x="0" y="327"/>
                  </a:cubicBezTo>
                  <a:cubicBezTo>
                    <a:pt x="0" y="328"/>
                    <a:pt x="0" y="329"/>
                    <a:pt x="0" y="330"/>
                  </a:cubicBezTo>
                  <a:cubicBezTo>
                    <a:pt x="0" y="335"/>
                    <a:pt x="2" y="340"/>
                    <a:pt x="5" y="344"/>
                  </a:cubicBezTo>
                  <a:cubicBezTo>
                    <a:pt x="9" y="347"/>
                    <a:pt x="14" y="349"/>
                    <a:pt x="19" y="349"/>
                  </a:cubicBezTo>
                  <a:cubicBezTo>
                    <a:pt x="19" y="349"/>
                    <a:pt x="19" y="349"/>
                    <a:pt x="19" y="349"/>
                  </a:cubicBezTo>
                  <a:cubicBezTo>
                    <a:pt x="20" y="349"/>
                    <a:pt x="21" y="349"/>
                    <a:pt x="22" y="349"/>
                  </a:cubicBezTo>
                  <a:cubicBezTo>
                    <a:pt x="30" y="348"/>
                    <a:pt x="92" y="341"/>
                    <a:pt x="95" y="341"/>
                  </a:cubicBezTo>
                  <a:cubicBezTo>
                    <a:pt x="99" y="340"/>
                    <a:pt x="102" y="339"/>
                    <a:pt x="106" y="337"/>
                  </a:cubicBezTo>
                  <a:cubicBezTo>
                    <a:pt x="109" y="334"/>
                    <a:pt x="111" y="330"/>
                    <a:pt x="111" y="326"/>
                  </a:cubicBezTo>
                  <a:cubicBezTo>
                    <a:pt x="111" y="320"/>
                    <a:pt x="108" y="316"/>
                    <a:pt x="105" y="312"/>
                  </a:cubicBezTo>
                  <a:cubicBezTo>
                    <a:pt x="104" y="312"/>
                    <a:pt x="104" y="312"/>
                    <a:pt x="104" y="311"/>
                  </a:cubicBezTo>
                  <a:cubicBezTo>
                    <a:pt x="116" y="299"/>
                    <a:pt x="116" y="299"/>
                    <a:pt x="116" y="299"/>
                  </a:cubicBezTo>
                  <a:cubicBezTo>
                    <a:pt x="134" y="307"/>
                    <a:pt x="153" y="312"/>
                    <a:pt x="174" y="312"/>
                  </a:cubicBezTo>
                  <a:cubicBezTo>
                    <a:pt x="195" y="312"/>
                    <a:pt x="215" y="307"/>
                    <a:pt x="232" y="299"/>
                  </a:cubicBezTo>
                  <a:cubicBezTo>
                    <a:pt x="245" y="311"/>
                    <a:pt x="245" y="311"/>
                    <a:pt x="245" y="311"/>
                  </a:cubicBezTo>
                  <a:cubicBezTo>
                    <a:pt x="244" y="312"/>
                    <a:pt x="244" y="312"/>
                    <a:pt x="244" y="312"/>
                  </a:cubicBezTo>
                  <a:cubicBezTo>
                    <a:pt x="240" y="316"/>
                    <a:pt x="237" y="320"/>
                    <a:pt x="237" y="326"/>
                  </a:cubicBezTo>
                  <a:cubicBezTo>
                    <a:pt x="237" y="330"/>
                    <a:pt x="240" y="334"/>
                    <a:pt x="243" y="337"/>
                  </a:cubicBezTo>
                  <a:cubicBezTo>
                    <a:pt x="246" y="339"/>
                    <a:pt x="250" y="340"/>
                    <a:pt x="254" y="340"/>
                  </a:cubicBezTo>
                  <a:cubicBezTo>
                    <a:pt x="262" y="341"/>
                    <a:pt x="318" y="348"/>
                    <a:pt x="327" y="349"/>
                  </a:cubicBezTo>
                  <a:cubicBezTo>
                    <a:pt x="328" y="349"/>
                    <a:pt x="328" y="349"/>
                    <a:pt x="329" y="349"/>
                  </a:cubicBezTo>
                  <a:cubicBezTo>
                    <a:pt x="334" y="349"/>
                    <a:pt x="339" y="347"/>
                    <a:pt x="343" y="344"/>
                  </a:cubicBezTo>
                  <a:cubicBezTo>
                    <a:pt x="347" y="340"/>
                    <a:pt x="349" y="334"/>
                    <a:pt x="349" y="330"/>
                  </a:cubicBezTo>
                  <a:cubicBezTo>
                    <a:pt x="349" y="329"/>
                    <a:pt x="348" y="328"/>
                    <a:pt x="348"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818"/>
                </a:solidFill>
                <a:effectLst/>
                <a:uLnTx/>
                <a:uFillTx/>
                <a:latin typeface="Ericsson Hilda"/>
                <a:ea typeface="+mn-ea"/>
                <a:cs typeface="+mn-cs"/>
              </a:endParaRPr>
            </a:p>
          </p:txBody>
        </p:sp>
        <p:sp>
          <p:nvSpPr>
            <p:cNvPr id="113" name="TextBox 112"/>
            <p:cNvSpPr txBox="1"/>
            <p:nvPr/>
          </p:nvSpPr>
          <p:spPr>
            <a:xfrm>
              <a:off x="9229553" y="2603260"/>
              <a:ext cx="1554480" cy="492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CR analysis &amp; submission </a:t>
              </a:r>
            </a:p>
          </p:txBody>
        </p:sp>
        <p:sp>
          <p:nvSpPr>
            <p:cNvPr id="114" name="TextBox 113"/>
            <p:cNvSpPr txBox="1"/>
            <p:nvPr/>
          </p:nvSpPr>
          <p:spPr>
            <a:xfrm>
              <a:off x="9229553" y="5454744"/>
              <a:ext cx="1554480" cy="29238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181818"/>
                </a:solidFill>
                <a:effectLst/>
                <a:uLnTx/>
                <a:uFillTx/>
                <a:latin typeface="Ericsson Hilda"/>
                <a:ea typeface="+mn-ea"/>
                <a:cs typeface="+mn-cs"/>
              </a:endParaRPr>
            </a:p>
          </p:txBody>
        </p:sp>
        <p:sp>
          <p:nvSpPr>
            <p:cNvPr id="115" name="TextBox 114"/>
            <p:cNvSpPr txBox="1"/>
            <p:nvPr/>
          </p:nvSpPr>
          <p:spPr>
            <a:xfrm>
              <a:off x="10515592" y="3076328"/>
              <a:ext cx="1476378" cy="492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CCB review &amp; decisions</a:t>
              </a:r>
            </a:p>
          </p:txBody>
        </p:sp>
        <p:sp>
          <p:nvSpPr>
            <p:cNvPr id="116" name="TextBox 115"/>
            <p:cNvSpPr txBox="1"/>
            <p:nvPr/>
          </p:nvSpPr>
          <p:spPr>
            <a:xfrm>
              <a:off x="8088999" y="3106323"/>
              <a:ext cx="1188720" cy="492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CCB quality audit</a:t>
              </a:r>
            </a:p>
          </p:txBody>
        </p:sp>
        <p:sp>
          <p:nvSpPr>
            <p:cNvPr id="117" name="TextBox 116"/>
            <p:cNvSpPr txBox="1"/>
            <p:nvPr/>
          </p:nvSpPr>
          <p:spPr>
            <a:xfrm>
              <a:off x="10536297" y="5047161"/>
              <a:ext cx="1188720" cy="6924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Propose CR to customer &amp; negotiate  </a:t>
              </a:r>
            </a:p>
          </p:txBody>
        </p:sp>
        <p:sp>
          <p:nvSpPr>
            <p:cNvPr id="118" name="TextBox 117"/>
            <p:cNvSpPr txBox="1"/>
            <p:nvPr/>
          </p:nvSpPr>
          <p:spPr>
            <a:xfrm>
              <a:off x="9319760" y="5486701"/>
              <a:ext cx="1306744" cy="492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CR Final Decision</a:t>
              </a:r>
            </a:p>
          </p:txBody>
        </p:sp>
      </p:grpSp>
      <p:sp>
        <p:nvSpPr>
          <p:cNvPr id="2" name="Rectangle 1">
            <a:extLst>
              <a:ext uri="{FF2B5EF4-FFF2-40B4-BE49-F238E27FC236}">
                <a16:creationId xmlns:a16="http://schemas.microsoft.com/office/drawing/2014/main" id="{D05557E0-8BCF-45F6-B843-8941565A9640}"/>
              </a:ext>
            </a:extLst>
          </p:cNvPr>
          <p:cNvSpPr/>
          <p:nvPr/>
        </p:nvSpPr>
        <p:spPr>
          <a:xfrm>
            <a:off x="5048047" y="356736"/>
            <a:ext cx="6096000" cy="923330"/>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81818"/>
                </a:solidFill>
                <a:effectLst/>
                <a:uLnTx/>
                <a:uFillTx/>
                <a:latin typeface="Ericsson Hilda"/>
                <a:ea typeface="+mn-ea"/>
                <a:cs typeface="+mn-cs"/>
              </a:rPr>
              <a:t>To ensure that </a:t>
            </a:r>
            <a:r>
              <a:rPr kumimoji="0" lang="en-US" sz="1800" b="0" i="0" u="none" strike="noStrike" kern="1200" cap="none" spc="0" normalizeH="0" baseline="0" noProof="0" dirty="0">
                <a:ln w="0"/>
                <a:solidFill>
                  <a:srgbClr val="181818"/>
                </a:solidFill>
                <a:effectLst>
                  <a:outerShdw blurRad="38100" dist="19050" dir="2700000" algn="tl" rotWithShape="0">
                    <a:srgbClr val="181818">
                      <a:alpha val="40000"/>
                    </a:srgbClr>
                  </a:outerShdw>
                </a:effectLst>
                <a:uLnTx/>
                <a:uFillTx/>
                <a:latin typeface="Ericsson Hilda"/>
                <a:ea typeface="+mn-ea"/>
                <a:cs typeface="+mn-cs"/>
              </a:rPr>
              <a:t>Add-on Sales or Change requests are processed in a structured, controlled, timely and professional manner within a Change Control board.</a:t>
            </a:r>
            <a:endParaRPr kumimoji="0" lang="en-US" sz="1800" b="0" i="0" u="none" strike="noStrike" kern="1200" cap="none" spc="0" normalizeH="0" baseline="0" noProof="0" dirty="0">
              <a:ln>
                <a:noFill/>
              </a:ln>
              <a:solidFill>
                <a:srgbClr val="181818"/>
              </a:solidFill>
              <a:effectLst/>
              <a:uLnTx/>
              <a:uFillTx/>
              <a:latin typeface="Ericsson Hilda"/>
              <a:ea typeface="+mn-ea"/>
              <a:cs typeface="+mn-cs"/>
            </a:endParaRPr>
          </a:p>
        </p:txBody>
      </p:sp>
      <p:sp>
        <p:nvSpPr>
          <p:cNvPr id="119" name="TextBox 118">
            <a:extLst>
              <a:ext uri="{FF2B5EF4-FFF2-40B4-BE49-F238E27FC236}">
                <a16:creationId xmlns:a16="http://schemas.microsoft.com/office/drawing/2014/main" id="{B5AA8756-7BF4-4D44-9DFB-365F09B6B7D3}"/>
              </a:ext>
            </a:extLst>
          </p:cNvPr>
          <p:cNvSpPr txBox="1"/>
          <p:nvPr/>
        </p:nvSpPr>
        <p:spPr>
          <a:xfrm>
            <a:off x="7967913" y="5047670"/>
            <a:ext cx="1306744" cy="29238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81818"/>
                </a:solidFill>
                <a:effectLst/>
                <a:uLnTx/>
                <a:uFillTx/>
                <a:latin typeface="Ericsson Hilda"/>
                <a:ea typeface="+mn-ea"/>
                <a:cs typeface="+mn-cs"/>
              </a:rPr>
              <a:t>CR Execution</a:t>
            </a:r>
          </a:p>
        </p:txBody>
      </p:sp>
    </p:spTree>
    <p:extLst>
      <p:ext uri="{BB962C8B-B14F-4D97-AF65-F5344CB8AC3E}">
        <p14:creationId xmlns:p14="http://schemas.microsoft.com/office/powerpoint/2010/main" val="3541182326"/>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76AFB6C-33A8-4349-8FA8-C9EC5849B57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22206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12CDD62-88A0-4C4D-89CE-4A24B4D81D5F}"/>
              </a:ext>
            </a:extLst>
          </p:cNvPr>
          <p:cNvGrpSpPr/>
          <p:nvPr/>
        </p:nvGrpSpPr>
        <p:grpSpPr>
          <a:xfrm>
            <a:off x="298634" y="1844675"/>
            <a:ext cx="11413941" cy="4392613"/>
            <a:chOff x="298634" y="1844675"/>
            <a:chExt cx="11413941" cy="4392613"/>
          </a:xfrm>
        </p:grpSpPr>
        <p:sp>
          <p:nvSpPr>
            <p:cNvPr id="15" name="Rectangle 14">
              <a:extLst>
                <a:ext uri="{FF2B5EF4-FFF2-40B4-BE49-F238E27FC236}">
                  <a16:creationId xmlns:a16="http://schemas.microsoft.com/office/drawing/2014/main" id="{D4DA24A7-5E09-40B7-88A8-D5EEB2FD3C52}"/>
                </a:ext>
              </a:extLst>
            </p:cNvPr>
            <p:cNvSpPr/>
            <p:nvPr/>
          </p:nvSpPr>
          <p:spPr>
            <a:xfrm>
              <a:off x="804235" y="2810669"/>
              <a:ext cx="3008571" cy="1046440"/>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BF2D9"/>
                  </a:solidFill>
                  <a:prstDash val="solid"/>
                  <a:round/>
                  <a:headEnd type="none" w="med" len="med"/>
                  <a:tailEnd type="none" w="med" len="med"/>
                </a14:hiddenLine>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81818"/>
                  </a:solidFill>
                  <a:effectLst/>
                  <a:uLnTx/>
                  <a:uFillTx/>
                  <a:latin typeface="Arial" charset="0"/>
                  <a:ea typeface="+mn-ea"/>
                  <a:cs typeface="Arial" charset="0"/>
                </a:rPr>
                <a:t>Clearer Contract </a:t>
              </a:r>
              <a:r>
                <a:rPr kumimoji="0" lang="en-US" sz="1400" b="1" i="0" u="none" strike="noStrike" kern="1200" cap="none" spc="0" normalizeH="0" baseline="0" noProof="0" dirty="0">
                  <a:ln>
                    <a:noFill/>
                  </a:ln>
                  <a:solidFill>
                    <a:srgbClr val="181818"/>
                  </a:solidFill>
                  <a:effectLst/>
                  <a:uLnTx/>
                  <a:uFillTx/>
                  <a:latin typeface="Arial" charset="0"/>
                  <a:ea typeface="+mn-ea"/>
                  <a:cs typeface="Arial" charset="0"/>
                </a:rPr>
                <a:t>Management with customer</a:t>
              </a: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
              </a:r>
              <a:b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b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From initial deal through project delivery to contract closure</a:t>
              </a:r>
              <a:endParaRPr kumimoji="0" lang="en-US" sz="1400" b="0" i="0" u="none" strike="noStrike" kern="1200" cap="none" spc="0" normalizeH="0" baseline="0" noProof="0" dirty="0">
                <a:ln>
                  <a:noFill/>
                </a:ln>
                <a:solidFill>
                  <a:srgbClr val="181818"/>
                </a:solidFill>
                <a:effectLst/>
                <a:uLnTx/>
                <a:uFillTx/>
                <a:latin typeface="Ericsson Hilda"/>
                <a:ea typeface="+mn-ea"/>
                <a:cs typeface="+mn-cs"/>
              </a:endParaRPr>
            </a:p>
          </p:txBody>
        </p:sp>
        <p:sp>
          <p:nvSpPr>
            <p:cNvPr id="16" name="Rectangle 15">
              <a:extLst>
                <a:ext uri="{FF2B5EF4-FFF2-40B4-BE49-F238E27FC236}">
                  <a16:creationId xmlns:a16="http://schemas.microsoft.com/office/drawing/2014/main" id="{C8D685C9-462F-4FBB-BD8B-680DD6CEAD32}"/>
                </a:ext>
              </a:extLst>
            </p:cNvPr>
            <p:cNvSpPr/>
            <p:nvPr/>
          </p:nvSpPr>
          <p:spPr>
            <a:xfrm>
              <a:off x="4697511" y="2810669"/>
              <a:ext cx="3092370" cy="123110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BF2D9"/>
                  </a:solidFill>
                  <a:prstDash val="solid"/>
                  <a:round/>
                  <a:headEnd type="none" w="med" len="med"/>
                  <a:tailEnd type="none" w="med" len="med"/>
                </a14:hiddenLine>
              </a:ext>
            </a:extLst>
          </p:spPr>
          <p:txBody>
            <a:bodyPr wrap="square">
              <a:spAutoFit/>
            </a:bodyPr>
            <a:lstStyle/>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181818"/>
                  </a:solidFill>
                  <a:effectLst/>
                  <a:uLnTx/>
                  <a:uFillTx/>
                  <a:latin typeface="Arial" charset="0"/>
                  <a:ea typeface="+mn-ea"/>
                  <a:cs typeface="Arial" charset="0"/>
                </a:rPr>
                <a:t>Improve Visibility</a:t>
              </a: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
              </a:r>
              <a:b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b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Change Requests enforced for all significant changes</a:t>
              </a:r>
            </a:p>
            <a:p>
              <a:pPr marL="0" lvl="1" algn="ctr" fontAlgn="base">
                <a:spcBef>
                  <a:spcPct val="0"/>
                </a:spcBef>
                <a:spcAft>
                  <a:spcPct val="0"/>
                </a:spcAft>
                <a:defRPr/>
              </a:pPr>
              <a:r>
                <a:rPr lang="en-US" sz="1400" dirty="0">
                  <a:solidFill>
                    <a:srgbClr val="181818"/>
                  </a:solidFill>
                  <a:latin typeface="Arial" charset="0"/>
                  <a:cs typeface="Arial" charset="0"/>
                </a:rPr>
                <a:t>Clearer financial tracking &amp; ensuring </a:t>
              </a:r>
              <a:r>
                <a:rPr lang="en-US" sz="1400" dirty="0"/>
                <a:t>positive contribution to margin</a:t>
              </a:r>
              <a:endParaRPr lang="en-US" sz="1400" dirty="0">
                <a:solidFill>
                  <a:srgbClr val="181818"/>
                </a:solidFill>
                <a:latin typeface="Arial" charset="0"/>
                <a:cs typeface="Arial" charset="0"/>
              </a:endParaRPr>
            </a:p>
          </p:txBody>
        </p:sp>
        <p:sp>
          <p:nvSpPr>
            <p:cNvPr id="18" name="Rectangle 17">
              <a:extLst>
                <a:ext uri="{FF2B5EF4-FFF2-40B4-BE49-F238E27FC236}">
                  <a16:creationId xmlns:a16="http://schemas.microsoft.com/office/drawing/2014/main" id="{6D9AA997-B58B-4FEF-8FB6-68CE4B2F2D2D}"/>
                </a:ext>
              </a:extLst>
            </p:cNvPr>
            <p:cNvSpPr/>
            <p:nvPr/>
          </p:nvSpPr>
          <p:spPr>
            <a:xfrm>
              <a:off x="298634" y="5078204"/>
              <a:ext cx="3771339" cy="1015663"/>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BF2D9"/>
                  </a:solidFill>
                  <a:prstDash val="solid"/>
                  <a:round/>
                  <a:headEnd type="none" w="med" len="med"/>
                  <a:tailEnd type="none" w="med" len="med"/>
                </a14:hiddenLine>
              </a:ext>
            </a:extLst>
          </p:spPr>
          <p:txBody>
            <a:bodyPr wrap="square">
              <a:spAutoFit/>
            </a:bodyPr>
            <a:lstStyle/>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Arial" charset="0"/>
                </a:rPr>
                <a:t>Better </a:t>
              </a:r>
              <a:r>
                <a:rPr kumimoji="0" lang="en-US" sz="1800" b="1" i="0" u="none" strike="noStrike" kern="1200" cap="none" spc="0" normalizeH="0" baseline="0" noProof="0" dirty="0">
                  <a:ln>
                    <a:noFill/>
                  </a:ln>
                  <a:solidFill>
                    <a:srgbClr val="181818"/>
                  </a:solidFill>
                  <a:effectLst/>
                  <a:uLnTx/>
                  <a:uFillTx/>
                  <a:latin typeface="Arial" charset="0"/>
                  <a:ea typeface="+mn-ea"/>
                  <a:cs typeface="Arial" charset="0"/>
                </a:rPr>
                <a:t>Configuration Management</a:t>
              </a:r>
              <a:r>
                <a:rPr kumimoji="0" lang="en-US" sz="1400" b="1" i="0" u="none" strike="noStrike" kern="1200" cap="none" spc="0" normalizeH="0" baseline="0" noProof="0" dirty="0">
                  <a:ln>
                    <a:noFill/>
                  </a:ln>
                  <a:solidFill>
                    <a:srgbClr val="181818"/>
                  </a:solidFill>
                  <a:effectLst/>
                  <a:uLnTx/>
                  <a:uFillTx/>
                  <a:latin typeface="Arial" charset="0"/>
                  <a:ea typeface="+mn-ea"/>
                  <a:cs typeface="Arial" charset="0"/>
                </a:rPr>
                <a:t/>
              </a:r>
              <a:br>
                <a:rPr kumimoji="0" lang="en-US" sz="1400" b="1" i="0" u="none" strike="noStrike" kern="1200" cap="none" spc="0" normalizeH="0" baseline="0" noProof="0" dirty="0">
                  <a:ln>
                    <a:noFill/>
                  </a:ln>
                  <a:solidFill>
                    <a:srgbClr val="181818"/>
                  </a:solidFill>
                  <a:effectLst/>
                  <a:uLnTx/>
                  <a:uFillTx/>
                  <a:latin typeface="Arial" charset="0"/>
                  <a:ea typeface="+mn-ea"/>
                  <a:cs typeface="Arial" charset="0"/>
                </a:rPr>
              </a:b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All changes identified &amp; tracked</a:t>
              </a:r>
            </a:p>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One tool for tracking changes (Global Chronos)</a:t>
              </a:r>
            </a:p>
          </p:txBody>
        </p:sp>
        <p:sp>
          <p:nvSpPr>
            <p:cNvPr id="22" name="Rectangle 21">
              <a:extLst>
                <a:ext uri="{FF2B5EF4-FFF2-40B4-BE49-F238E27FC236}">
                  <a16:creationId xmlns:a16="http://schemas.microsoft.com/office/drawing/2014/main" id="{5DB4BD46-517C-427F-9A55-623A44910D03}"/>
                </a:ext>
              </a:extLst>
            </p:cNvPr>
            <p:cNvSpPr/>
            <p:nvPr/>
          </p:nvSpPr>
          <p:spPr>
            <a:xfrm>
              <a:off x="8217275" y="2810669"/>
              <a:ext cx="3376335" cy="123110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BF2D9"/>
                  </a:solidFill>
                  <a:prstDash val="solid"/>
                  <a:round/>
                  <a:headEnd type="none" w="med" len="med"/>
                  <a:tailEnd type="none" w="med" len="med"/>
                </a14:hiddenLine>
              </a:ext>
            </a:extLst>
          </p:spPr>
          <p:txBody>
            <a:bodyPr wrap="square">
              <a:spAutoFit/>
            </a:bodyPr>
            <a:lstStyle/>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181818"/>
                  </a:solidFill>
                  <a:effectLst/>
                  <a:uLnTx/>
                  <a:uFillTx/>
                  <a:latin typeface="Arial" charset="0"/>
                  <a:ea typeface="+mn-ea"/>
                  <a:cs typeface="Arial" charset="0"/>
                </a:rPr>
                <a:t>Increased Governance</a:t>
              </a: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
              </a:r>
              <a:b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b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Change Control Board (CCB) mandatory for all projects</a:t>
              </a:r>
            </a:p>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81818"/>
                  </a:solidFill>
                  <a:effectLst/>
                  <a:uLnTx/>
                  <a:uFillTx/>
                  <a:latin typeface="Arial" charset="0"/>
                  <a:ea typeface="+mn-ea"/>
                  <a:cs typeface="Arial" charset="0"/>
                </a:rPr>
                <a:t>No changes without advance formal approval</a:t>
              </a:r>
            </a:p>
          </p:txBody>
        </p:sp>
        <p:sp>
          <p:nvSpPr>
            <p:cNvPr id="23" name="Rectangle 22">
              <a:extLst>
                <a:ext uri="{FF2B5EF4-FFF2-40B4-BE49-F238E27FC236}">
                  <a16:creationId xmlns:a16="http://schemas.microsoft.com/office/drawing/2014/main" id="{D8BF077D-7512-4417-AD7D-BD8673708152}"/>
                </a:ext>
              </a:extLst>
            </p:cNvPr>
            <p:cNvSpPr/>
            <p:nvPr/>
          </p:nvSpPr>
          <p:spPr>
            <a:xfrm>
              <a:off x="8492512" y="5078204"/>
              <a:ext cx="2825861" cy="830997"/>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BF2D9"/>
                  </a:solidFill>
                  <a:prstDash val="solid"/>
                  <a:round/>
                  <a:headEnd type="none" w="med" len="med"/>
                  <a:tailEnd type="none" w="med" len="med"/>
                </a14:hiddenLine>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181818"/>
                  </a:solidFill>
                  <a:effectLst/>
                  <a:uLnTx/>
                  <a:uFillTx/>
                  <a:latin typeface="Ericsson Hilda"/>
                  <a:ea typeface="+mn-ea"/>
                  <a:cs typeface="+mn-cs"/>
                </a:rPr>
                <a:t>Encourage AoS creation</a:t>
              </a:r>
              <a:r>
                <a:rPr kumimoji="0" lang="en-GB" sz="2000" b="0" i="0" u="none" strike="noStrike" kern="1200" cap="none" spc="0" normalizeH="0" baseline="0" noProof="0" dirty="0">
                  <a:ln>
                    <a:noFill/>
                  </a:ln>
                  <a:solidFill>
                    <a:srgbClr val="181818"/>
                  </a:solidFill>
                  <a:effectLst/>
                  <a:uLnTx/>
                  <a:uFillTx/>
                  <a:latin typeface="Ericsson Hilda"/>
                  <a:ea typeface="+mn-ea"/>
                  <a:cs typeface="+mn-cs"/>
                </a:rPr>
                <a:t/>
              </a:r>
              <a:br>
                <a:rPr kumimoji="0" lang="en-GB" sz="2000" b="0" i="0" u="none" strike="noStrike" kern="1200" cap="none" spc="0" normalizeH="0" baseline="0" noProof="0" dirty="0">
                  <a:ln>
                    <a:noFill/>
                  </a:ln>
                  <a:solidFill>
                    <a:srgbClr val="181818"/>
                  </a:solidFill>
                  <a:effectLst/>
                  <a:uLnTx/>
                  <a:uFillTx/>
                  <a:latin typeface="Ericsson Hilda"/>
                  <a:ea typeface="+mn-ea"/>
                  <a:cs typeface="+mn-cs"/>
                </a:rPr>
              </a:br>
              <a:r>
                <a:rPr kumimoji="0" lang="en-GB" sz="1400" b="0" i="0" u="none" strike="noStrike" kern="1200" cap="none" spc="0" normalizeH="0" baseline="0" noProof="0" dirty="0">
                  <a:ln>
                    <a:noFill/>
                  </a:ln>
                  <a:solidFill>
                    <a:srgbClr val="181818"/>
                  </a:solidFill>
                  <a:effectLst/>
                  <a:uLnTx/>
                  <a:uFillTx/>
                  <a:latin typeface="Ericsson Hilda"/>
                  <a:ea typeface="+mn-ea"/>
                  <a:cs typeface="+mn-cs"/>
                </a:rPr>
                <a:t>SDOD to capture all AoS &amp; Sales Ideas from all delivery resources</a:t>
              </a:r>
            </a:p>
          </p:txBody>
        </p:sp>
        <p:grpSp>
          <p:nvGrpSpPr>
            <p:cNvPr id="27" name="Group 26">
              <a:extLst>
                <a:ext uri="{FF2B5EF4-FFF2-40B4-BE49-F238E27FC236}">
                  <a16:creationId xmlns:a16="http://schemas.microsoft.com/office/drawing/2014/main" id="{9EE4F339-300F-45E2-A430-A2D4EB288839}"/>
                </a:ext>
              </a:extLst>
            </p:cNvPr>
            <p:cNvGrpSpPr/>
            <p:nvPr/>
          </p:nvGrpSpPr>
          <p:grpSpPr>
            <a:xfrm>
              <a:off x="509405" y="1844675"/>
              <a:ext cx="11203170" cy="4392613"/>
              <a:chOff x="509405" y="1844675"/>
              <a:chExt cx="11203170" cy="4392613"/>
            </a:xfrm>
          </p:grpSpPr>
          <p:cxnSp>
            <p:nvCxnSpPr>
              <p:cNvPr id="28" name="Straight Connector 27">
                <a:extLst>
                  <a:ext uri="{FF2B5EF4-FFF2-40B4-BE49-F238E27FC236}">
                    <a16:creationId xmlns:a16="http://schemas.microsoft.com/office/drawing/2014/main" id="{CF6C22F0-B654-4AEE-AA7E-F0F11370CDE6}"/>
                  </a:ext>
                </a:extLst>
              </p:cNvPr>
              <p:cNvCxnSpPr>
                <a:cxnSpLocks/>
              </p:cNvCxnSpPr>
              <p:nvPr/>
            </p:nvCxnSpPr>
            <p:spPr bwMode="auto">
              <a:xfrm>
                <a:off x="4151105" y="1844675"/>
                <a:ext cx="0" cy="4392613"/>
              </a:xfrm>
              <a:prstGeom prst="line">
                <a:avLst/>
              </a:prstGeom>
              <a:solidFill>
                <a:schemeClr val="accent1"/>
              </a:solidFill>
              <a:ln w="6350" cap="flat" cmpd="sng" algn="ctr">
                <a:solidFill>
                  <a:schemeClr val="tx1"/>
                </a:solidFill>
                <a:prstDash val="solid"/>
                <a:round/>
                <a:headEnd type="none" w="med" len="med"/>
                <a:tailEnd type="none"/>
              </a:ln>
              <a:effectLst/>
            </p:spPr>
          </p:cxnSp>
          <p:cxnSp>
            <p:nvCxnSpPr>
              <p:cNvPr id="36" name="Straight Connector 35">
                <a:extLst>
                  <a:ext uri="{FF2B5EF4-FFF2-40B4-BE49-F238E27FC236}">
                    <a16:creationId xmlns:a16="http://schemas.microsoft.com/office/drawing/2014/main" id="{FA6A515A-D2F2-4140-AA2F-E224B32E1A64}"/>
                  </a:ext>
                </a:extLst>
              </p:cNvPr>
              <p:cNvCxnSpPr>
                <a:cxnSpLocks/>
              </p:cNvCxnSpPr>
              <p:nvPr/>
            </p:nvCxnSpPr>
            <p:spPr bwMode="auto">
              <a:xfrm>
                <a:off x="8003577" y="1844675"/>
                <a:ext cx="0" cy="4392613"/>
              </a:xfrm>
              <a:prstGeom prst="line">
                <a:avLst/>
              </a:prstGeom>
              <a:solidFill>
                <a:schemeClr val="accent1"/>
              </a:solidFill>
              <a:ln w="6350" cap="flat" cmpd="sng" algn="ctr">
                <a:solidFill>
                  <a:schemeClr val="tx1"/>
                </a:solidFill>
                <a:prstDash val="solid"/>
                <a:round/>
                <a:headEnd type="none" w="med" len="med"/>
                <a:tailEnd type="none"/>
              </a:ln>
              <a:effectLst/>
            </p:spPr>
          </p:cxnSp>
          <p:cxnSp>
            <p:nvCxnSpPr>
              <p:cNvPr id="37" name="Straight Connector 36">
                <a:extLst>
                  <a:ext uri="{FF2B5EF4-FFF2-40B4-BE49-F238E27FC236}">
                    <a16:creationId xmlns:a16="http://schemas.microsoft.com/office/drawing/2014/main" id="{3BB64BE4-0C61-4828-9C44-8217B23DA427}"/>
                  </a:ext>
                </a:extLst>
              </p:cNvPr>
              <p:cNvCxnSpPr>
                <a:cxnSpLocks/>
              </p:cNvCxnSpPr>
              <p:nvPr/>
            </p:nvCxnSpPr>
            <p:spPr bwMode="auto">
              <a:xfrm flipH="1">
                <a:off x="509405" y="4040982"/>
                <a:ext cx="11203170" cy="1"/>
              </a:xfrm>
              <a:prstGeom prst="line">
                <a:avLst/>
              </a:prstGeom>
              <a:solidFill>
                <a:schemeClr val="accent1"/>
              </a:solidFill>
              <a:ln w="6350" cap="flat" cmpd="sng" algn="ctr">
                <a:solidFill>
                  <a:schemeClr val="tx1"/>
                </a:solidFill>
                <a:prstDash val="solid"/>
                <a:round/>
                <a:headEnd type="none" w="med" len="med"/>
                <a:tailEnd type="none"/>
              </a:ln>
              <a:effectLst/>
            </p:spPr>
          </p:cxnSp>
        </p:grpSp>
        <p:pic>
          <p:nvPicPr>
            <p:cNvPr id="45" name="Graphic 44">
              <a:extLst>
                <a:ext uri="{FF2B5EF4-FFF2-40B4-BE49-F238E27FC236}">
                  <a16:creationId xmlns:a16="http://schemas.microsoft.com/office/drawing/2014/main" id="{7A7FE5C6-1AF4-4299-A82C-8E8ED0382DE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768091" y="2116869"/>
              <a:ext cx="685800" cy="628650"/>
            </a:xfrm>
            <a:prstGeom prst="rect">
              <a:avLst/>
            </a:prstGeom>
          </p:spPr>
        </p:pic>
        <p:pic>
          <p:nvPicPr>
            <p:cNvPr id="46" name="Graphic 45">
              <a:extLst>
                <a:ext uri="{FF2B5EF4-FFF2-40B4-BE49-F238E27FC236}">
                  <a16:creationId xmlns:a16="http://schemas.microsoft.com/office/drawing/2014/main" id="{CAE747C1-EFFF-41D6-AD7F-DF871522241D}"/>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2053390" y="2154892"/>
              <a:ext cx="561975" cy="571500"/>
            </a:xfrm>
            <a:prstGeom prst="rect">
              <a:avLst/>
            </a:prstGeom>
          </p:spPr>
        </p:pic>
        <p:pic>
          <p:nvPicPr>
            <p:cNvPr id="47" name="Graphic 46">
              <a:extLst>
                <a:ext uri="{FF2B5EF4-FFF2-40B4-BE49-F238E27FC236}">
                  <a16:creationId xmlns:a16="http://schemas.microsoft.com/office/drawing/2014/main" id="{FF0C88CB-C639-4439-85DF-64181C0AB8A5}"/>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600642" y="2288242"/>
              <a:ext cx="609600" cy="438150"/>
            </a:xfrm>
            <a:prstGeom prst="rect">
              <a:avLst/>
            </a:prstGeom>
          </p:spPr>
        </p:pic>
        <p:pic>
          <p:nvPicPr>
            <p:cNvPr id="48" name="Graphic 47">
              <a:extLst>
                <a:ext uri="{FF2B5EF4-FFF2-40B4-BE49-F238E27FC236}">
                  <a16:creationId xmlns:a16="http://schemas.microsoft.com/office/drawing/2014/main" id="{9DA88156-7161-46E7-9D30-8DDF5A69D27D}"/>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994195" y="4457217"/>
              <a:ext cx="628650" cy="561975"/>
            </a:xfrm>
            <a:prstGeom prst="rect">
              <a:avLst/>
            </a:prstGeom>
          </p:spPr>
        </p:pic>
        <p:pic>
          <p:nvPicPr>
            <p:cNvPr id="49" name="Graphic 48">
              <a:extLst>
                <a:ext uri="{FF2B5EF4-FFF2-40B4-BE49-F238E27FC236}">
                  <a16:creationId xmlns:a16="http://schemas.microsoft.com/office/drawing/2014/main" id="{24A95B7E-BC32-43D6-A5BC-635068E481CC}"/>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9644838" y="4508204"/>
              <a:ext cx="521208" cy="510988"/>
            </a:xfrm>
            <a:prstGeom prst="rect">
              <a:avLst/>
            </a:prstGeom>
          </p:spPr>
        </p:pic>
      </p:grpSp>
      <p:sp>
        <p:nvSpPr>
          <p:cNvPr id="2" name="Title 1">
            <a:extLst>
              <a:ext uri="{FF2B5EF4-FFF2-40B4-BE49-F238E27FC236}">
                <a16:creationId xmlns:a16="http://schemas.microsoft.com/office/drawing/2014/main" id="{B49BF539-6035-41C0-A85C-359ACA249131}"/>
              </a:ext>
            </a:extLst>
          </p:cNvPr>
          <p:cNvSpPr>
            <a:spLocks noGrp="1"/>
          </p:cNvSpPr>
          <p:nvPr>
            <p:ph type="title"/>
          </p:nvPr>
        </p:nvSpPr>
        <p:spPr/>
        <p:txBody>
          <a:bodyPr/>
          <a:lstStyle/>
          <a:p>
            <a:r>
              <a:rPr lang="pt-BR" dirty="0"/>
              <a:t>Purpose of Change Management </a:t>
            </a:r>
            <a:br>
              <a:rPr lang="pt-BR" dirty="0"/>
            </a:br>
            <a:r>
              <a:rPr lang="pt-BR" dirty="0"/>
              <a:t>Networks &amp; DGS </a:t>
            </a:r>
            <a:endParaRPr lang="en-US" dirty="0"/>
          </a:p>
        </p:txBody>
      </p:sp>
      <p:sp>
        <p:nvSpPr>
          <p:cNvPr id="19" name="Rectangle 18">
            <a:extLst>
              <a:ext uri="{FF2B5EF4-FFF2-40B4-BE49-F238E27FC236}">
                <a16:creationId xmlns:a16="http://schemas.microsoft.com/office/drawing/2014/main" id="{AA2141E8-6173-4133-A781-74F4740F0B5E}"/>
              </a:ext>
            </a:extLst>
          </p:cNvPr>
          <p:cNvSpPr/>
          <p:nvPr/>
        </p:nvSpPr>
        <p:spPr>
          <a:xfrm>
            <a:off x="4188424" y="4106925"/>
            <a:ext cx="3771339" cy="215443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BF2D9"/>
                </a:solidFill>
                <a:prstDash val="solid"/>
                <a:round/>
                <a:headEnd type="none" w="med" len="med"/>
                <a:tailEnd type="none" w="med" len="med"/>
              </a14:hiddenLine>
            </a:ext>
          </a:extLst>
        </p:spPr>
        <p:txBody>
          <a:bodyPr wrap="square">
            <a:spAutoFit/>
          </a:bodyPr>
          <a:lstStyle/>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Arial" charset="0"/>
              </a:rPr>
              <a:t>Better </a:t>
            </a:r>
          </a:p>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B0F0"/>
                </a:solidFill>
                <a:effectLst/>
                <a:uLnTx/>
                <a:uFillTx/>
                <a:latin typeface="Arial" charset="0"/>
                <a:ea typeface="+mn-ea"/>
                <a:cs typeface="Arial" charset="0"/>
              </a:rPr>
              <a:t>Service Delivery Opportunity Database</a:t>
            </a:r>
          </a:p>
          <a:p>
            <a:pPr marL="0" marR="0" lvl="1"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92D050"/>
              </a:solidFill>
              <a:effectLst/>
              <a:uLnTx/>
              <a:uFillTx/>
              <a:latin typeface="Arial" charset="0"/>
              <a:ea typeface="+mn-ea"/>
              <a:cs typeface="Arial" charset="0"/>
            </a:endParaRPr>
          </a:p>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92D050"/>
                </a:solidFill>
                <a:effectLst/>
                <a:uLnTx/>
                <a:uFillTx/>
                <a:latin typeface="Arial" charset="0"/>
                <a:ea typeface="+mn-ea"/>
                <a:cs typeface="Arial" charset="0"/>
              </a:rPr>
              <a:t>Global Chronos</a:t>
            </a:r>
          </a:p>
          <a:p>
            <a:pPr marL="0" marR="0" lvl="1"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92D050"/>
              </a:solidFill>
              <a:effectLst/>
              <a:uLnTx/>
              <a:uFillTx/>
              <a:latin typeface="Arial" charset="0"/>
              <a:ea typeface="+mn-ea"/>
              <a:cs typeface="Arial" charset="0"/>
            </a:endParaRPr>
          </a:p>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8C0A"/>
                </a:solidFill>
                <a:effectLst/>
                <a:uLnTx/>
                <a:uFillTx/>
                <a:latin typeface="Arial" charset="0"/>
                <a:ea typeface="+mn-ea"/>
                <a:cs typeface="Arial" charset="0"/>
              </a:rPr>
              <a:t>Change Control Board</a:t>
            </a:r>
          </a:p>
        </p:txBody>
      </p:sp>
    </p:spTree>
    <p:extLst>
      <p:ext uri="{BB962C8B-B14F-4D97-AF65-F5344CB8AC3E}">
        <p14:creationId xmlns:p14="http://schemas.microsoft.com/office/powerpoint/2010/main" val="3971319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EC1F47-E604-42E1-BABE-0F523AB72B1E}"/>
              </a:ext>
            </a:extLst>
          </p:cNvPr>
          <p:cNvSpPr>
            <a:spLocks noGrp="1"/>
          </p:cNvSpPr>
          <p:nvPr>
            <p:ph type="title"/>
          </p:nvPr>
        </p:nvSpPr>
        <p:spPr>
          <a:xfrm>
            <a:off x="1338960" y="1934523"/>
            <a:ext cx="8353425" cy="2975227"/>
          </a:xfrm>
        </p:spPr>
        <p:txBody>
          <a:bodyPr/>
          <a:lstStyle/>
          <a:p>
            <a:r>
              <a:rPr lang="en-US" sz="7200" dirty="0"/>
              <a:t>The </a:t>
            </a:r>
            <a:r>
              <a:rPr lang="en-US" sz="7200" dirty="0">
                <a:solidFill>
                  <a:srgbClr val="00B0F0"/>
                </a:solidFill>
              </a:rPr>
              <a:t>SDOD3.0 </a:t>
            </a:r>
            <a:r>
              <a:rPr lang="en-US" sz="7200" dirty="0">
                <a:latin typeface="Hilda Light" panose="00000400000000000000" pitchFamily="2" charset="0"/>
                <a:cs typeface="Segoe UI Semilight" panose="020B0402040204020203" pitchFamily="34" charset="0"/>
              </a:rPr>
              <a:t>guide</a:t>
            </a:r>
            <a:endParaRPr lang="en-US" sz="7200" dirty="0"/>
          </a:p>
        </p:txBody>
      </p:sp>
      <p:grpSp>
        <p:nvGrpSpPr>
          <p:cNvPr id="3" name="Group 2">
            <a:extLst>
              <a:ext uri="{FF2B5EF4-FFF2-40B4-BE49-F238E27FC236}">
                <a16:creationId xmlns:a16="http://schemas.microsoft.com/office/drawing/2014/main" id="{5811CF35-444A-4DB7-9526-9860ADBA830D}"/>
              </a:ext>
            </a:extLst>
          </p:cNvPr>
          <p:cNvGrpSpPr/>
          <p:nvPr/>
        </p:nvGrpSpPr>
        <p:grpSpPr>
          <a:xfrm>
            <a:off x="7801242" y="2925006"/>
            <a:ext cx="3782286" cy="3362555"/>
            <a:chOff x="221213" y="2653915"/>
            <a:chExt cx="3782286" cy="3336157"/>
          </a:xfrm>
        </p:grpSpPr>
        <p:sp>
          <p:nvSpPr>
            <p:cNvPr id="5" name="Oval 4">
              <a:extLst>
                <a:ext uri="{FF2B5EF4-FFF2-40B4-BE49-F238E27FC236}">
                  <a16:creationId xmlns:a16="http://schemas.microsoft.com/office/drawing/2014/main" id="{C370025C-C332-4FD2-8D36-F820E2D02E4D}"/>
                </a:ext>
              </a:extLst>
            </p:cNvPr>
            <p:cNvSpPr/>
            <p:nvPr/>
          </p:nvSpPr>
          <p:spPr bwMode="auto">
            <a:xfrm>
              <a:off x="2146831" y="4125098"/>
              <a:ext cx="274320" cy="274320"/>
            </a:xfrm>
            <a:prstGeom prst="ellips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6" name="Straight Connector 5">
              <a:extLst>
                <a:ext uri="{FF2B5EF4-FFF2-40B4-BE49-F238E27FC236}">
                  <a16:creationId xmlns:a16="http://schemas.microsoft.com/office/drawing/2014/main" id="{310668EF-912C-4555-A6AE-86A57996D2B1}"/>
                </a:ext>
              </a:extLst>
            </p:cNvPr>
            <p:cNvCxnSpPr/>
            <p:nvPr/>
          </p:nvCxnSpPr>
          <p:spPr bwMode="auto">
            <a:xfrm flipV="1">
              <a:off x="1927757" y="4381794"/>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7" name="Straight Connector 6">
              <a:extLst>
                <a:ext uri="{FF2B5EF4-FFF2-40B4-BE49-F238E27FC236}">
                  <a16:creationId xmlns:a16="http://schemas.microsoft.com/office/drawing/2014/main" id="{1F5DC6F4-E77F-4348-97AA-DE0C3011A94C}"/>
                </a:ext>
              </a:extLst>
            </p:cNvPr>
            <p:cNvCxnSpPr/>
            <p:nvPr/>
          </p:nvCxnSpPr>
          <p:spPr bwMode="auto">
            <a:xfrm flipV="1">
              <a:off x="2489731" y="4065277"/>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8" name="Straight Connector 7">
              <a:extLst>
                <a:ext uri="{FF2B5EF4-FFF2-40B4-BE49-F238E27FC236}">
                  <a16:creationId xmlns:a16="http://schemas.microsoft.com/office/drawing/2014/main" id="{00B6DA56-E6DE-47D8-B6A5-6BAB0049B0B8}"/>
                </a:ext>
              </a:extLst>
            </p:cNvPr>
            <p:cNvCxnSpPr/>
            <p:nvPr/>
          </p:nvCxnSpPr>
          <p:spPr bwMode="auto">
            <a:xfrm flipV="1">
              <a:off x="2283991" y="4484714"/>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9" name="Straight Connector 8">
              <a:extLst>
                <a:ext uri="{FF2B5EF4-FFF2-40B4-BE49-F238E27FC236}">
                  <a16:creationId xmlns:a16="http://schemas.microsoft.com/office/drawing/2014/main" id="{3F235B4C-9171-4276-BE19-CCBB53C2BC0A}"/>
                </a:ext>
              </a:extLst>
            </p:cNvPr>
            <p:cNvCxnSpPr/>
            <p:nvPr/>
          </p:nvCxnSpPr>
          <p:spPr bwMode="auto">
            <a:xfrm flipV="1">
              <a:off x="2283991" y="3875210"/>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10" name="Straight Connector 9">
              <a:extLst>
                <a:ext uri="{FF2B5EF4-FFF2-40B4-BE49-F238E27FC236}">
                  <a16:creationId xmlns:a16="http://schemas.microsoft.com/office/drawing/2014/main" id="{279FC32A-AD8A-4B76-B9BE-BE16DFCFAB1D}"/>
                </a:ext>
              </a:extLst>
            </p:cNvPr>
            <p:cNvCxnSpPr/>
            <p:nvPr/>
          </p:nvCxnSpPr>
          <p:spPr bwMode="auto">
            <a:xfrm>
              <a:off x="1927757" y="4063189"/>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11" name="Straight Connector 10">
              <a:extLst>
                <a:ext uri="{FF2B5EF4-FFF2-40B4-BE49-F238E27FC236}">
                  <a16:creationId xmlns:a16="http://schemas.microsoft.com/office/drawing/2014/main" id="{B8F555E1-8BA8-49A2-9699-34D4B7E27CF2}"/>
                </a:ext>
              </a:extLst>
            </p:cNvPr>
            <p:cNvCxnSpPr/>
            <p:nvPr/>
          </p:nvCxnSpPr>
          <p:spPr bwMode="auto">
            <a:xfrm>
              <a:off x="2489731" y="4379706"/>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sp>
          <p:nvSpPr>
            <p:cNvPr id="12" name="Oval 11">
              <a:extLst>
                <a:ext uri="{FF2B5EF4-FFF2-40B4-BE49-F238E27FC236}">
                  <a16:creationId xmlns:a16="http://schemas.microsoft.com/office/drawing/2014/main" id="{96E60B1D-46DB-486E-92B1-6959DBFC517D}"/>
                </a:ext>
              </a:extLst>
            </p:cNvPr>
            <p:cNvSpPr>
              <a:spLocks noChangeAspect="1"/>
            </p:cNvSpPr>
            <p:nvPr/>
          </p:nvSpPr>
          <p:spPr bwMode="auto">
            <a:xfrm>
              <a:off x="1164434" y="3488923"/>
              <a:ext cx="731520" cy="731520"/>
            </a:xfrm>
            <a:prstGeom prst="ellipse">
              <a:avLst/>
            </a:prstGeom>
            <a:solidFill>
              <a:srgbClr val="92D05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 name="Oval 12">
              <a:extLst>
                <a:ext uri="{FF2B5EF4-FFF2-40B4-BE49-F238E27FC236}">
                  <a16:creationId xmlns:a16="http://schemas.microsoft.com/office/drawing/2014/main" id="{8E8D1C3D-F823-4E25-A3C8-DA74E4AAF348}"/>
                </a:ext>
              </a:extLst>
            </p:cNvPr>
            <p:cNvSpPr>
              <a:spLocks noChangeAspect="1"/>
            </p:cNvSpPr>
            <p:nvPr/>
          </p:nvSpPr>
          <p:spPr bwMode="auto">
            <a:xfrm>
              <a:off x="1918231" y="3058393"/>
              <a:ext cx="731520" cy="731520"/>
            </a:xfrm>
            <a:prstGeom prst="ellipse">
              <a:avLst/>
            </a:prstGeom>
            <a:solidFill>
              <a:srgbClr val="00B0F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4" name="Oval 13">
              <a:extLst>
                <a:ext uri="{FF2B5EF4-FFF2-40B4-BE49-F238E27FC236}">
                  <a16:creationId xmlns:a16="http://schemas.microsoft.com/office/drawing/2014/main" id="{C2797CC3-9253-432C-B994-9AC1DC0991E6}"/>
                </a:ext>
              </a:extLst>
            </p:cNvPr>
            <p:cNvSpPr>
              <a:spLocks noChangeAspect="1"/>
            </p:cNvSpPr>
            <p:nvPr/>
          </p:nvSpPr>
          <p:spPr bwMode="auto">
            <a:xfrm>
              <a:off x="1164434" y="4298834"/>
              <a:ext cx="731520" cy="731520"/>
            </a:xfrm>
            <a:prstGeom prst="ellipse">
              <a:avLst/>
            </a:prstGeom>
            <a:solidFill>
              <a:srgbClr val="00A9D4"/>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5" name="Oval 14">
              <a:extLst>
                <a:ext uri="{FF2B5EF4-FFF2-40B4-BE49-F238E27FC236}">
                  <a16:creationId xmlns:a16="http://schemas.microsoft.com/office/drawing/2014/main" id="{9EAF06AB-FB7E-4C1F-BB8A-144D11550C69}"/>
                </a:ext>
              </a:extLst>
            </p:cNvPr>
            <p:cNvSpPr>
              <a:spLocks noChangeAspect="1"/>
            </p:cNvSpPr>
            <p:nvPr/>
          </p:nvSpPr>
          <p:spPr bwMode="auto">
            <a:xfrm>
              <a:off x="2669385" y="3488923"/>
              <a:ext cx="731520" cy="731520"/>
            </a:xfrm>
            <a:prstGeom prst="ellipse">
              <a:avLst/>
            </a:prstGeom>
            <a:solidFill>
              <a:srgbClr val="00A9D4"/>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6" name="Oval 15">
              <a:extLst>
                <a:ext uri="{FF2B5EF4-FFF2-40B4-BE49-F238E27FC236}">
                  <a16:creationId xmlns:a16="http://schemas.microsoft.com/office/drawing/2014/main" id="{E5AF9C79-6D1F-4055-81CD-40CAA4FE6D0A}"/>
                </a:ext>
              </a:extLst>
            </p:cNvPr>
            <p:cNvSpPr>
              <a:spLocks noChangeAspect="1"/>
            </p:cNvSpPr>
            <p:nvPr/>
          </p:nvSpPr>
          <p:spPr bwMode="auto">
            <a:xfrm>
              <a:off x="2669385" y="4298834"/>
              <a:ext cx="731520" cy="731520"/>
            </a:xfrm>
            <a:prstGeom prst="ellipse">
              <a:avLst/>
            </a:prstGeom>
            <a:solidFill>
              <a:srgbClr val="00A9D4"/>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7" name="Oval 16">
              <a:extLst>
                <a:ext uri="{FF2B5EF4-FFF2-40B4-BE49-F238E27FC236}">
                  <a16:creationId xmlns:a16="http://schemas.microsoft.com/office/drawing/2014/main" id="{AAA5207A-7903-4C53-9D9A-E4D1D7287598}"/>
                </a:ext>
              </a:extLst>
            </p:cNvPr>
            <p:cNvSpPr>
              <a:spLocks noChangeAspect="1"/>
            </p:cNvSpPr>
            <p:nvPr/>
          </p:nvSpPr>
          <p:spPr bwMode="auto">
            <a:xfrm>
              <a:off x="1920612" y="4734603"/>
              <a:ext cx="731520" cy="731520"/>
            </a:xfrm>
            <a:prstGeom prst="ellipse">
              <a:avLst/>
            </a:prstGeom>
            <a:solidFill>
              <a:srgbClr val="00B0F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 name="Freeform 3">
              <a:extLst>
                <a:ext uri="{FF2B5EF4-FFF2-40B4-BE49-F238E27FC236}">
                  <a16:creationId xmlns:a16="http://schemas.microsoft.com/office/drawing/2014/main" id="{82283B6B-E3AD-4DE4-9588-0E6A4519513E}"/>
                </a:ext>
              </a:extLst>
            </p:cNvPr>
            <p:cNvSpPr>
              <a:spLocks noChangeAspect="1" noEditPoints="1"/>
            </p:cNvSpPr>
            <p:nvPr/>
          </p:nvSpPr>
          <p:spPr bwMode="auto">
            <a:xfrm>
              <a:off x="2793578" y="3671803"/>
              <a:ext cx="483134" cy="365760"/>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3">
              <a:extLst>
                <a:ext uri="{FF2B5EF4-FFF2-40B4-BE49-F238E27FC236}">
                  <a16:creationId xmlns:a16="http://schemas.microsoft.com/office/drawing/2014/main" id="{BED47A09-8860-48AF-B7E1-19859B5175E9}"/>
                </a:ext>
              </a:extLst>
            </p:cNvPr>
            <p:cNvSpPr>
              <a:spLocks noChangeAspect="1" noEditPoints="1"/>
            </p:cNvSpPr>
            <p:nvPr/>
          </p:nvSpPr>
          <p:spPr bwMode="auto">
            <a:xfrm>
              <a:off x="2050368" y="3119353"/>
              <a:ext cx="467247" cy="548640"/>
            </a:xfrm>
            <a:custGeom>
              <a:avLst/>
              <a:gdLst>
                <a:gd name="T0" fmla="*/ 2147483647 w 384"/>
                <a:gd name="T1" fmla="*/ 2147483647 h 451"/>
                <a:gd name="T2" fmla="*/ 2147483647 w 384"/>
                <a:gd name="T3" fmla="*/ 2147483647 h 451"/>
                <a:gd name="T4" fmla="*/ 2147483647 w 384"/>
                <a:gd name="T5" fmla="*/ 2147483647 h 451"/>
                <a:gd name="T6" fmla="*/ 2147483647 w 384"/>
                <a:gd name="T7" fmla="*/ 2147483647 h 451"/>
                <a:gd name="T8" fmla="*/ 2147483647 w 384"/>
                <a:gd name="T9" fmla="*/ 2147483647 h 451"/>
                <a:gd name="T10" fmla="*/ 2147483647 w 384"/>
                <a:gd name="T11" fmla="*/ 2147483647 h 451"/>
                <a:gd name="T12" fmla="*/ 2147483647 w 384"/>
                <a:gd name="T13" fmla="*/ 2147483647 h 451"/>
                <a:gd name="T14" fmla="*/ 2147483647 w 384"/>
                <a:gd name="T15" fmla="*/ 2147483647 h 451"/>
                <a:gd name="T16" fmla="*/ 2147483647 w 384"/>
                <a:gd name="T17" fmla="*/ 2147483647 h 451"/>
                <a:gd name="T18" fmla="*/ 2147483647 w 384"/>
                <a:gd name="T19" fmla="*/ 2147483647 h 451"/>
                <a:gd name="T20" fmla="*/ 2147483647 w 384"/>
                <a:gd name="T21" fmla="*/ 2147483647 h 451"/>
                <a:gd name="T22" fmla="*/ 0 w 384"/>
                <a:gd name="T23" fmla="*/ 2147483647 h 451"/>
                <a:gd name="T24" fmla="*/ 0 w 384"/>
                <a:gd name="T25" fmla="*/ 2147483647 h 451"/>
                <a:gd name="T26" fmla="*/ 2147483647 w 384"/>
                <a:gd name="T27" fmla="*/ 2147483647 h 451"/>
                <a:gd name="T28" fmla="*/ 2147483647 w 384"/>
                <a:gd name="T29" fmla="*/ 2147483647 h 451"/>
                <a:gd name="T30" fmla="*/ 2147483647 w 384"/>
                <a:gd name="T31" fmla="*/ 2147483647 h 451"/>
                <a:gd name="T32" fmla="*/ 2147483647 w 384"/>
                <a:gd name="T33" fmla="*/ 2147483647 h 451"/>
                <a:gd name="T34" fmla="*/ 2147483647 w 384"/>
                <a:gd name="T35" fmla="*/ 2147483647 h 451"/>
                <a:gd name="T36" fmla="*/ 2147483647 w 384"/>
                <a:gd name="T37" fmla="*/ 2147483647 h 451"/>
                <a:gd name="T38" fmla="*/ 2147483647 w 384"/>
                <a:gd name="T39" fmla="*/ 2147483647 h 451"/>
                <a:gd name="T40" fmla="*/ 2147483647 w 384"/>
                <a:gd name="T41" fmla="*/ 2147483647 h 451"/>
                <a:gd name="T42" fmla="*/ 2147483647 w 384"/>
                <a:gd name="T43" fmla="*/ 2147483647 h 451"/>
                <a:gd name="T44" fmla="*/ 2147483647 w 384"/>
                <a:gd name="T45" fmla="*/ 2147483647 h 451"/>
                <a:gd name="T46" fmla="*/ 2147483647 w 384"/>
                <a:gd name="T47" fmla="*/ 2147483647 h 451"/>
                <a:gd name="T48" fmla="*/ 2147483647 w 384"/>
                <a:gd name="T49" fmla="*/ 2147483647 h 451"/>
                <a:gd name="T50" fmla="*/ 2147483647 w 384"/>
                <a:gd name="T51" fmla="*/ 2147483647 h 451"/>
                <a:gd name="T52" fmla="*/ 2147483647 w 384"/>
                <a:gd name="T53" fmla="*/ 2147483647 h 451"/>
                <a:gd name="T54" fmla="*/ 2147483647 w 384"/>
                <a:gd name="T55" fmla="*/ 2147483647 h 451"/>
                <a:gd name="T56" fmla="*/ 2147483647 w 384"/>
                <a:gd name="T57" fmla="*/ 2147483647 h 451"/>
                <a:gd name="T58" fmla="*/ 2147483647 w 384"/>
                <a:gd name="T59" fmla="*/ 2147483647 h 451"/>
                <a:gd name="T60" fmla="*/ 2147483647 w 384"/>
                <a:gd name="T61" fmla="*/ 2147483647 h 451"/>
                <a:gd name="T62" fmla="*/ 2147483647 w 384"/>
                <a:gd name="T63" fmla="*/ 2147483647 h 451"/>
                <a:gd name="T64" fmla="*/ 2147483647 w 384"/>
                <a:gd name="T65" fmla="*/ 2147483647 h 451"/>
                <a:gd name="T66" fmla="*/ 2147483647 w 384"/>
                <a:gd name="T67" fmla="*/ 2147483647 h 451"/>
                <a:gd name="T68" fmla="*/ 2147483647 w 384"/>
                <a:gd name="T69" fmla="*/ 2147483647 h 451"/>
                <a:gd name="T70" fmla="*/ 2147483647 w 384"/>
                <a:gd name="T71" fmla="*/ 2147483647 h 451"/>
                <a:gd name="T72" fmla="*/ 2147483647 w 384"/>
                <a:gd name="T73" fmla="*/ 2147483647 h 451"/>
                <a:gd name="T74" fmla="*/ 2147483647 w 384"/>
                <a:gd name="T75" fmla="*/ 2147483647 h 451"/>
                <a:gd name="T76" fmla="*/ 2147483647 w 384"/>
                <a:gd name="T77" fmla="*/ 2147483647 h 451"/>
                <a:gd name="T78" fmla="*/ 2147483647 w 384"/>
                <a:gd name="T79" fmla="*/ 2147483647 h 451"/>
                <a:gd name="T80" fmla="*/ 2147483647 w 384"/>
                <a:gd name="T81" fmla="*/ 2147483647 h 451"/>
                <a:gd name="T82" fmla="*/ 2147483647 w 384"/>
                <a:gd name="T83" fmla="*/ 2147483647 h 451"/>
                <a:gd name="T84" fmla="*/ 2147483647 w 384"/>
                <a:gd name="T85" fmla="*/ 2147483647 h 451"/>
                <a:gd name="T86" fmla="*/ 2147483647 w 384"/>
                <a:gd name="T87" fmla="*/ 2147483647 h 451"/>
                <a:gd name="T88" fmla="*/ 2147483647 w 384"/>
                <a:gd name="T89" fmla="*/ 2147483647 h 451"/>
                <a:gd name="T90" fmla="*/ 2147483647 w 384"/>
                <a:gd name="T91" fmla="*/ 2147483647 h 451"/>
                <a:gd name="T92" fmla="*/ 2147483647 w 384"/>
                <a:gd name="T93" fmla="*/ 2147483647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84" h="451">
                  <a:moveTo>
                    <a:pt x="240" y="101"/>
                  </a:moveTo>
                  <a:cubicBezTo>
                    <a:pt x="236" y="101"/>
                    <a:pt x="232" y="104"/>
                    <a:pt x="232" y="109"/>
                  </a:cubicBezTo>
                  <a:cubicBezTo>
                    <a:pt x="231" y="113"/>
                    <a:pt x="235" y="117"/>
                    <a:pt x="239" y="117"/>
                  </a:cubicBezTo>
                  <a:cubicBezTo>
                    <a:pt x="303" y="122"/>
                    <a:pt x="368" y="172"/>
                    <a:pt x="368" y="259"/>
                  </a:cubicBezTo>
                  <a:cubicBezTo>
                    <a:pt x="368" y="275"/>
                    <a:pt x="366" y="290"/>
                    <a:pt x="362" y="305"/>
                  </a:cubicBezTo>
                  <a:cubicBezTo>
                    <a:pt x="361" y="291"/>
                    <a:pt x="351" y="279"/>
                    <a:pt x="341" y="274"/>
                  </a:cubicBezTo>
                  <a:cubicBezTo>
                    <a:pt x="347" y="267"/>
                    <a:pt x="350" y="258"/>
                    <a:pt x="350" y="248"/>
                  </a:cubicBezTo>
                  <a:cubicBezTo>
                    <a:pt x="350" y="225"/>
                    <a:pt x="331" y="207"/>
                    <a:pt x="309" y="207"/>
                  </a:cubicBezTo>
                  <a:cubicBezTo>
                    <a:pt x="286" y="207"/>
                    <a:pt x="267" y="225"/>
                    <a:pt x="267" y="248"/>
                  </a:cubicBezTo>
                  <a:cubicBezTo>
                    <a:pt x="267" y="258"/>
                    <a:pt x="271" y="267"/>
                    <a:pt x="277" y="275"/>
                  </a:cubicBezTo>
                  <a:cubicBezTo>
                    <a:pt x="269" y="279"/>
                    <a:pt x="260" y="287"/>
                    <a:pt x="258" y="301"/>
                  </a:cubicBezTo>
                  <a:cubicBezTo>
                    <a:pt x="252" y="294"/>
                    <a:pt x="245" y="289"/>
                    <a:pt x="239" y="286"/>
                  </a:cubicBezTo>
                  <a:cubicBezTo>
                    <a:pt x="249" y="274"/>
                    <a:pt x="256" y="259"/>
                    <a:pt x="256" y="243"/>
                  </a:cubicBezTo>
                  <a:cubicBezTo>
                    <a:pt x="256" y="208"/>
                    <a:pt x="227" y="180"/>
                    <a:pt x="192" y="180"/>
                  </a:cubicBezTo>
                  <a:cubicBezTo>
                    <a:pt x="158" y="180"/>
                    <a:pt x="129" y="208"/>
                    <a:pt x="129" y="243"/>
                  </a:cubicBezTo>
                  <a:cubicBezTo>
                    <a:pt x="129" y="259"/>
                    <a:pt x="136" y="274"/>
                    <a:pt x="146" y="286"/>
                  </a:cubicBezTo>
                  <a:cubicBezTo>
                    <a:pt x="140" y="289"/>
                    <a:pt x="133" y="294"/>
                    <a:pt x="127" y="301"/>
                  </a:cubicBezTo>
                  <a:cubicBezTo>
                    <a:pt x="125" y="287"/>
                    <a:pt x="116" y="279"/>
                    <a:pt x="108" y="275"/>
                  </a:cubicBezTo>
                  <a:cubicBezTo>
                    <a:pt x="114" y="267"/>
                    <a:pt x="118" y="258"/>
                    <a:pt x="118" y="248"/>
                  </a:cubicBezTo>
                  <a:cubicBezTo>
                    <a:pt x="118" y="225"/>
                    <a:pt x="99" y="207"/>
                    <a:pt x="76" y="207"/>
                  </a:cubicBezTo>
                  <a:cubicBezTo>
                    <a:pt x="54" y="207"/>
                    <a:pt x="35" y="225"/>
                    <a:pt x="35" y="248"/>
                  </a:cubicBezTo>
                  <a:cubicBezTo>
                    <a:pt x="35" y="258"/>
                    <a:pt x="38" y="267"/>
                    <a:pt x="44" y="274"/>
                  </a:cubicBezTo>
                  <a:cubicBezTo>
                    <a:pt x="34" y="279"/>
                    <a:pt x="24" y="292"/>
                    <a:pt x="23" y="307"/>
                  </a:cubicBezTo>
                  <a:cubicBezTo>
                    <a:pt x="18" y="292"/>
                    <a:pt x="16" y="276"/>
                    <a:pt x="16" y="260"/>
                  </a:cubicBezTo>
                  <a:cubicBezTo>
                    <a:pt x="16" y="124"/>
                    <a:pt x="106" y="90"/>
                    <a:pt x="162" y="83"/>
                  </a:cubicBezTo>
                  <a:cubicBezTo>
                    <a:pt x="166" y="99"/>
                    <a:pt x="166" y="99"/>
                    <a:pt x="166" y="99"/>
                  </a:cubicBezTo>
                  <a:cubicBezTo>
                    <a:pt x="167" y="102"/>
                    <a:pt x="169" y="104"/>
                    <a:pt x="172" y="105"/>
                  </a:cubicBezTo>
                  <a:cubicBezTo>
                    <a:pt x="175" y="106"/>
                    <a:pt x="178" y="104"/>
                    <a:pt x="180" y="102"/>
                  </a:cubicBezTo>
                  <a:cubicBezTo>
                    <a:pt x="225" y="43"/>
                    <a:pt x="225" y="43"/>
                    <a:pt x="225" y="43"/>
                  </a:cubicBezTo>
                  <a:cubicBezTo>
                    <a:pt x="226" y="41"/>
                    <a:pt x="227" y="38"/>
                    <a:pt x="226" y="36"/>
                  </a:cubicBezTo>
                  <a:cubicBezTo>
                    <a:pt x="226" y="34"/>
                    <a:pt x="224" y="32"/>
                    <a:pt x="222" y="31"/>
                  </a:cubicBezTo>
                  <a:cubicBezTo>
                    <a:pt x="154" y="1"/>
                    <a:pt x="154" y="1"/>
                    <a:pt x="154" y="1"/>
                  </a:cubicBezTo>
                  <a:cubicBezTo>
                    <a:pt x="151" y="0"/>
                    <a:pt x="148" y="1"/>
                    <a:pt x="145" y="3"/>
                  </a:cubicBezTo>
                  <a:cubicBezTo>
                    <a:pt x="143" y="5"/>
                    <a:pt x="142" y="8"/>
                    <a:pt x="143" y="11"/>
                  </a:cubicBezTo>
                  <a:cubicBezTo>
                    <a:pt x="147" y="26"/>
                    <a:pt x="147" y="26"/>
                    <a:pt x="147" y="26"/>
                  </a:cubicBezTo>
                  <a:cubicBezTo>
                    <a:pt x="108" y="38"/>
                    <a:pt x="1" y="115"/>
                    <a:pt x="0" y="258"/>
                  </a:cubicBezTo>
                  <a:cubicBezTo>
                    <a:pt x="0" y="259"/>
                    <a:pt x="0" y="259"/>
                    <a:pt x="0" y="259"/>
                  </a:cubicBezTo>
                  <a:cubicBezTo>
                    <a:pt x="0" y="259"/>
                    <a:pt x="0" y="259"/>
                    <a:pt x="0" y="259"/>
                  </a:cubicBezTo>
                  <a:cubicBezTo>
                    <a:pt x="0" y="259"/>
                    <a:pt x="0" y="259"/>
                    <a:pt x="0" y="259"/>
                  </a:cubicBezTo>
                  <a:cubicBezTo>
                    <a:pt x="0" y="259"/>
                    <a:pt x="0" y="259"/>
                    <a:pt x="0" y="259"/>
                  </a:cubicBezTo>
                  <a:cubicBezTo>
                    <a:pt x="0" y="365"/>
                    <a:pt x="86" y="451"/>
                    <a:pt x="192" y="451"/>
                  </a:cubicBezTo>
                  <a:cubicBezTo>
                    <a:pt x="298" y="451"/>
                    <a:pt x="384" y="365"/>
                    <a:pt x="384" y="259"/>
                  </a:cubicBezTo>
                  <a:cubicBezTo>
                    <a:pt x="384" y="162"/>
                    <a:pt x="312" y="107"/>
                    <a:pt x="240" y="101"/>
                  </a:cubicBezTo>
                  <a:close/>
                  <a:moveTo>
                    <a:pt x="159" y="39"/>
                  </a:moveTo>
                  <a:cubicBezTo>
                    <a:pt x="161" y="39"/>
                    <a:pt x="163" y="37"/>
                    <a:pt x="164" y="35"/>
                  </a:cubicBezTo>
                  <a:cubicBezTo>
                    <a:pt x="165" y="34"/>
                    <a:pt x="165" y="31"/>
                    <a:pt x="165" y="29"/>
                  </a:cubicBezTo>
                  <a:cubicBezTo>
                    <a:pt x="163" y="23"/>
                    <a:pt x="163" y="23"/>
                    <a:pt x="163" y="23"/>
                  </a:cubicBezTo>
                  <a:cubicBezTo>
                    <a:pt x="206" y="41"/>
                    <a:pt x="206" y="41"/>
                    <a:pt x="206" y="41"/>
                  </a:cubicBezTo>
                  <a:cubicBezTo>
                    <a:pt x="177" y="79"/>
                    <a:pt x="177" y="79"/>
                    <a:pt x="177" y="79"/>
                  </a:cubicBezTo>
                  <a:cubicBezTo>
                    <a:pt x="176" y="74"/>
                    <a:pt x="176" y="74"/>
                    <a:pt x="176" y="74"/>
                  </a:cubicBezTo>
                  <a:cubicBezTo>
                    <a:pt x="175" y="71"/>
                    <a:pt x="172" y="68"/>
                    <a:pt x="169" y="68"/>
                  </a:cubicBezTo>
                  <a:cubicBezTo>
                    <a:pt x="169" y="68"/>
                    <a:pt x="168" y="68"/>
                    <a:pt x="167" y="68"/>
                  </a:cubicBezTo>
                  <a:cubicBezTo>
                    <a:pt x="163" y="69"/>
                    <a:pt x="163" y="69"/>
                    <a:pt x="163" y="69"/>
                  </a:cubicBezTo>
                  <a:cubicBezTo>
                    <a:pt x="143" y="71"/>
                    <a:pt x="106" y="75"/>
                    <a:pt x="75" y="99"/>
                  </a:cubicBezTo>
                  <a:cubicBezTo>
                    <a:pt x="110" y="51"/>
                    <a:pt x="158" y="39"/>
                    <a:pt x="159" y="39"/>
                  </a:cubicBezTo>
                  <a:close/>
                  <a:moveTo>
                    <a:pt x="76" y="223"/>
                  </a:moveTo>
                  <a:cubicBezTo>
                    <a:pt x="90" y="223"/>
                    <a:pt x="102" y="234"/>
                    <a:pt x="102" y="248"/>
                  </a:cubicBezTo>
                  <a:cubicBezTo>
                    <a:pt x="102" y="262"/>
                    <a:pt x="90" y="273"/>
                    <a:pt x="76" y="273"/>
                  </a:cubicBezTo>
                  <a:cubicBezTo>
                    <a:pt x="62" y="273"/>
                    <a:pt x="51" y="262"/>
                    <a:pt x="51" y="248"/>
                  </a:cubicBezTo>
                  <a:cubicBezTo>
                    <a:pt x="51" y="234"/>
                    <a:pt x="62" y="223"/>
                    <a:pt x="76" y="223"/>
                  </a:cubicBezTo>
                  <a:close/>
                  <a:moveTo>
                    <a:pt x="112" y="415"/>
                  </a:moveTo>
                  <a:cubicBezTo>
                    <a:pt x="111" y="415"/>
                    <a:pt x="111" y="415"/>
                    <a:pt x="111" y="415"/>
                  </a:cubicBezTo>
                  <a:cubicBezTo>
                    <a:pt x="109" y="414"/>
                    <a:pt x="107" y="413"/>
                    <a:pt x="106" y="412"/>
                  </a:cubicBezTo>
                  <a:cubicBezTo>
                    <a:pt x="105" y="412"/>
                    <a:pt x="104" y="411"/>
                    <a:pt x="103" y="410"/>
                  </a:cubicBezTo>
                  <a:cubicBezTo>
                    <a:pt x="100" y="409"/>
                    <a:pt x="98" y="407"/>
                    <a:pt x="95" y="406"/>
                  </a:cubicBezTo>
                  <a:cubicBezTo>
                    <a:pt x="94" y="405"/>
                    <a:pt x="93" y="404"/>
                    <a:pt x="91" y="403"/>
                  </a:cubicBezTo>
                  <a:cubicBezTo>
                    <a:pt x="89" y="402"/>
                    <a:pt x="88" y="401"/>
                    <a:pt x="86" y="399"/>
                  </a:cubicBezTo>
                  <a:cubicBezTo>
                    <a:pt x="84" y="398"/>
                    <a:pt x="83" y="397"/>
                    <a:pt x="81" y="395"/>
                  </a:cubicBezTo>
                  <a:cubicBezTo>
                    <a:pt x="80" y="395"/>
                    <a:pt x="80" y="394"/>
                    <a:pt x="79" y="394"/>
                  </a:cubicBezTo>
                  <a:cubicBezTo>
                    <a:pt x="63" y="380"/>
                    <a:pt x="49" y="364"/>
                    <a:pt x="39" y="345"/>
                  </a:cubicBezTo>
                  <a:cubicBezTo>
                    <a:pt x="39" y="309"/>
                    <a:pt x="39" y="309"/>
                    <a:pt x="39" y="309"/>
                  </a:cubicBezTo>
                  <a:cubicBezTo>
                    <a:pt x="39" y="297"/>
                    <a:pt x="50" y="287"/>
                    <a:pt x="55" y="286"/>
                  </a:cubicBezTo>
                  <a:cubicBezTo>
                    <a:pt x="56" y="286"/>
                    <a:pt x="57" y="285"/>
                    <a:pt x="58" y="285"/>
                  </a:cubicBezTo>
                  <a:cubicBezTo>
                    <a:pt x="63" y="288"/>
                    <a:pt x="70" y="289"/>
                    <a:pt x="76" y="289"/>
                  </a:cubicBezTo>
                  <a:cubicBezTo>
                    <a:pt x="83" y="289"/>
                    <a:pt x="88" y="288"/>
                    <a:pt x="94" y="286"/>
                  </a:cubicBezTo>
                  <a:cubicBezTo>
                    <a:pt x="94" y="286"/>
                    <a:pt x="94" y="286"/>
                    <a:pt x="94" y="286"/>
                  </a:cubicBezTo>
                  <a:cubicBezTo>
                    <a:pt x="104" y="290"/>
                    <a:pt x="112" y="294"/>
                    <a:pt x="112" y="308"/>
                  </a:cubicBezTo>
                  <a:lnTo>
                    <a:pt x="112" y="415"/>
                  </a:lnTo>
                  <a:close/>
                  <a:moveTo>
                    <a:pt x="145" y="243"/>
                  </a:moveTo>
                  <a:cubicBezTo>
                    <a:pt x="145" y="217"/>
                    <a:pt x="167" y="196"/>
                    <a:pt x="192" y="196"/>
                  </a:cubicBezTo>
                  <a:cubicBezTo>
                    <a:pt x="218" y="196"/>
                    <a:pt x="240" y="217"/>
                    <a:pt x="240" y="243"/>
                  </a:cubicBezTo>
                  <a:cubicBezTo>
                    <a:pt x="240" y="269"/>
                    <a:pt x="218" y="290"/>
                    <a:pt x="192" y="290"/>
                  </a:cubicBezTo>
                  <a:cubicBezTo>
                    <a:pt x="167" y="290"/>
                    <a:pt x="145" y="269"/>
                    <a:pt x="145" y="243"/>
                  </a:cubicBezTo>
                  <a:close/>
                  <a:moveTo>
                    <a:pt x="257" y="422"/>
                  </a:moveTo>
                  <a:cubicBezTo>
                    <a:pt x="256" y="423"/>
                    <a:pt x="255" y="423"/>
                    <a:pt x="253" y="424"/>
                  </a:cubicBezTo>
                  <a:cubicBezTo>
                    <a:pt x="253" y="424"/>
                    <a:pt x="252" y="424"/>
                    <a:pt x="252" y="424"/>
                  </a:cubicBezTo>
                  <a:cubicBezTo>
                    <a:pt x="250" y="425"/>
                    <a:pt x="248" y="426"/>
                    <a:pt x="247" y="426"/>
                  </a:cubicBezTo>
                  <a:cubicBezTo>
                    <a:pt x="245" y="427"/>
                    <a:pt x="244" y="427"/>
                    <a:pt x="243" y="427"/>
                  </a:cubicBezTo>
                  <a:cubicBezTo>
                    <a:pt x="242" y="428"/>
                    <a:pt x="241" y="428"/>
                    <a:pt x="240" y="428"/>
                  </a:cubicBezTo>
                  <a:cubicBezTo>
                    <a:pt x="238" y="429"/>
                    <a:pt x="236" y="429"/>
                    <a:pt x="234" y="430"/>
                  </a:cubicBezTo>
                  <a:cubicBezTo>
                    <a:pt x="234" y="430"/>
                    <a:pt x="233" y="430"/>
                    <a:pt x="233" y="430"/>
                  </a:cubicBezTo>
                  <a:cubicBezTo>
                    <a:pt x="218" y="434"/>
                    <a:pt x="202" y="435"/>
                    <a:pt x="186" y="435"/>
                  </a:cubicBezTo>
                  <a:cubicBezTo>
                    <a:pt x="186" y="435"/>
                    <a:pt x="185" y="435"/>
                    <a:pt x="185" y="435"/>
                  </a:cubicBezTo>
                  <a:cubicBezTo>
                    <a:pt x="183" y="435"/>
                    <a:pt x="180" y="434"/>
                    <a:pt x="178" y="434"/>
                  </a:cubicBezTo>
                  <a:cubicBezTo>
                    <a:pt x="178" y="434"/>
                    <a:pt x="177" y="434"/>
                    <a:pt x="176" y="434"/>
                  </a:cubicBezTo>
                  <a:cubicBezTo>
                    <a:pt x="174" y="434"/>
                    <a:pt x="172" y="434"/>
                    <a:pt x="170" y="433"/>
                  </a:cubicBezTo>
                  <a:cubicBezTo>
                    <a:pt x="169" y="433"/>
                    <a:pt x="168" y="433"/>
                    <a:pt x="168" y="433"/>
                  </a:cubicBezTo>
                  <a:cubicBezTo>
                    <a:pt x="166" y="433"/>
                    <a:pt x="163" y="433"/>
                    <a:pt x="161" y="432"/>
                  </a:cubicBezTo>
                  <a:cubicBezTo>
                    <a:pt x="161" y="432"/>
                    <a:pt x="160" y="432"/>
                    <a:pt x="159" y="432"/>
                  </a:cubicBezTo>
                  <a:cubicBezTo>
                    <a:pt x="157" y="431"/>
                    <a:pt x="155" y="431"/>
                    <a:pt x="153" y="430"/>
                  </a:cubicBezTo>
                  <a:cubicBezTo>
                    <a:pt x="152" y="430"/>
                    <a:pt x="152" y="430"/>
                    <a:pt x="151" y="430"/>
                  </a:cubicBezTo>
                  <a:cubicBezTo>
                    <a:pt x="149" y="430"/>
                    <a:pt x="147" y="429"/>
                    <a:pt x="145" y="428"/>
                  </a:cubicBezTo>
                  <a:cubicBezTo>
                    <a:pt x="144" y="428"/>
                    <a:pt x="144" y="428"/>
                    <a:pt x="143" y="428"/>
                  </a:cubicBezTo>
                  <a:cubicBezTo>
                    <a:pt x="141" y="427"/>
                    <a:pt x="139" y="427"/>
                    <a:pt x="136" y="426"/>
                  </a:cubicBezTo>
                  <a:cubicBezTo>
                    <a:pt x="136" y="426"/>
                    <a:pt x="136" y="426"/>
                    <a:pt x="135" y="425"/>
                  </a:cubicBezTo>
                  <a:cubicBezTo>
                    <a:pt x="133" y="425"/>
                    <a:pt x="131" y="424"/>
                    <a:pt x="128" y="423"/>
                  </a:cubicBezTo>
                  <a:cubicBezTo>
                    <a:pt x="128" y="423"/>
                    <a:pt x="128" y="423"/>
                    <a:pt x="128" y="423"/>
                  </a:cubicBezTo>
                  <a:cubicBezTo>
                    <a:pt x="128" y="340"/>
                    <a:pt x="128" y="340"/>
                    <a:pt x="128" y="340"/>
                  </a:cubicBezTo>
                  <a:cubicBezTo>
                    <a:pt x="128" y="316"/>
                    <a:pt x="147" y="303"/>
                    <a:pt x="160" y="297"/>
                  </a:cubicBezTo>
                  <a:cubicBezTo>
                    <a:pt x="169" y="302"/>
                    <a:pt x="181" y="306"/>
                    <a:pt x="192" y="306"/>
                  </a:cubicBezTo>
                  <a:cubicBezTo>
                    <a:pt x="204" y="306"/>
                    <a:pt x="216" y="302"/>
                    <a:pt x="225" y="297"/>
                  </a:cubicBezTo>
                  <a:cubicBezTo>
                    <a:pt x="238" y="303"/>
                    <a:pt x="257" y="316"/>
                    <a:pt x="257" y="340"/>
                  </a:cubicBezTo>
                  <a:lnTo>
                    <a:pt x="257" y="422"/>
                  </a:lnTo>
                  <a:close/>
                  <a:moveTo>
                    <a:pt x="309" y="223"/>
                  </a:moveTo>
                  <a:cubicBezTo>
                    <a:pt x="323" y="223"/>
                    <a:pt x="334" y="234"/>
                    <a:pt x="334" y="248"/>
                  </a:cubicBezTo>
                  <a:cubicBezTo>
                    <a:pt x="334" y="262"/>
                    <a:pt x="323" y="273"/>
                    <a:pt x="309" y="273"/>
                  </a:cubicBezTo>
                  <a:cubicBezTo>
                    <a:pt x="295" y="273"/>
                    <a:pt x="283" y="262"/>
                    <a:pt x="283" y="248"/>
                  </a:cubicBezTo>
                  <a:cubicBezTo>
                    <a:pt x="283" y="234"/>
                    <a:pt x="295" y="223"/>
                    <a:pt x="309" y="223"/>
                  </a:cubicBezTo>
                  <a:close/>
                  <a:moveTo>
                    <a:pt x="346" y="344"/>
                  </a:moveTo>
                  <a:cubicBezTo>
                    <a:pt x="330" y="374"/>
                    <a:pt x="304" y="399"/>
                    <a:pt x="273" y="415"/>
                  </a:cubicBezTo>
                  <a:cubicBezTo>
                    <a:pt x="273" y="308"/>
                    <a:pt x="273" y="308"/>
                    <a:pt x="273" y="308"/>
                  </a:cubicBezTo>
                  <a:cubicBezTo>
                    <a:pt x="273" y="294"/>
                    <a:pt x="281" y="290"/>
                    <a:pt x="291" y="286"/>
                  </a:cubicBezTo>
                  <a:cubicBezTo>
                    <a:pt x="291" y="286"/>
                    <a:pt x="291" y="286"/>
                    <a:pt x="291" y="286"/>
                  </a:cubicBezTo>
                  <a:cubicBezTo>
                    <a:pt x="297" y="288"/>
                    <a:pt x="302" y="289"/>
                    <a:pt x="309" y="289"/>
                  </a:cubicBezTo>
                  <a:cubicBezTo>
                    <a:pt x="315" y="289"/>
                    <a:pt x="322" y="288"/>
                    <a:pt x="327" y="285"/>
                  </a:cubicBezTo>
                  <a:cubicBezTo>
                    <a:pt x="328" y="285"/>
                    <a:pt x="329" y="286"/>
                    <a:pt x="330" y="286"/>
                  </a:cubicBezTo>
                  <a:cubicBezTo>
                    <a:pt x="335" y="287"/>
                    <a:pt x="346" y="297"/>
                    <a:pt x="346" y="309"/>
                  </a:cubicBezTo>
                  <a:lnTo>
                    <a:pt x="346" y="344"/>
                  </a:lnTo>
                  <a:close/>
                  <a:moveTo>
                    <a:pt x="231" y="326"/>
                  </a:moveTo>
                  <a:cubicBezTo>
                    <a:pt x="227" y="326"/>
                    <a:pt x="223" y="330"/>
                    <a:pt x="223" y="334"/>
                  </a:cubicBezTo>
                  <a:cubicBezTo>
                    <a:pt x="223" y="406"/>
                    <a:pt x="223" y="406"/>
                    <a:pt x="223" y="406"/>
                  </a:cubicBezTo>
                  <a:cubicBezTo>
                    <a:pt x="223" y="410"/>
                    <a:pt x="227" y="414"/>
                    <a:pt x="231" y="414"/>
                  </a:cubicBezTo>
                  <a:cubicBezTo>
                    <a:pt x="236" y="414"/>
                    <a:pt x="239" y="410"/>
                    <a:pt x="239" y="406"/>
                  </a:cubicBezTo>
                  <a:cubicBezTo>
                    <a:pt x="239" y="334"/>
                    <a:pt x="239" y="334"/>
                    <a:pt x="239" y="334"/>
                  </a:cubicBezTo>
                  <a:cubicBezTo>
                    <a:pt x="239" y="330"/>
                    <a:pt x="236" y="326"/>
                    <a:pt x="231" y="326"/>
                  </a:cubicBezTo>
                  <a:close/>
                  <a:moveTo>
                    <a:pt x="153" y="326"/>
                  </a:moveTo>
                  <a:cubicBezTo>
                    <a:pt x="149" y="326"/>
                    <a:pt x="145" y="330"/>
                    <a:pt x="145" y="334"/>
                  </a:cubicBezTo>
                  <a:cubicBezTo>
                    <a:pt x="145" y="406"/>
                    <a:pt x="145" y="406"/>
                    <a:pt x="145" y="406"/>
                  </a:cubicBezTo>
                  <a:cubicBezTo>
                    <a:pt x="145" y="410"/>
                    <a:pt x="149" y="414"/>
                    <a:pt x="153" y="414"/>
                  </a:cubicBezTo>
                  <a:cubicBezTo>
                    <a:pt x="158" y="414"/>
                    <a:pt x="161" y="410"/>
                    <a:pt x="161" y="406"/>
                  </a:cubicBezTo>
                  <a:cubicBezTo>
                    <a:pt x="161" y="334"/>
                    <a:pt x="161" y="334"/>
                    <a:pt x="161" y="334"/>
                  </a:cubicBezTo>
                  <a:cubicBezTo>
                    <a:pt x="161" y="330"/>
                    <a:pt x="158" y="326"/>
                    <a:pt x="153" y="3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3">
              <a:extLst>
                <a:ext uri="{FF2B5EF4-FFF2-40B4-BE49-F238E27FC236}">
                  <a16:creationId xmlns:a16="http://schemas.microsoft.com/office/drawing/2014/main" id="{FB6182D7-A188-45C6-A3A8-06C77618CEB3}"/>
                </a:ext>
              </a:extLst>
            </p:cNvPr>
            <p:cNvSpPr>
              <a:spLocks noChangeAspect="1" noEditPoints="1"/>
            </p:cNvSpPr>
            <p:nvPr/>
          </p:nvSpPr>
          <p:spPr bwMode="auto">
            <a:xfrm>
              <a:off x="1269251" y="3708379"/>
              <a:ext cx="521886" cy="292608"/>
            </a:xfrm>
            <a:custGeom>
              <a:avLst/>
              <a:gdLst>
                <a:gd name="T0" fmla="*/ 2147483647 w 478"/>
                <a:gd name="T1" fmla="*/ 2147483647 h 268"/>
                <a:gd name="T2" fmla="*/ 2147483647 w 478"/>
                <a:gd name="T3" fmla="*/ 2147483647 h 268"/>
                <a:gd name="T4" fmla="*/ 2147483647 w 478"/>
                <a:gd name="T5" fmla="*/ 2147483647 h 268"/>
                <a:gd name="T6" fmla="*/ 2147483647 w 478"/>
                <a:gd name="T7" fmla="*/ 2147483647 h 268"/>
                <a:gd name="T8" fmla="*/ 2147483647 w 478"/>
                <a:gd name="T9" fmla="*/ 2147483647 h 268"/>
                <a:gd name="T10" fmla="*/ 2147483647 w 478"/>
                <a:gd name="T11" fmla="*/ 2147483647 h 268"/>
                <a:gd name="T12" fmla="*/ 2147483647 w 478"/>
                <a:gd name="T13" fmla="*/ 2147483647 h 268"/>
                <a:gd name="T14" fmla="*/ 2147483647 w 478"/>
                <a:gd name="T15" fmla="*/ 2147483647 h 268"/>
                <a:gd name="T16" fmla="*/ 2147483647 w 478"/>
                <a:gd name="T17" fmla="*/ 2147483647 h 268"/>
                <a:gd name="T18" fmla="*/ 2147483647 w 478"/>
                <a:gd name="T19" fmla="*/ 2147483647 h 268"/>
                <a:gd name="T20" fmla="*/ 2147483647 w 478"/>
                <a:gd name="T21" fmla="*/ 2147483647 h 268"/>
                <a:gd name="T22" fmla="*/ 2147483647 w 478"/>
                <a:gd name="T23" fmla="*/ 2147483647 h 268"/>
                <a:gd name="T24" fmla="*/ 2147483647 w 478"/>
                <a:gd name="T25" fmla="*/ 2147483647 h 268"/>
                <a:gd name="T26" fmla="*/ 2147483647 w 478"/>
                <a:gd name="T27" fmla="*/ 2147483647 h 268"/>
                <a:gd name="T28" fmla="*/ 2147483647 w 478"/>
                <a:gd name="T29" fmla="*/ 2147483647 h 268"/>
                <a:gd name="T30" fmla="*/ 2147483647 w 478"/>
                <a:gd name="T31" fmla="*/ 2147483647 h 268"/>
                <a:gd name="T32" fmla="*/ 2147483647 w 478"/>
                <a:gd name="T33" fmla="*/ 0 h 268"/>
                <a:gd name="T34" fmla="*/ 2147483647 w 478"/>
                <a:gd name="T35" fmla="*/ 2147483647 h 268"/>
                <a:gd name="T36" fmla="*/ 2147483647 w 478"/>
                <a:gd name="T37" fmla="*/ 2147483647 h 268"/>
                <a:gd name="T38" fmla="*/ 2147483647 w 478"/>
                <a:gd name="T39" fmla="*/ 2147483647 h 268"/>
                <a:gd name="T40" fmla="*/ 2147483647 w 478"/>
                <a:gd name="T41" fmla="*/ 2147483647 h 268"/>
                <a:gd name="T42" fmla="*/ 0 w 478"/>
                <a:gd name="T43" fmla="*/ 2147483647 h 268"/>
                <a:gd name="T44" fmla="*/ 2147483647 w 478"/>
                <a:gd name="T45" fmla="*/ 2147483647 h 268"/>
                <a:gd name="T46" fmla="*/ 2147483647 w 478"/>
                <a:gd name="T47" fmla="*/ 2147483647 h 268"/>
                <a:gd name="T48" fmla="*/ 2147483647 w 478"/>
                <a:gd name="T49" fmla="*/ 2147483647 h 268"/>
                <a:gd name="T50" fmla="*/ 2147483647 w 478"/>
                <a:gd name="T51" fmla="*/ 2147483647 h 268"/>
                <a:gd name="T52" fmla="*/ 2147483647 w 478"/>
                <a:gd name="T53" fmla="*/ 2147483647 h 268"/>
                <a:gd name="T54" fmla="*/ 2147483647 w 478"/>
                <a:gd name="T55" fmla="*/ 2147483647 h 268"/>
                <a:gd name="T56" fmla="*/ 2147483647 w 478"/>
                <a:gd name="T57" fmla="*/ 2147483647 h 268"/>
                <a:gd name="T58" fmla="*/ 2147483647 w 478"/>
                <a:gd name="T59" fmla="*/ 2147483647 h 268"/>
                <a:gd name="T60" fmla="*/ 2147483647 w 478"/>
                <a:gd name="T61" fmla="*/ 2147483647 h 268"/>
                <a:gd name="T62" fmla="*/ 2147483647 w 478"/>
                <a:gd name="T63" fmla="*/ 2147483647 h 268"/>
                <a:gd name="T64" fmla="*/ 2147483647 w 478"/>
                <a:gd name="T65" fmla="*/ 2147483647 h 268"/>
                <a:gd name="T66" fmla="*/ 2147483647 w 478"/>
                <a:gd name="T67" fmla="*/ 2147483647 h 268"/>
                <a:gd name="T68" fmla="*/ 2147483647 w 478"/>
                <a:gd name="T69" fmla="*/ 2147483647 h 268"/>
                <a:gd name="T70" fmla="*/ 2147483647 w 478"/>
                <a:gd name="T71" fmla="*/ 2147483647 h 268"/>
                <a:gd name="T72" fmla="*/ 2147483647 w 478"/>
                <a:gd name="T73" fmla="*/ 2147483647 h 268"/>
                <a:gd name="T74" fmla="*/ 2147483647 w 478"/>
                <a:gd name="T75" fmla="*/ 2147483647 h 268"/>
                <a:gd name="T76" fmla="*/ 2147483647 w 478"/>
                <a:gd name="T77" fmla="*/ 2147483647 h 268"/>
                <a:gd name="T78" fmla="*/ 2147483647 w 478"/>
                <a:gd name="T79" fmla="*/ 2147483647 h 268"/>
                <a:gd name="T80" fmla="*/ 2147483647 w 478"/>
                <a:gd name="T81" fmla="*/ 2147483647 h 268"/>
                <a:gd name="T82" fmla="*/ 2147483647 w 478"/>
                <a:gd name="T83" fmla="*/ 2147483647 h 268"/>
                <a:gd name="T84" fmla="*/ 2147483647 w 478"/>
                <a:gd name="T85" fmla="*/ 2147483647 h 268"/>
                <a:gd name="T86" fmla="*/ 2147483647 w 478"/>
                <a:gd name="T87" fmla="*/ 2147483647 h 268"/>
                <a:gd name="T88" fmla="*/ 2147483647 w 478"/>
                <a:gd name="T89" fmla="*/ 2147483647 h 268"/>
                <a:gd name="T90" fmla="*/ 2147483647 w 478"/>
                <a:gd name="T91" fmla="*/ 2147483647 h 268"/>
                <a:gd name="T92" fmla="*/ 2147483647 w 478"/>
                <a:gd name="T93" fmla="*/ 2147483647 h 268"/>
                <a:gd name="T94" fmla="*/ 2147483647 w 478"/>
                <a:gd name="T95" fmla="*/ 2147483647 h 268"/>
                <a:gd name="T96" fmla="*/ 2147483647 w 478"/>
                <a:gd name="T97" fmla="*/ 2147483647 h 268"/>
                <a:gd name="T98" fmla="*/ 2147483647 w 478"/>
                <a:gd name="T99" fmla="*/ 2147483647 h 268"/>
                <a:gd name="T100" fmla="*/ 2147483647 w 478"/>
                <a:gd name="T101" fmla="*/ 2147483647 h 268"/>
                <a:gd name="T102" fmla="*/ 2147483647 w 478"/>
                <a:gd name="T103" fmla="*/ 2147483647 h 268"/>
                <a:gd name="T104" fmla="*/ 2147483647 w 478"/>
                <a:gd name="T105" fmla="*/ 2147483647 h 268"/>
                <a:gd name="T106" fmla="*/ 2147483647 w 478"/>
                <a:gd name="T107" fmla="*/ 2147483647 h 268"/>
                <a:gd name="T108" fmla="*/ 2147483647 w 478"/>
                <a:gd name="T109" fmla="*/ 2147483647 h 268"/>
                <a:gd name="T110" fmla="*/ 2147483647 w 478"/>
                <a:gd name="T111" fmla="*/ 2147483647 h 268"/>
                <a:gd name="T112" fmla="*/ 2147483647 w 478"/>
                <a:gd name="T113" fmla="*/ 2147483647 h 268"/>
                <a:gd name="T114" fmla="*/ 2147483647 w 478"/>
                <a:gd name="T115" fmla="*/ 2147483647 h 268"/>
                <a:gd name="T116" fmla="*/ 2147483647 w 478"/>
                <a:gd name="T117" fmla="*/ 2147483647 h 268"/>
                <a:gd name="T118" fmla="*/ 2147483647 w 478"/>
                <a:gd name="T119" fmla="*/ 2147483647 h 268"/>
                <a:gd name="T120" fmla="*/ 2147483647 w 478"/>
                <a:gd name="T121" fmla="*/ 2147483647 h 268"/>
                <a:gd name="T122" fmla="*/ 2147483647 w 478"/>
                <a:gd name="T123" fmla="*/ 2147483647 h 2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8" h="268">
                  <a:moveTo>
                    <a:pt x="312" y="106"/>
                  </a:moveTo>
                  <a:cubicBezTo>
                    <a:pt x="312" y="101"/>
                    <a:pt x="308" y="98"/>
                    <a:pt x="304" y="98"/>
                  </a:cubicBezTo>
                  <a:cubicBezTo>
                    <a:pt x="68" y="98"/>
                    <a:pt x="68" y="98"/>
                    <a:pt x="68" y="98"/>
                  </a:cubicBezTo>
                  <a:cubicBezTo>
                    <a:pt x="64" y="98"/>
                    <a:pt x="60" y="101"/>
                    <a:pt x="60" y="106"/>
                  </a:cubicBezTo>
                  <a:cubicBezTo>
                    <a:pt x="60" y="110"/>
                    <a:pt x="64" y="114"/>
                    <a:pt x="68" y="114"/>
                  </a:cubicBezTo>
                  <a:cubicBezTo>
                    <a:pt x="304" y="114"/>
                    <a:pt x="304" y="114"/>
                    <a:pt x="304" y="114"/>
                  </a:cubicBezTo>
                  <a:cubicBezTo>
                    <a:pt x="308" y="114"/>
                    <a:pt x="312" y="110"/>
                    <a:pt x="312" y="106"/>
                  </a:cubicBezTo>
                  <a:close/>
                  <a:moveTo>
                    <a:pt x="312" y="50"/>
                  </a:moveTo>
                  <a:cubicBezTo>
                    <a:pt x="312" y="42"/>
                    <a:pt x="312" y="35"/>
                    <a:pt x="312" y="30"/>
                  </a:cubicBezTo>
                  <a:cubicBezTo>
                    <a:pt x="312" y="23"/>
                    <a:pt x="313" y="20"/>
                    <a:pt x="315" y="18"/>
                  </a:cubicBezTo>
                  <a:cubicBezTo>
                    <a:pt x="316" y="16"/>
                    <a:pt x="317" y="16"/>
                    <a:pt x="319" y="16"/>
                  </a:cubicBezTo>
                  <a:cubicBezTo>
                    <a:pt x="321" y="16"/>
                    <a:pt x="325" y="17"/>
                    <a:pt x="329" y="21"/>
                  </a:cubicBezTo>
                  <a:cubicBezTo>
                    <a:pt x="334" y="25"/>
                    <a:pt x="343" y="32"/>
                    <a:pt x="352" y="39"/>
                  </a:cubicBezTo>
                  <a:cubicBezTo>
                    <a:pt x="356" y="42"/>
                    <a:pt x="361" y="41"/>
                    <a:pt x="364" y="38"/>
                  </a:cubicBezTo>
                  <a:cubicBezTo>
                    <a:pt x="366" y="34"/>
                    <a:pt x="366" y="29"/>
                    <a:pt x="362" y="27"/>
                  </a:cubicBezTo>
                  <a:cubicBezTo>
                    <a:pt x="353" y="19"/>
                    <a:pt x="344" y="12"/>
                    <a:pt x="339" y="8"/>
                  </a:cubicBezTo>
                  <a:cubicBezTo>
                    <a:pt x="333" y="3"/>
                    <a:pt x="326" y="0"/>
                    <a:pt x="319" y="0"/>
                  </a:cubicBezTo>
                  <a:cubicBezTo>
                    <a:pt x="312" y="0"/>
                    <a:pt x="306" y="3"/>
                    <a:pt x="302" y="8"/>
                  </a:cubicBezTo>
                  <a:cubicBezTo>
                    <a:pt x="298" y="14"/>
                    <a:pt x="296" y="21"/>
                    <a:pt x="296" y="30"/>
                  </a:cubicBezTo>
                  <a:cubicBezTo>
                    <a:pt x="296" y="33"/>
                    <a:pt x="296" y="37"/>
                    <a:pt x="296" y="42"/>
                  </a:cubicBezTo>
                  <a:cubicBezTo>
                    <a:pt x="8" y="42"/>
                    <a:pt x="8" y="42"/>
                    <a:pt x="8" y="42"/>
                  </a:cubicBezTo>
                  <a:cubicBezTo>
                    <a:pt x="4" y="42"/>
                    <a:pt x="0" y="46"/>
                    <a:pt x="0" y="50"/>
                  </a:cubicBezTo>
                  <a:cubicBezTo>
                    <a:pt x="0" y="54"/>
                    <a:pt x="4" y="58"/>
                    <a:pt x="8" y="58"/>
                  </a:cubicBezTo>
                  <a:cubicBezTo>
                    <a:pt x="304" y="58"/>
                    <a:pt x="304" y="58"/>
                    <a:pt x="304" y="58"/>
                  </a:cubicBezTo>
                  <a:cubicBezTo>
                    <a:pt x="308" y="58"/>
                    <a:pt x="312" y="54"/>
                    <a:pt x="312" y="50"/>
                  </a:cubicBezTo>
                  <a:close/>
                  <a:moveTo>
                    <a:pt x="312" y="162"/>
                  </a:moveTo>
                  <a:cubicBezTo>
                    <a:pt x="312" y="157"/>
                    <a:pt x="308" y="154"/>
                    <a:pt x="304" y="154"/>
                  </a:cubicBezTo>
                  <a:cubicBezTo>
                    <a:pt x="130" y="154"/>
                    <a:pt x="130" y="154"/>
                    <a:pt x="130" y="154"/>
                  </a:cubicBezTo>
                  <a:cubicBezTo>
                    <a:pt x="126" y="154"/>
                    <a:pt x="122" y="157"/>
                    <a:pt x="122" y="162"/>
                  </a:cubicBezTo>
                  <a:cubicBezTo>
                    <a:pt x="122" y="166"/>
                    <a:pt x="126" y="170"/>
                    <a:pt x="130" y="170"/>
                  </a:cubicBezTo>
                  <a:cubicBezTo>
                    <a:pt x="304" y="170"/>
                    <a:pt x="304" y="170"/>
                    <a:pt x="304" y="170"/>
                  </a:cubicBezTo>
                  <a:cubicBezTo>
                    <a:pt x="308" y="170"/>
                    <a:pt x="312" y="166"/>
                    <a:pt x="312" y="162"/>
                  </a:cubicBezTo>
                  <a:close/>
                  <a:moveTo>
                    <a:pt x="464" y="107"/>
                  </a:moveTo>
                  <a:cubicBezTo>
                    <a:pt x="451" y="96"/>
                    <a:pt x="399" y="56"/>
                    <a:pt x="399" y="56"/>
                  </a:cubicBezTo>
                  <a:cubicBezTo>
                    <a:pt x="399" y="56"/>
                    <a:pt x="395" y="52"/>
                    <a:pt x="388" y="47"/>
                  </a:cubicBezTo>
                  <a:cubicBezTo>
                    <a:pt x="384" y="44"/>
                    <a:pt x="379" y="45"/>
                    <a:pt x="377" y="48"/>
                  </a:cubicBezTo>
                  <a:cubicBezTo>
                    <a:pt x="374" y="52"/>
                    <a:pt x="374" y="57"/>
                    <a:pt x="378" y="59"/>
                  </a:cubicBezTo>
                  <a:cubicBezTo>
                    <a:pt x="378" y="59"/>
                    <a:pt x="378" y="59"/>
                    <a:pt x="378" y="59"/>
                  </a:cubicBezTo>
                  <a:cubicBezTo>
                    <a:pt x="385" y="65"/>
                    <a:pt x="389" y="68"/>
                    <a:pt x="389" y="68"/>
                  </a:cubicBezTo>
                  <a:cubicBezTo>
                    <a:pt x="389" y="68"/>
                    <a:pt x="441" y="109"/>
                    <a:pt x="454" y="120"/>
                  </a:cubicBezTo>
                  <a:cubicBezTo>
                    <a:pt x="460" y="125"/>
                    <a:pt x="462" y="128"/>
                    <a:pt x="462" y="134"/>
                  </a:cubicBezTo>
                  <a:cubicBezTo>
                    <a:pt x="462" y="139"/>
                    <a:pt x="460" y="142"/>
                    <a:pt x="454" y="147"/>
                  </a:cubicBezTo>
                  <a:cubicBezTo>
                    <a:pt x="441" y="158"/>
                    <a:pt x="389" y="199"/>
                    <a:pt x="389" y="199"/>
                  </a:cubicBezTo>
                  <a:cubicBezTo>
                    <a:pt x="389" y="199"/>
                    <a:pt x="345" y="234"/>
                    <a:pt x="329" y="247"/>
                  </a:cubicBezTo>
                  <a:cubicBezTo>
                    <a:pt x="324" y="251"/>
                    <a:pt x="320" y="252"/>
                    <a:pt x="318" y="252"/>
                  </a:cubicBezTo>
                  <a:cubicBezTo>
                    <a:pt x="317" y="252"/>
                    <a:pt x="316" y="252"/>
                    <a:pt x="315" y="250"/>
                  </a:cubicBezTo>
                  <a:cubicBezTo>
                    <a:pt x="313" y="248"/>
                    <a:pt x="312" y="244"/>
                    <a:pt x="312" y="237"/>
                  </a:cubicBezTo>
                  <a:cubicBezTo>
                    <a:pt x="312" y="232"/>
                    <a:pt x="312" y="226"/>
                    <a:pt x="312" y="218"/>
                  </a:cubicBezTo>
                  <a:cubicBezTo>
                    <a:pt x="312" y="213"/>
                    <a:pt x="308" y="210"/>
                    <a:pt x="304" y="210"/>
                  </a:cubicBezTo>
                  <a:cubicBezTo>
                    <a:pt x="176" y="210"/>
                    <a:pt x="176" y="210"/>
                    <a:pt x="176" y="210"/>
                  </a:cubicBezTo>
                  <a:cubicBezTo>
                    <a:pt x="172" y="210"/>
                    <a:pt x="168" y="213"/>
                    <a:pt x="168" y="218"/>
                  </a:cubicBezTo>
                  <a:cubicBezTo>
                    <a:pt x="168" y="222"/>
                    <a:pt x="172" y="226"/>
                    <a:pt x="176" y="226"/>
                  </a:cubicBezTo>
                  <a:cubicBezTo>
                    <a:pt x="296" y="226"/>
                    <a:pt x="296" y="226"/>
                    <a:pt x="296" y="226"/>
                  </a:cubicBezTo>
                  <a:cubicBezTo>
                    <a:pt x="296" y="230"/>
                    <a:pt x="296" y="234"/>
                    <a:pt x="296" y="237"/>
                  </a:cubicBezTo>
                  <a:cubicBezTo>
                    <a:pt x="296" y="246"/>
                    <a:pt x="298" y="253"/>
                    <a:pt x="302" y="259"/>
                  </a:cubicBezTo>
                  <a:cubicBezTo>
                    <a:pt x="305" y="264"/>
                    <a:pt x="312" y="268"/>
                    <a:pt x="318" y="268"/>
                  </a:cubicBezTo>
                  <a:cubicBezTo>
                    <a:pt x="318" y="268"/>
                    <a:pt x="318" y="268"/>
                    <a:pt x="318" y="268"/>
                  </a:cubicBezTo>
                  <a:cubicBezTo>
                    <a:pt x="326" y="268"/>
                    <a:pt x="333" y="264"/>
                    <a:pt x="339" y="259"/>
                  </a:cubicBezTo>
                  <a:cubicBezTo>
                    <a:pt x="354" y="246"/>
                    <a:pt x="399" y="212"/>
                    <a:pt x="399" y="211"/>
                  </a:cubicBezTo>
                  <a:cubicBezTo>
                    <a:pt x="399" y="211"/>
                    <a:pt x="451" y="171"/>
                    <a:pt x="464" y="160"/>
                  </a:cubicBezTo>
                  <a:cubicBezTo>
                    <a:pt x="472" y="153"/>
                    <a:pt x="478" y="144"/>
                    <a:pt x="478" y="134"/>
                  </a:cubicBezTo>
                  <a:cubicBezTo>
                    <a:pt x="478" y="123"/>
                    <a:pt x="472" y="114"/>
                    <a:pt x="46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3">
              <a:extLst>
                <a:ext uri="{FF2B5EF4-FFF2-40B4-BE49-F238E27FC236}">
                  <a16:creationId xmlns:a16="http://schemas.microsoft.com/office/drawing/2014/main" id="{FCF4B0CD-3B48-42F9-9879-2D4A5BCCAF12}"/>
                </a:ext>
              </a:extLst>
            </p:cNvPr>
            <p:cNvSpPr>
              <a:spLocks noChangeAspect="1" noEditPoints="1"/>
            </p:cNvSpPr>
            <p:nvPr/>
          </p:nvSpPr>
          <p:spPr bwMode="auto">
            <a:xfrm>
              <a:off x="1255874" y="4500910"/>
              <a:ext cx="548640" cy="327368"/>
            </a:xfrm>
            <a:custGeom>
              <a:avLst/>
              <a:gdLst>
                <a:gd name="T0" fmla="*/ 2147483647 w 486"/>
                <a:gd name="T1" fmla="*/ 2147483647 h 290"/>
                <a:gd name="T2" fmla="*/ 2147483647 w 486"/>
                <a:gd name="T3" fmla="*/ 2147483647 h 290"/>
                <a:gd name="T4" fmla="*/ 2147483647 w 486"/>
                <a:gd name="T5" fmla="*/ 2147483647 h 290"/>
                <a:gd name="T6" fmla="*/ 2147483647 w 486"/>
                <a:gd name="T7" fmla="*/ 2147483647 h 290"/>
                <a:gd name="T8" fmla="*/ 2147483647 w 486"/>
                <a:gd name="T9" fmla="*/ 2147483647 h 290"/>
                <a:gd name="T10" fmla="*/ 2147483647 w 486"/>
                <a:gd name="T11" fmla="*/ 2147483647 h 290"/>
                <a:gd name="T12" fmla="*/ 2147483647 w 486"/>
                <a:gd name="T13" fmla="*/ 2147483647 h 290"/>
                <a:gd name="T14" fmla="*/ 2147483647 w 486"/>
                <a:gd name="T15" fmla="*/ 2147483647 h 290"/>
                <a:gd name="T16" fmla="*/ 2147483647 w 486"/>
                <a:gd name="T17" fmla="*/ 2147483647 h 290"/>
                <a:gd name="T18" fmla="*/ 2147483647 w 486"/>
                <a:gd name="T19" fmla="*/ 2147483647 h 290"/>
                <a:gd name="T20" fmla="*/ 2147483647 w 486"/>
                <a:gd name="T21" fmla="*/ 2147483647 h 290"/>
                <a:gd name="T22" fmla="*/ 2147483647 w 486"/>
                <a:gd name="T23" fmla="*/ 2147483647 h 290"/>
                <a:gd name="T24" fmla="*/ 2147483647 w 486"/>
                <a:gd name="T25" fmla="*/ 2147483647 h 290"/>
                <a:gd name="T26" fmla="*/ 2147483647 w 486"/>
                <a:gd name="T27" fmla="*/ 2147483647 h 290"/>
                <a:gd name="T28" fmla="*/ 2147483647 w 486"/>
                <a:gd name="T29" fmla="*/ 2147483647 h 290"/>
                <a:gd name="T30" fmla="*/ 2147483647 w 486"/>
                <a:gd name="T31" fmla="*/ 2147483647 h 290"/>
                <a:gd name="T32" fmla="*/ 2147483647 w 486"/>
                <a:gd name="T33" fmla="*/ 2147483647 h 290"/>
                <a:gd name="T34" fmla="*/ 2147483647 w 486"/>
                <a:gd name="T35" fmla="*/ 2147483647 h 290"/>
                <a:gd name="T36" fmla="*/ 2147483647 w 486"/>
                <a:gd name="T37" fmla="*/ 2147483647 h 290"/>
                <a:gd name="T38" fmla="*/ 2147483647 w 486"/>
                <a:gd name="T39" fmla="*/ 2147483647 h 290"/>
                <a:gd name="T40" fmla="*/ 2147483647 w 486"/>
                <a:gd name="T41" fmla="*/ 2147483647 h 290"/>
                <a:gd name="T42" fmla="*/ 2147483647 w 486"/>
                <a:gd name="T43" fmla="*/ 2147483647 h 290"/>
                <a:gd name="T44" fmla="*/ 2147483647 w 486"/>
                <a:gd name="T45" fmla="*/ 2147483647 h 290"/>
                <a:gd name="T46" fmla="*/ 2147483647 w 486"/>
                <a:gd name="T47" fmla="*/ 2147483647 h 290"/>
                <a:gd name="T48" fmla="*/ 2147483647 w 486"/>
                <a:gd name="T49" fmla="*/ 2147483647 h 290"/>
                <a:gd name="T50" fmla="*/ 2147483647 w 486"/>
                <a:gd name="T51" fmla="*/ 2147483647 h 290"/>
                <a:gd name="T52" fmla="*/ 2147483647 w 486"/>
                <a:gd name="T53" fmla="*/ 2147483647 h 290"/>
                <a:gd name="T54" fmla="*/ 2147483647 w 486"/>
                <a:gd name="T55" fmla="*/ 2147483647 h 290"/>
                <a:gd name="T56" fmla="*/ 2147483647 w 486"/>
                <a:gd name="T57" fmla="*/ 2147483647 h 290"/>
                <a:gd name="T58" fmla="*/ 2147483647 w 486"/>
                <a:gd name="T59" fmla="*/ 2147483647 h 290"/>
                <a:gd name="T60" fmla="*/ 2147483647 w 486"/>
                <a:gd name="T61" fmla="*/ 2147483647 h 290"/>
                <a:gd name="T62" fmla="*/ 2147483647 w 486"/>
                <a:gd name="T63" fmla="*/ 2147483647 h 290"/>
                <a:gd name="T64" fmla="*/ 2147483647 w 486"/>
                <a:gd name="T65" fmla="*/ 2147483647 h 290"/>
                <a:gd name="T66" fmla="*/ 2147483647 w 486"/>
                <a:gd name="T67" fmla="*/ 2147483647 h 290"/>
                <a:gd name="T68" fmla="*/ 2147483647 w 486"/>
                <a:gd name="T69" fmla="*/ 2147483647 h 290"/>
                <a:gd name="T70" fmla="*/ 2147483647 w 486"/>
                <a:gd name="T71" fmla="*/ 2147483647 h 290"/>
                <a:gd name="T72" fmla="*/ 2147483647 w 486"/>
                <a:gd name="T73" fmla="*/ 2147483647 h 290"/>
                <a:gd name="T74" fmla="*/ 2147483647 w 486"/>
                <a:gd name="T75" fmla="*/ 2147483647 h 290"/>
                <a:gd name="T76" fmla="*/ 2147483647 w 486"/>
                <a:gd name="T77" fmla="*/ 2147483647 h 290"/>
                <a:gd name="T78" fmla="*/ 2147483647 w 486"/>
                <a:gd name="T79" fmla="*/ 2147483647 h 290"/>
                <a:gd name="T80" fmla="*/ 2147483647 w 486"/>
                <a:gd name="T81" fmla="*/ 2147483647 h 290"/>
                <a:gd name="T82" fmla="*/ 2147483647 w 486"/>
                <a:gd name="T83" fmla="*/ 2147483647 h 290"/>
                <a:gd name="T84" fmla="*/ 2147483647 w 486"/>
                <a:gd name="T85" fmla="*/ 2147483647 h 290"/>
                <a:gd name="T86" fmla="*/ 2147483647 w 486"/>
                <a:gd name="T87" fmla="*/ 2147483647 h 290"/>
                <a:gd name="T88" fmla="*/ 2147483647 w 486"/>
                <a:gd name="T89" fmla="*/ 2147483647 h 290"/>
                <a:gd name="T90" fmla="*/ 2147483647 w 486"/>
                <a:gd name="T91" fmla="*/ 2147483647 h 290"/>
                <a:gd name="T92" fmla="*/ 2147483647 w 486"/>
                <a:gd name="T93" fmla="*/ 2147483647 h 290"/>
                <a:gd name="T94" fmla="*/ 2147483647 w 486"/>
                <a:gd name="T95" fmla="*/ 2147483647 h 290"/>
                <a:gd name="T96" fmla="*/ 2147483647 w 486"/>
                <a:gd name="T97" fmla="*/ 2147483647 h 290"/>
                <a:gd name="T98" fmla="*/ 2147483647 w 486"/>
                <a:gd name="T99" fmla="*/ 2147483647 h 290"/>
                <a:gd name="T100" fmla="*/ 2147483647 w 486"/>
                <a:gd name="T101" fmla="*/ 2147483647 h 290"/>
                <a:gd name="T102" fmla="*/ 2147483647 w 486"/>
                <a:gd name="T103" fmla="*/ 2147483647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86" h="290">
                  <a:moveTo>
                    <a:pt x="408" y="62"/>
                  </a:moveTo>
                  <a:cubicBezTo>
                    <a:pt x="414" y="65"/>
                    <a:pt x="421" y="66"/>
                    <a:pt x="426" y="66"/>
                  </a:cubicBezTo>
                  <a:cubicBezTo>
                    <a:pt x="478" y="66"/>
                    <a:pt x="478" y="66"/>
                    <a:pt x="478" y="66"/>
                  </a:cubicBezTo>
                  <a:cubicBezTo>
                    <a:pt x="483" y="66"/>
                    <a:pt x="486" y="63"/>
                    <a:pt x="486" y="58"/>
                  </a:cubicBezTo>
                  <a:cubicBezTo>
                    <a:pt x="486" y="54"/>
                    <a:pt x="483" y="50"/>
                    <a:pt x="478" y="50"/>
                  </a:cubicBezTo>
                  <a:cubicBezTo>
                    <a:pt x="426" y="50"/>
                    <a:pt x="426" y="50"/>
                    <a:pt x="426" y="50"/>
                  </a:cubicBezTo>
                  <a:cubicBezTo>
                    <a:pt x="424" y="50"/>
                    <a:pt x="418" y="49"/>
                    <a:pt x="413" y="47"/>
                  </a:cubicBezTo>
                  <a:cubicBezTo>
                    <a:pt x="409" y="46"/>
                    <a:pt x="405" y="48"/>
                    <a:pt x="403" y="52"/>
                  </a:cubicBezTo>
                  <a:cubicBezTo>
                    <a:pt x="402" y="56"/>
                    <a:pt x="404" y="61"/>
                    <a:pt x="408" y="62"/>
                  </a:cubicBezTo>
                  <a:close/>
                  <a:moveTo>
                    <a:pt x="478" y="189"/>
                  </a:moveTo>
                  <a:cubicBezTo>
                    <a:pt x="424" y="189"/>
                    <a:pt x="424" y="189"/>
                    <a:pt x="424" y="189"/>
                  </a:cubicBezTo>
                  <a:cubicBezTo>
                    <a:pt x="408" y="173"/>
                    <a:pt x="344" y="106"/>
                    <a:pt x="327" y="91"/>
                  </a:cubicBezTo>
                  <a:cubicBezTo>
                    <a:pt x="311" y="76"/>
                    <a:pt x="276" y="71"/>
                    <a:pt x="245" y="66"/>
                  </a:cubicBezTo>
                  <a:cubicBezTo>
                    <a:pt x="235" y="64"/>
                    <a:pt x="225" y="62"/>
                    <a:pt x="218" y="61"/>
                  </a:cubicBezTo>
                  <a:cubicBezTo>
                    <a:pt x="196" y="56"/>
                    <a:pt x="184" y="68"/>
                    <a:pt x="178" y="74"/>
                  </a:cubicBezTo>
                  <a:cubicBezTo>
                    <a:pt x="177" y="75"/>
                    <a:pt x="176" y="76"/>
                    <a:pt x="176" y="76"/>
                  </a:cubicBezTo>
                  <a:cubicBezTo>
                    <a:pt x="175" y="77"/>
                    <a:pt x="174" y="77"/>
                    <a:pt x="174" y="78"/>
                  </a:cubicBezTo>
                  <a:cubicBezTo>
                    <a:pt x="167" y="83"/>
                    <a:pt x="151" y="98"/>
                    <a:pt x="130" y="99"/>
                  </a:cubicBezTo>
                  <a:cubicBezTo>
                    <a:pt x="126" y="100"/>
                    <a:pt x="118" y="99"/>
                    <a:pt x="117" y="95"/>
                  </a:cubicBezTo>
                  <a:cubicBezTo>
                    <a:pt x="115" y="92"/>
                    <a:pt x="117" y="88"/>
                    <a:pt x="117" y="87"/>
                  </a:cubicBezTo>
                  <a:cubicBezTo>
                    <a:pt x="119" y="86"/>
                    <a:pt x="125" y="82"/>
                    <a:pt x="131" y="78"/>
                  </a:cubicBezTo>
                  <a:cubicBezTo>
                    <a:pt x="140" y="71"/>
                    <a:pt x="154" y="62"/>
                    <a:pt x="164" y="54"/>
                  </a:cubicBezTo>
                  <a:cubicBezTo>
                    <a:pt x="179" y="42"/>
                    <a:pt x="212" y="23"/>
                    <a:pt x="222" y="19"/>
                  </a:cubicBezTo>
                  <a:cubicBezTo>
                    <a:pt x="228" y="17"/>
                    <a:pt x="267" y="19"/>
                    <a:pt x="299" y="22"/>
                  </a:cubicBezTo>
                  <a:cubicBezTo>
                    <a:pt x="313" y="23"/>
                    <a:pt x="329" y="25"/>
                    <a:pt x="332" y="26"/>
                  </a:cubicBezTo>
                  <a:cubicBezTo>
                    <a:pt x="337" y="28"/>
                    <a:pt x="375" y="46"/>
                    <a:pt x="377" y="47"/>
                  </a:cubicBezTo>
                  <a:cubicBezTo>
                    <a:pt x="378" y="48"/>
                    <a:pt x="379" y="48"/>
                    <a:pt x="380" y="48"/>
                  </a:cubicBezTo>
                  <a:cubicBezTo>
                    <a:pt x="385" y="48"/>
                    <a:pt x="388" y="44"/>
                    <a:pt x="388" y="40"/>
                  </a:cubicBezTo>
                  <a:cubicBezTo>
                    <a:pt x="388" y="37"/>
                    <a:pt x="387" y="35"/>
                    <a:pt x="384" y="33"/>
                  </a:cubicBezTo>
                  <a:cubicBezTo>
                    <a:pt x="384" y="33"/>
                    <a:pt x="384" y="33"/>
                    <a:pt x="384" y="33"/>
                  </a:cubicBezTo>
                  <a:cubicBezTo>
                    <a:pt x="384" y="33"/>
                    <a:pt x="384" y="33"/>
                    <a:pt x="384" y="33"/>
                  </a:cubicBezTo>
                  <a:cubicBezTo>
                    <a:pt x="383" y="33"/>
                    <a:pt x="383" y="33"/>
                    <a:pt x="383" y="33"/>
                  </a:cubicBezTo>
                  <a:cubicBezTo>
                    <a:pt x="377" y="30"/>
                    <a:pt x="342" y="13"/>
                    <a:pt x="339" y="11"/>
                  </a:cubicBezTo>
                  <a:cubicBezTo>
                    <a:pt x="337" y="11"/>
                    <a:pt x="333" y="9"/>
                    <a:pt x="301" y="6"/>
                  </a:cubicBezTo>
                  <a:cubicBezTo>
                    <a:pt x="284" y="4"/>
                    <a:pt x="228" y="0"/>
                    <a:pt x="217" y="4"/>
                  </a:cubicBezTo>
                  <a:cubicBezTo>
                    <a:pt x="204" y="9"/>
                    <a:pt x="170" y="29"/>
                    <a:pt x="154" y="42"/>
                  </a:cubicBezTo>
                  <a:cubicBezTo>
                    <a:pt x="151" y="44"/>
                    <a:pt x="148" y="46"/>
                    <a:pt x="145" y="49"/>
                  </a:cubicBezTo>
                  <a:cubicBezTo>
                    <a:pt x="123" y="49"/>
                    <a:pt x="105" y="56"/>
                    <a:pt x="87" y="63"/>
                  </a:cubicBezTo>
                  <a:cubicBezTo>
                    <a:pt x="68" y="71"/>
                    <a:pt x="52" y="77"/>
                    <a:pt x="37" y="77"/>
                  </a:cubicBezTo>
                  <a:cubicBezTo>
                    <a:pt x="8" y="77"/>
                    <a:pt x="8" y="77"/>
                    <a:pt x="8" y="77"/>
                  </a:cubicBezTo>
                  <a:cubicBezTo>
                    <a:pt x="3" y="77"/>
                    <a:pt x="0" y="81"/>
                    <a:pt x="0" y="85"/>
                  </a:cubicBezTo>
                  <a:cubicBezTo>
                    <a:pt x="0" y="90"/>
                    <a:pt x="3" y="93"/>
                    <a:pt x="8" y="93"/>
                  </a:cubicBezTo>
                  <a:cubicBezTo>
                    <a:pt x="37" y="93"/>
                    <a:pt x="37" y="93"/>
                    <a:pt x="37" y="93"/>
                  </a:cubicBezTo>
                  <a:cubicBezTo>
                    <a:pt x="56" y="93"/>
                    <a:pt x="75" y="85"/>
                    <a:pt x="93" y="78"/>
                  </a:cubicBezTo>
                  <a:cubicBezTo>
                    <a:pt x="99" y="75"/>
                    <a:pt x="110" y="70"/>
                    <a:pt x="117" y="68"/>
                  </a:cubicBezTo>
                  <a:cubicBezTo>
                    <a:pt x="112" y="72"/>
                    <a:pt x="108" y="74"/>
                    <a:pt x="107" y="75"/>
                  </a:cubicBezTo>
                  <a:cubicBezTo>
                    <a:pt x="101" y="80"/>
                    <a:pt x="98" y="92"/>
                    <a:pt x="102" y="101"/>
                  </a:cubicBezTo>
                  <a:cubicBezTo>
                    <a:pt x="104" y="106"/>
                    <a:pt x="110" y="117"/>
                    <a:pt x="131" y="115"/>
                  </a:cubicBezTo>
                  <a:cubicBezTo>
                    <a:pt x="158" y="113"/>
                    <a:pt x="177" y="96"/>
                    <a:pt x="184" y="90"/>
                  </a:cubicBezTo>
                  <a:cubicBezTo>
                    <a:pt x="185" y="89"/>
                    <a:pt x="185" y="89"/>
                    <a:pt x="186" y="88"/>
                  </a:cubicBezTo>
                  <a:cubicBezTo>
                    <a:pt x="187" y="88"/>
                    <a:pt x="188" y="87"/>
                    <a:pt x="189" y="86"/>
                  </a:cubicBezTo>
                  <a:cubicBezTo>
                    <a:pt x="194" y="81"/>
                    <a:pt x="201" y="74"/>
                    <a:pt x="214" y="76"/>
                  </a:cubicBezTo>
                  <a:cubicBezTo>
                    <a:pt x="222" y="78"/>
                    <a:pt x="232" y="80"/>
                    <a:pt x="242" y="81"/>
                  </a:cubicBezTo>
                  <a:cubicBezTo>
                    <a:pt x="270" y="86"/>
                    <a:pt x="304" y="91"/>
                    <a:pt x="316" y="103"/>
                  </a:cubicBezTo>
                  <a:cubicBezTo>
                    <a:pt x="332" y="117"/>
                    <a:pt x="395" y="182"/>
                    <a:pt x="412" y="200"/>
                  </a:cubicBezTo>
                  <a:cubicBezTo>
                    <a:pt x="412" y="200"/>
                    <a:pt x="412" y="200"/>
                    <a:pt x="412" y="200"/>
                  </a:cubicBezTo>
                  <a:cubicBezTo>
                    <a:pt x="414" y="202"/>
                    <a:pt x="416" y="204"/>
                    <a:pt x="416" y="204"/>
                  </a:cubicBezTo>
                  <a:cubicBezTo>
                    <a:pt x="418" y="206"/>
                    <a:pt x="420" y="210"/>
                    <a:pt x="420" y="212"/>
                  </a:cubicBezTo>
                  <a:cubicBezTo>
                    <a:pt x="420" y="215"/>
                    <a:pt x="419" y="218"/>
                    <a:pt x="417" y="220"/>
                  </a:cubicBezTo>
                  <a:cubicBezTo>
                    <a:pt x="415" y="222"/>
                    <a:pt x="412" y="223"/>
                    <a:pt x="410" y="223"/>
                  </a:cubicBezTo>
                  <a:cubicBezTo>
                    <a:pt x="407" y="223"/>
                    <a:pt x="404" y="222"/>
                    <a:pt x="402" y="220"/>
                  </a:cubicBezTo>
                  <a:cubicBezTo>
                    <a:pt x="360" y="178"/>
                    <a:pt x="360" y="178"/>
                    <a:pt x="360" y="178"/>
                  </a:cubicBezTo>
                  <a:cubicBezTo>
                    <a:pt x="357" y="175"/>
                    <a:pt x="352" y="175"/>
                    <a:pt x="349" y="178"/>
                  </a:cubicBezTo>
                  <a:cubicBezTo>
                    <a:pt x="347" y="179"/>
                    <a:pt x="347" y="182"/>
                    <a:pt x="347" y="184"/>
                  </a:cubicBezTo>
                  <a:cubicBezTo>
                    <a:pt x="347" y="186"/>
                    <a:pt x="347" y="188"/>
                    <a:pt x="349" y="189"/>
                  </a:cubicBezTo>
                  <a:cubicBezTo>
                    <a:pt x="387" y="227"/>
                    <a:pt x="387" y="227"/>
                    <a:pt x="387" y="227"/>
                  </a:cubicBezTo>
                  <a:cubicBezTo>
                    <a:pt x="389" y="229"/>
                    <a:pt x="390" y="232"/>
                    <a:pt x="390" y="235"/>
                  </a:cubicBezTo>
                  <a:cubicBezTo>
                    <a:pt x="390" y="237"/>
                    <a:pt x="389" y="240"/>
                    <a:pt x="387" y="242"/>
                  </a:cubicBezTo>
                  <a:cubicBezTo>
                    <a:pt x="385" y="244"/>
                    <a:pt x="382" y="245"/>
                    <a:pt x="379" y="245"/>
                  </a:cubicBezTo>
                  <a:cubicBezTo>
                    <a:pt x="377" y="245"/>
                    <a:pt x="374" y="244"/>
                    <a:pt x="372" y="242"/>
                  </a:cubicBezTo>
                  <a:cubicBezTo>
                    <a:pt x="327" y="197"/>
                    <a:pt x="327" y="197"/>
                    <a:pt x="327" y="197"/>
                  </a:cubicBezTo>
                  <a:cubicBezTo>
                    <a:pt x="324" y="194"/>
                    <a:pt x="319" y="194"/>
                    <a:pt x="316" y="197"/>
                  </a:cubicBezTo>
                  <a:cubicBezTo>
                    <a:pt x="315" y="199"/>
                    <a:pt x="314" y="201"/>
                    <a:pt x="314" y="203"/>
                  </a:cubicBezTo>
                  <a:cubicBezTo>
                    <a:pt x="314" y="205"/>
                    <a:pt x="315" y="207"/>
                    <a:pt x="316" y="209"/>
                  </a:cubicBezTo>
                  <a:cubicBezTo>
                    <a:pt x="353" y="246"/>
                    <a:pt x="353" y="246"/>
                    <a:pt x="353" y="246"/>
                  </a:cubicBezTo>
                  <a:cubicBezTo>
                    <a:pt x="355" y="248"/>
                    <a:pt x="356" y="251"/>
                    <a:pt x="356" y="253"/>
                  </a:cubicBezTo>
                  <a:cubicBezTo>
                    <a:pt x="356" y="256"/>
                    <a:pt x="355" y="259"/>
                    <a:pt x="353" y="261"/>
                  </a:cubicBezTo>
                  <a:cubicBezTo>
                    <a:pt x="351" y="263"/>
                    <a:pt x="348" y="264"/>
                    <a:pt x="346" y="264"/>
                  </a:cubicBezTo>
                  <a:cubicBezTo>
                    <a:pt x="343" y="264"/>
                    <a:pt x="340" y="263"/>
                    <a:pt x="338" y="261"/>
                  </a:cubicBezTo>
                  <a:cubicBezTo>
                    <a:pt x="305" y="227"/>
                    <a:pt x="305" y="227"/>
                    <a:pt x="305" y="227"/>
                  </a:cubicBezTo>
                  <a:cubicBezTo>
                    <a:pt x="301" y="224"/>
                    <a:pt x="296" y="224"/>
                    <a:pt x="293" y="227"/>
                  </a:cubicBezTo>
                  <a:cubicBezTo>
                    <a:pt x="292" y="229"/>
                    <a:pt x="291" y="231"/>
                    <a:pt x="291" y="233"/>
                  </a:cubicBezTo>
                  <a:cubicBezTo>
                    <a:pt x="291" y="235"/>
                    <a:pt x="292" y="237"/>
                    <a:pt x="293" y="238"/>
                  </a:cubicBezTo>
                  <a:cubicBezTo>
                    <a:pt x="313" y="258"/>
                    <a:pt x="313" y="258"/>
                    <a:pt x="313" y="258"/>
                  </a:cubicBezTo>
                  <a:cubicBezTo>
                    <a:pt x="314" y="259"/>
                    <a:pt x="314" y="261"/>
                    <a:pt x="314" y="263"/>
                  </a:cubicBezTo>
                  <a:cubicBezTo>
                    <a:pt x="314" y="266"/>
                    <a:pt x="313" y="269"/>
                    <a:pt x="311" y="271"/>
                  </a:cubicBezTo>
                  <a:cubicBezTo>
                    <a:pt x="309" y="273"/>
                    <a:pt x="306" y="274"/>
                    <a:pt x="304" y="274"/>
                  </a:cubicBezTo>
                  <a:cubicBezTo>
                    <a:pt x="301" y="274"/>
                    <a:pt x="298" y="273"/>
                    <a:pt x="296" y="271"/>
                  </a:cubicBezTo>
                  <a:cubicBezTo>
                    <a:pt x="283" y="258"/>
                    <a:pt x="283" y="258"/>
                    <a:pt x="283" y="258"/>
                  </a:cubicBezTo>
                  <a:cubicBezTo>
                    <a:pt x="283" y="258"/>
                    <a:pt x="280" y="255"/>
                    <a:pt x="274" y="251"/>
                  </a:cubicBezTo>
                  <a:cubicBezTo>
                    <a:pt x="278" y="247"/>
                    <a:pt x="278" y="247"/>
                    <a:pt x="278" y="247"/>
                  </a:cubicBezTo>
                  <a:cubicBezTo>
                    <a:pt x="283" y="242"/>
                    <a:pt x="286" y="235"/>
                    <a:pt x="286" y="228"/>
                  </a:cubicBezTo>
                  <a:cubicBezTo>
                    <a:pt x="286" y="221"/>
                    <a:pt x="283" y="213"/>
                    <a:pt x="278" y="208"/>
                  </a:cubicBezTo>
                  <a:cubicBezTo>
                    <a:pt x="272" y="203"/>
                    <a:pt x="265" y="200"/>
                    <a:pt x="258" y="200"/>
                  </a:cubicBezTo>
                  <a:cubicBezTo>
                    <a:pt x="258" y="200"/>
                    <a:pt x="258" y="200"/>
                    <a:pt x="258" y="200"/>
                  </a:cubicBezTo>
                  <a:cubicBezTo>
                    <a:pt x="258" y="200"/>
                    <a:pt x="258" y="200"/>
                    <a:pt x="258" y="200"/>
                  </a:cubicBezTo>
                  <a:cubicBezTo>
                    <a:pt x="258" y="193"/>
                    <a:pt x="255" y="185"/>
                    <a:pt x="249" y="180"/>
                  </a:cubicBezTo>
                  <a:cubicBezTo>
                    <a:pt x="244" y="175"/>
                    <a:pt x="237" y="172"/>
                    <a:pt x="230" y="172"/>
                  </a:cubicBezTo>
                  <a:cubicBezTo>
                    <a:pt x="226" y="172"/>
                    <a:pt x="223" y="173"/>
                    <a:pt x="219" y="174"/>
                  </a:cubicBezTo>
                  <a:cubicBezTo>
                    <a:pt x="218" y="169"/>
                    <a:pt x="216" y="165"/>
                    <a:pt x="212" y="161"/>
                  </a:cubicBezTo>
                  <a:cubicBezTo>
                    <a:pt x="207" y="156"/>
                    <a:pt x="199" y="153"/>
                    <a:pt x="192" y="153"/>
                  </a:cubicBezTo>
                  <a:cubicBezTo>
                    <a:pt x="185" y="153"/>
                    <a:pt x="178" y="156"/>
                    <a:pt x="173" y="161"/>
                  </a:cubicBezTo>
                  <a:cubicBezTo>
                    <a:pt x="142" y="192"/>
                    <a:pt x="142" y="192"/>
                    <a:pt x="142" y="192"/>
                  </a:cubicBezTo>
                  <a:cubicBezTo>
                    <a:pt x="140" y="188"/>
                    <a:pt x="138" y="185"/>
                    <a:pt x="135" y="182"/>
                  </a:cubicBezTo>
                  <a:cubicBezTo>
                    <a:pt x="130" y="176"/>
                    <a:pt x="123" y="173"/>
                    <a:pt x="116" y="173"/>
                  </a:cubicBezTo>
                  <a:cubicBezTo>
                    <a:pt x="108" y="173"/>
                    <a:pt x="101" y="176"/>
                    <a:pt x="96" y="182"/>
                  </a:cubicBezTo>
                  <a:cubicBezTo>
                    <a:pt x="70" y="208"/>
                    <a:pt x="70" y="208"/>
                    <a:pt x="70" y="208"/>
                  </a:cubicBezTo>
                  <a:cubicBezTo>
                    <a:pt x="65" y="213"/>
                    <a:pt x="62" y="218"/>
                    <a:pt x="62" y="224"/>
                  </a:cubicBezTo>
                  <a:cubicBezTo>
                    <a:pt x="8" y="224"/>
                    <a:pt x="8" y="224"/>
                    <a:pt x="8" y="224"/>
                  </a:cubicBezTo>
                  <a:cubicBezTo>
                    <a:pt x="3" y="224"/>
                    <a:pt x="0" y="228"/>
                    <a:pt x="0" y="232"/>
                  </a:cubicBezTo>
                  <a:cubicBezTo>
                    <a:pt x="0" y="237"/>
                    <a:pt x="3" y="240"/>
                    <a:pt x="8" y="240"/>
                  </a:cubicBezTo>
                  <a:cubicBezTo>
                    <a:pt x="64" y="240"/>
                    <a:pt x="64" y="240"/>
                    <a:pt x="64" y="240"/>
                  </a:cubicBezTo>
                  <a:cubicBezTo>
                    <a:pt x="66" y="243"/>
                    <a:pt x="67" y="245"/>
                    <a:pt x="70" y="247"/>
                  </a:cubicBezTo>
                  <a:cubicBezTo>
                    <a:pt x="75" y="253"/>
                    <a:pt x="82" y="256"/>
                    <a:pt x="89" y="256"/>
                  </a:cubicBezTo>
                  <a:cubicBezTo>
                    <a:pt x="89" y="256"/>
                    <a:pt x="89" y="256"/>
                    <a:pt x="89" y="256"/>
                  </a:cubicBezTo>
                  <a:cubicBezTo>
                    <a:pt x="96" y="256"/>
                    <a:pt x="104" y="253"/>
                    <a:pt x="109" y="247"/>
                  </a:cubicBezTo>
                  <a:cubicBezTo>
                    <a:pt x="109" y="247"/>
                    <a:pt x="109" y="247"/>
                    <a:pt x="109" y="247"/>
                  </a:cubicBezTo>
                  <a:cubicBezTo>
                    <a:pt x="111" y="246"/>
                    <a:pt x="111" y="246"/>
                    <a:pt x="111" y="246"/>
                  </a:cubicBezTo>
                  <a:cubicBezTo>
                    <a:pt x="112" y="249"/>
                    <a:pt x="114" y="253"/>
                    <a:pt x="117" y="256"/>
                  </a:cubicBezTo>
                  <a:cubicBezTo>
                    <a:pt x="123" y="261"/>
                    <a:pt x="130" y="264"/>
                    <a:pt x="137" y="264"/>
                  </a:cubicBezTo>
                  <a:cubicBezTo>
                    <a:pt x="137" y="264"/>
                    <a:pt x="137" y="264"/>
                    <a:pt x="137" y="264"/>
                  </a:cubicBezTo>
                  <a:cubicBezTo>
                    <a:pt x="144" y="264"/>
                    <a:pt x="151" y="261"/>
                    <a:pt x="157" y="256"/>
                  </a:cubicBezTo>
                  <a:cubicBezTo>
                    <a:pt x="159" y="254"/>
                    <a:pt x="159" y="254"/>
                    <a:pt x="159" y="254"/>
                  </a:cubicBezTo>
                  <a:cubicBezTo>
                    <a:pt x="160" y="257"/>
                    <a:pt x="162" y="261"/>
                    <a:pt x="165" y="264"/>
                  </a:cubicBezTo>
                  <a:cubicBezTo>
                    <a:pt x="171" y="269"/>
                    <a:pt x="178" y="272"/>
                    <a:pt x="185" y="272"/>
                  </a:cubicBezTo>
                  <a:cubicBezTo>
                    <a:pt x="185" y="272"/>
                    <a:pt x="185" y="272"/>
                    <a:pt x="185" y="272"/>
                  </a:cubicBezTo>
                  <a:cubicBezTo>
                    <a:pt x="192" y="272"/>
                    <a:pt x="199" y="269"/>
                    <a:pt x="205" y="264"/>
                  </a:cubicBezTo>
                  <a:cubicBezTo>
                    <a:pt x="205" y="264"/>
                    <a:pt x="205" y="264"/>
                    <a:pt x="205" y="264"/>
                  </a:cubicBezTo>
                  <a:cubicBezTo>
                    <a:pt x="205" y="263"/>
                    <a:pt x="205" y="263"/>
                    <a:pt x="205" y="263"/>
                  </a:cubicBezTo>
                  <a:cubicBezTo>
                    <a:pt x="207" y="267"/>
                    <a:pt x="209" y="271"/>
                    <a:pt x="212" y="274"/>
                  </a:cubicBezTo>
                  <a:cubicBezTo>
                    <a:pt x="217" y="279"/>
                    <a:pt x="224" y="282"/>
                    <a:pt x="232" y="282"/>
                  </a:cubicBezTo>
                  <a:cubicBezTo>
                    <a:pt x="232" y="282"/>
                    <a:pt x="232" y="282"/>
                    <a:pt x="232" y="282"/>
                  </a:cubicBezTo>
                  <a:cubicBezTo>
                    <a:pt x="239" y="282"/>
                    <a:pt x="246" y="279"/>
                    <a:pt x="251" y="274"/>
                  </a:cubicBezTo>
                  <a:cubicBezTo>
                    <a:pt x="251" y="274"/>
                    <a:pt x="251" y="274"/>
                    <a:pt x="251" y="274"/>
                  </a:cubicBezTo>
                  <a:cubicBezTo>
                    <a:pt x="263" y="262"/>
                    <a:pt x="263" y="262"/>
                    <a:pt x="263" y="262"/>
                  </a:cubicBezTo>
                  <a:cubicBezTo>
                    <a:pt x="266" y="264"/>
                    <a:pt x="268" y="266"/>
                    <a:pt x="269" y="267"/>
                  </a:cubicBezTo>
                  <a:cubicBezTo>
                    <a:pt x="271" y="269"/>
                    <a:pt x="272" y="270"/>
                    <a:pt x="272" y="270"/>
                  </a:cubicBezTo>
                  <a:cubicBezTo>
                    <a:pt x="285" y="282"/>
                    <a:pt x="285" y="282"/>
                    <a:pt x="285" y="282"/>
                  </a:cubicBezTo>
                  <a:cubicBezTo>
                    <a:pt x="290" y="287"/>
                    <a:pt x="297" y="290"/>
                    <a:pt x="304" y="290"/>
                  </a:cubicBezTo>
                  <a:cubicBezTo>
                    <a:pt x="304" y="290"/>
                    <a:pt x="304" y="290"/>
                    <a:pt x="304" y="290"/>
                  </a:cubicBezTo>
                  <a:cubicBezTo>
                    <a:pt x="310" y="290"/>
                    <a:pt x="317" y="287"/>
                    <a:pt x="322" y="282"/>
                  </a:cubicBezTo>
                  <a:cubicBezTo>
                    <a:pt x="325" y="280"/>
                    <a:pt x="327" y="277"/>
                    <a:pt x="328" y="273"/>
                  </a:cubicBezTo>
                  <a:cubicBezTo>
                    <a:pt x="333" y="278"/>
                    <a:pt x="340" y="280"/>
                    <a:pt x="346" y="280"/>
                  </a:cubicBezTo>
                  <a:cubicBezTo>
                    <a:pt x="353" y="280"/>
                    <a:pt x="359" y="277"/>
                    <a:pt x="365" y="272"/>
                  </a:cubicBezTo>
                  <a:cubicBezTo>
                    <a:pt x="368" y="269"/>
                    <a:pt x="370" y="264"/>
                    <a:pt x="371" y="260"/>
                  </a:cubicBezTo>
                  <a:cubicBezTo>
                    <a:pt x="374" y="261"/>
                    <a:pt x="377" y="261"/>
                    <a:pt x="379" y="261"/>
                  </a:cubicBezTo>
                  <a:cubicBezTo>
                    <a:pt x="386" y="261"/>
                    <a:pt x="393" y="258"/>
                    <a:pt x="398" y="253"/>
                  </a:cubicBezTo>
                  <a:cubicBezTo>
                    <a:pt x="402" y="249"/>
                    <a:pt x="405" y="244"/>
                    <a:pt x="406" y="239"/>
                  </a:cubicBezTo>
                  <a:cubicBezTo>
                    <a:pt x="407" y="239"/>
                    <a:pt x="408" y="239"/>
                    <a:pt x="410" y="239"/>
                  </a:cubicBezTo>
                  <a:cubicBezTo>
                    <a:pt x="416" y="239"/>
                    <a:pt x="423" y="236"/>
                    <a:pt x="428" y="231"/>
                  </a:cubicBezTo>
                  <a:cubicBezTo>
                    <a:pt x="434" y="226"/>
                    <a:pt x="436" y="219"/>
                    <a:pt x="436" y="212"/>
                  </a:cubicBezTo>
                  <a:cubicBezTo>
                    <a:pt x="436" y="210"/>
                    <a:pt x="436" y="208"/>
                    <a:pt x="435" y="205"/>
                  </a:cubicBezTo>
                  <a:cubicBezTo>
                    <a:pt x="478" y="205"/>
                    <a:pt x="478" y="205"/>
                    <a:pt x="478" y="205"/>
                  </a:cubicBezTo>
                  <a:cubicBezTo>
                    <a:pt x="483" y="205"/>
                    <a:pt x="486" y="202"/>
                    <a:pt x="486" y="197"/>
                  </a:cubicBezTo>
                  <a:cubicBezTo>
                    <a:pt x="486" y="193"/>
                    <a:pt x="483" y="189"/>
                    <a:pt x="478" y="189"/>
                  </a:cubicBezTo>
                  <a:close/>
                  <a:moveTo>
                    <a:pt x="98" y="236"/>
                  </a:moveTo>
                  <a:cubicBezTo>
                    <a:pt x="98" y="236"/>
                    <a:pt x="98" y="236"/>
                    <a:pt x="98" y="236"/>
                  </a:cubicBezTo>
                  <a:cubicBezTo>
                    <a:pt x="95" y="238"/>
                    <a:pt x="92" y="240"/>
                    <a:pt x="89" y="240"/>
                  </a:cubicBezTo>
                  <a:cubicBezTo>
                    <a:pt x="86" y="240"/>
                    <a:pt x="83" y="238"/>
                    <a:pt x="81" y="236"/>
                  </a:cubicBezTo>
                  <a:cubicBezTo>
                    <a:pt x="78" y="234"/>
                    <a:pt x="77" y="231"/>
                    <a:pt x="77" y="228"/>
                  </a:cubicBezTo>
                  <a:cubicBezTo>
                    <a:pt x="77" y="225"/>
                    <a:pt x="78" y="222"/>
                    <a:pt x="81" y="219"/>
                  </a:cubicBezTo>
                  <a:cubicBezTo>
                    <a:pt x="107" y="193"/>
                    <a:pt x="107" y="193"/>
                    <a:pt x="107" y="193"/>
                  </a:cubicBezTo>
                  <a:cubicBezTo>
                    <a:pt x="109" y="191"/>
                    <a:pt x="112" y="189"/>
                    <a:pt x="116" y="189"/>
                  </a:cubicBezTo>
                  <a:cubicBezTo>
                    <a:pt x="119" y="189"/>
                    <a:pt x="122" y="191"/>
                    <a:pt x="124" y="193"/>
                  </a:cubicBezTo>
                  <a:cubicBezTo>
                    <a:pt x="126" y="195"/>
                    <a:pt x="127" y="198"/>
                    <a:pt x="127" y="201"/>
                  </a:cubicBezTo>
                  <a:cubicBezTo>
                    <a:pt x="127" y="204"/>
                    <a:pt x="126" y="207"/>
                    <a:pt x="124" y="210"/>
                  </a:cubicBezTo>
                  <a:lnTo>
                    <a:pt x="98" y="236"/>
                  </a:lnTo>
                  <a:close/>
                  <a:moveTo>
                    <a:pt x="165" y="225"/>
                  </a:moveTo>
                  <a:cubicBezTo>
                    <a:pt x="145" y="245"/>
                    <a:pt x="145" y="245"/>
                    <a:pt x="145" y="245"/>
                  </a:cubicBezTo>
                  <a:cubicBezTo>
                    <a:pt x="143" y="247"/>
                    <a:pt x="140" y="248"/>
                    <a:pt x="137" y="248"/>
                  </a:cubicBezTo>
                  <a:cubicBezTo>
                    <a:pt x="134" y="248"/>
                    <a:pt x="131" y="247"/>
                    <a:pt x="129" y="245"/>
                  </a:cubicBezTo>
                  <a:cubicBezTo>
                    <a:pt x="126" y="242"/>
                    <a:pt x="125" y="239"/>
                    <a:pt x="125" y="236"/>
                  </a:cubicBezTo>
                  <a:cubicBezTo>
                    <a:pt x="125" y="233"/>
                    <a:pt x="126" y="230"/>
                    <a:pt x="129" y="228"/>
                  </a:cubicBezTo>
                  <a:cubicBezTo>
                    <a:pt x="184" y="172"/>
                    <a:pt x="184" y="172"/>
                    <a:pt x="184" y="172"/>
                  </a:cubicBezTo>
                  <a:cubicBezTo>
                    <a:pt x="186" y="170"/>
                    <a:pt x="189" y="169"/>
                    <a:pt x="192" y="169"/>
                  </a:cubicBezTo>
                  <a:cubicBezTo>
                    <a:pt x="195" y="169"/>
                    <a:pt x="198" y="170"/>
                    <a:pt x="201" y="172"/>
                  </a:cubicBezTo>
                  <a:cubicBezTo>
                    <a:pt x="203" y="175"/>
                    <a:pt x="204" y="178"/>
                    <a:pt x="204" y="181"/>
                  </a:cubicBezTo>
                  <a:cubicBezTo>
                    <a:pt x="204" y="184"/>
                    <a:pt x="203" y="187"/>
                    <a:pt x="201" y="189"/>
                  </a:cubicBezTo>
                  <a:cubicBezTo>
                    <a:pt x="165" y="224"/>
                    <a:pt x="165" y="224"/>
                    <a:pt x="165" y="224"/>
                  </a:cubicBezTo>
                  <a:cubicBezTo>
                    <a:pt x="165" y="224"/>
                    <a:pt x="165" y="225"/>
                    <a:pt x="165" y="225"/>
                  </a:cubicBezTo>
                  <a:close/>
                  <a:moveTo>
                    <a:pt x="212" y="234"/>
                  </a:moveTo>
                  <a:cubicBezTo>
                    <a:pt x="194" y="253"/>
                    <a:pt x="194" y="253"/>
                    <a:pt x="194" y="253"/>
                  </a:cubicBezTo>
                  <a:cubicBezTo>
                    <a:pt x="194" y="253"/>
                    <a:pt x="194" y="253"/>
                    <a:pt x="194" y="253"/>
                  </a:cubicBezTo>
                  <a:cubicBezTo>
                    <a:pt x="191" y="255"/>
                    <a:pt x="188" y="256"/>
                    <a:pt x="185" y="256"/>
                  </a:cubicBezTo>
                  <a:cubicBezTo>
                    <a:pt x="182" y="256"/>
                    <a:pt x="179" y="255"/>
                    <a:pt x="177" y="253"/>
                  </a:cubicBezTo>
                  <a:cubicBezTo>
                    <a:pt x="174" y="250"/>
                    <a:pt x="173" y="247"/>
                    <a:pt x="173" y="244"/>
                  </a:cubicBezTo>
                  <a:cubicBezTo>
                    <a:pt x="173" y="241"/>
                    <a:pt x="174" y="238"/>
                    <a:pt x="177" y="236"/>
                  </a:cubicBezTo>
                  <a:cubicBezTo>
                    <a:pt x="212" y="201"/>
                    <a:pt x="212" y="201"/>
                    <a:pt x="212" y="201"/>
                  </a:cubicBezTo>
                  <a:cubicBezTo>
                    <a:pt x="212" y="200"/>
                    <a:pt x="212" y="200"/>
                    <a:pt x="212" y="200"/>
                  </a:cubicBezTo>
                  <a:cubicBezTo>
                    <a:pt x="221" y="191"/>
                    <a:pt x="221" y="191"/>
                    <a:pt x="221" y="191"/>
                  </a:cubicBezTo>
                  <a:cubicBezTo>
                    <a:pt x="224" y="189"/>
                    <a:pt x="227" y="188"/>
                    <a:pt x="230" y="188"/>
                  </a:cubicBezTo>
                  <a:cubicBezTo>
                    <a:pt x="233" y="188"/>
                    <a:pt x="236" y="189"/>
                    <a:pt x="238" y="191"/>
                  </a:cubicBezTo>
                  <a:cubicBezTo>
                    <a:pt x="240" y="194"/>
                    <a:pt x="242" y="197"/>
                    <a:pt x="242" y="200"/>
                  </a:cubicBezTo>
                  <a:cubicBezTo>
                    <a:pt x="242" y="203"/>
                    <a:pt x="240" y="206"/>
                    <a:pt x="238" y="208"/>
                  </a:cubicBezTo>
                  <a:cubicBezTo>
                    <a:pt x="212" y="234"/>
                    <a:pt x="212" y="234"/>
                    <a:pt x="212" y="234"/>
                  </a:cubicBezTo>
                  <a:cubicBezTo>
                    <a:pt x="212" y="234"/>
                    <a:pt x="212" y="234"/>
                    <a:pt x="212" y="234"/>
                  </a:cubicBezTo>
                  <a:close/>
                  <a:moveTo>
                    <a:pt x="266" y="236"/>
                  </a:moveTo>
                  <a:cubicBezTo>
                    <a:pt x="240" y="262"/>
                    <a:pt x="240" y="262"/>
                    <a:pt x="240" y="262"/>
                  </a:cubicBezTo>
                  <a:cubicBezTo>
                    <a:pt x="238" y="265"/>
                    <a:pt x="235" y="266"/>
                    <a:pt x="232" y="266"/>
                  </a:cubicBezTo>
                  <a:cubicBezTo>
                    <a:pt x="229" y="266"/>
                    <a:pt x="226" y="265"/>
                    <a:pt x="223" y="262"/>
                  </a:cubicBezTo>
                  <a:cubicBezTo>
                    <a:pt x="221" y="260"/>
                    <a:pt x="220" y="257"/>
                    <a:pt x="220" y="254"/>
                  </a:cubicBezTo>
                  <a:cubicBezTo>
                    <a:pt x="220" y="251"/>
                    <a:pt x="221" y="248"/>
                    <a:pt x="223" y="246"/>
                  </a:cubicBezTo>
                  <a:cubicBezTo>
                    <a:pt x="249" y="219"/>
                    <a:pt x="249" y="219"/>
                    <a:pt x="249" y="219"/>
                  </a:cubicBezTo>
                  <a:cubicBezTo>
                    <a:pt x="249" y="219"/>
                    <a:pt x="249" y="219"/>
                    <a:pt x="249" y="219"/>
                  </a:cubicBezTo>
                  <a:cubicBezTo>
                    <a:pt x="250" y="219"/>
                    <a:pt x="250" y="219"/>
                    <a:pt x="250" y="219"/>
                  </a:cubicBezTo>
                  <a:cubicBezTo>
                    <a:pt x="252" y="217"/>
                    <a:pt x="255" y="216"/>
                    <a:pt x="258" y="216"/>
                  </a:cubicBezTo>
                  <a:cubicBezTo>
                    <a:pt x="261" y="216"/>
                    <a:pt x="264" y="217"/>
                    <a:pt x="266" y="219"/>
                  </a:cubicBezTo>
                  <a:cubicBezTo>
                    <a:pt x="269" y="222"/>
                    <a:pt x="270" y="225"/>
                    <a:pt x="270" y="228"/>
                  </a:cubicBezTo>
                  <a:cubicBezTo>
                    <a:pt x="270" y="231"/>
                    <a:pt x="269" y="234"/>
                    <a:pt x="266" y="2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3">
              <a:extLst>
                <a:ext uri="{FF2B5EF4-FFF2-40B4-BE49-F238E27FC236}">
                  <a16:creationId xmlns:a16="http://schemas.microsoft.com/office/drawing/2014/main" id="{CBDE087C-5DEA-462D-94CE-DF3E2DC815A6}"/>
                </a:ext>
              </a:extLst>
            </p:cNvPr>
            <p:cNvSpPr>
              <a:spLocks noChangeAspect="1" noEditPoints="1"/>
            </p:cNvSpPr>
            <p:nvPr/>
          </p:nvSpPr>
          <p:spPr bwMode="auto">
            <a:xfrm>
              <a:off x="2086399" y="4868652"/>
              <a:ext cx="399946" cy="463422"/>
            </a:xfrm>
            <a:custGeom>
              <a:avLst/>
              <a:gdLst>
                <a:gd name="T0" fmla="*/ 2147483647 w 355"/>
                <a:gd name="T1" fmla="*/ 2147483647 h 411"/>
                <a:gd name="T2" fmla="*/ 2147483647 w 355"/>
                <a:gd name="T3" fmla="*/ 2147483647 h 411"/>
                <a:gd name="T4" fmla="*/ 2147483647 w 355"/>
                <a:gd name="T5" fmla="*/ 2147483647 h 411"/>
                <a:gd name="T6" fmla="*/ 2147483647 w 355"/>
                <a:gd name="T7" fmla="*/ 2147483647 h 411"/>
                <a:gd name="T8" fmla="*/ 2147483647 w 355"/>
                <a:gd name="T9" fmla="*/ 2147483647 h 411"/>
                <a:gd name="T10" fmla="*/ 2147483647 w 355"/>
                <a:gd name="T11" fmla="*/ 2147483647 h 411"/>
                <a:gd name="T12" fmla="*/ 2147483647 w 355"/>
                <a:gd name="T13" fmla="*/ 2147483647 h 411"/>
                <a:gd name="T14" fmla="*/ 2147483647 w 355"/>
                <a:gd name="T15" fmla="*/ 2147483647 h 411"/>
                <a:gd name="T16" fmla="*/ 2147483647 w 355"/>
                <a:gd name="T17" fmla="*/ 2147483647 h 411"/>
                <a:gd name="T18" fmla="*/ 2147483647 w 355"/>
                <a:gd name="T19" fmla="*/ 2147483647 h 411"/>
                <a:gd name="T20" fmla="*/ 2147483647 w 355"/>
                <a:gd name="T21" fmla="*/ 2147483647 h 411"/>
                <a:gd name="T22" fmla="*/ 2147483647 w 355"/>
                <a:gd name="T23" fmla="*/ 2147483647 h 411"/>
                <a:gd name="T24" fmla="*/ 2147483647 w 355"/>
                <a:gd name="T25" fmla="*/ 2147483647 h 411"/>
                <a:gd name="T26" fmla="*/ 2147483647 w 355"/>
                <a:gd name="T27" fmla="*/ 2147483647 h 411"/>
                <a:gd name="T28" fmla="*/ 2147483647 w 355"/>
                <a:gd name="T29" fmla="*/ 2147483647 h 411"/>
                <a:gd name="T30" fmla="*/ 2147483647 w 355"/>
                <a:gd name="T31" fmla="*/ 2147483647 h 411"/>
                <a:gd name="T32" fmla="*/ 2147483647 w 355"/>
                <a:gd name="T33" fmla="*/ 2147483647 h 411"/>
                <a:gd name="T34" fmla="*/ 2147483647 w 355"/>
                <a:gd name="T35" fmla="*/ 2147483647 h 411"/>
                <a:gd name="T36" fmla="*/ 2147483647 w 355"/>
                <a:gd name="T37" fmla="*/ 2147483647 h 411"/>
                <a:gd name="T38" fmla="*/ 2147483647 w 355"/>
                <a:gd name="T39" fmla="*/ 2147483647 h 411"/>
                <a:gd name="T40" fmla="*/ 2147483647 w 355"/>
                <a:gd name="T41" fmla="*/ 2147483647 h 411"/>
                <a:gd name="T42" fmla="*/ 2147483647 w 355"/>
                <a:gd name="T43" fmla="*/ 2147483647 h 411"/>
                <a:gd name="T44" fmla="*/ 2147483647 w 355"/>
                <a:gd name="T45" fmla="*/ 2147483647 h 411"/>
                <a:gd name="T46" fmla="*/ 2147483647 w 355"/>
                <a:gd name="T47" fmla="*/ 2147483647 h 411"/>
                <a:gd name="T48" fmla="*/ 2147483647 w 355"/>
                <a:gd name="T49" fmla="*/ 2147483647 h 411"/>
                <a:gd name="T50" fmla="*/ 2147483647 w 355"/>
                <a:gd name="T51" fmla="*/ 2147483647 h 411"/>
                <a:gd name="T52" fmla="*/ 2147483647 w 355"/>
                <a:gd name="T53" fmla="*/ 2147483647 h 411"/>
                <a:gd name="T54" fmla="*/ 2147483647 w 355"/>
                <a:gd name="T55" fmla="*/ 2147483647 h 411"/>
                <a:gd name="T56" fmla="*/ 2147483647 w 355"/>
                <a:gd name="T57" fmla="*/ 2147483647 h 411"/>
                <a:gd name="T58" fmla="*/ 2147483647 w 355"/>
                <a:gd name="T59" fmla="*/ 2147483647 h 411"/>
                <a:gd name="T60" fmla="*/ 2147483647 w 355"/>
                <a:gd name="T61" fmla="*/ 2147483647 h 411"/>
                <a:gd name="T62" fmla="*/ 2147483647 w 355"/>
                <a:gd name="T63" fmla="*/ 2147483647 h 411"/>
                <a:gd name="T64" fmla="*/ 2147483647 w 355"/>
                <a:gd name="T65" fmla="*/ 2147483647 h 411"/>
                <a:gd name="T66" fmla="*/ 2147483647 w 355"/>
                <a:gd name="T67" fmla="*/ 2147483647 h 411"/>
                <a:gd name="T68" fmla="*/ 2147483647 w 355"/>
                <a:gd name="T69" fmla="*/ 2147483647 h 411"/>
                <a:gd name="T70" fmla="*/ 2147483647 w 355"/>
                <a:gd name="T71" fmla="*/ 2147483647 h 411"/>
                <a:gd name="T72" fmla="*/ 2147483647 w 355"/>
                <a:gd name="T73" fmla="*/ 2147483647 h 411"/>
                <a:gd name="T74" fmla="*/ 2147483647 w 355"/>
                <a:gd name="T75" fmla="*/ 2147483647 h 411"/>
                <a:gd name="T76" fmla="*/ 2147483647 w 355"/>
                <a:gd name="T77" fmla="*/ 2147483647 h 411"/>
                <a:gd name="T78" fmla="*/ 2147483647 w 355"/>
                <a:gd name="T79" fmla="*/ 2147483647 h 411"/>
                <a:gd name="T80" fmla="*/ 2147483647 w 355"/>
                <a:gd name="T81" fmla="*/ 2147483647 h 411"/>
                <a:gd name="T82" fmla="*/ 2147483647 w 355"/>
                <a:gd name="T83" fmla="*/ 2147483647 h 411"/>
                <a:gd name="T84" fmla="*/ 2147483647 w 355"/>
                <a:gd name="T85" fmla="*/ 2147483647 h 411"/>
                <a:gd name="T86" fmla="*/ 2147483647 w 355"/>
                <a:gd name="T87" fmla="*/ 2147483647 h 411"/>
                <a:gd name="T88" fmla="*/ 2147483647 w 355"/>
                <a:gd name="T89" fmla="*/ 2147483647 h 411"/>
                <a:gd name="T90" fmla="*/ 2147483647 w 355"/>
                <a:gd name="T91" fmla="*/ 2147483647 h 411"/>
                <a:gd name="T92" fmla="*/ 2147483647 w 355"/>
                <a:gd name="T93" fmla="*/ 2147483647 h 411"/>
                <a:gd name="T94" fmla="*/ 2147483647 w 355"/>
                <a:gd name="T95" fmla="*/ 2147483647 h 411"/>
                <a:gd name="T96" fmla="*/ 2147483647 w 355"/>
                <a:gd name="T97" fmla="*/ 2147483647 h 411"/>
                <a:gd name="T98" fmla="*/ 2147483647 w 355"/>
                <a:gd name="T99" fmla="*/ 2147483647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3">
              <a:extLst>
                <a:ext uri="{FF2B5EF4-FFF2-40B4-BE49-F238E27FC236}">
                  <a16:creationId xmlns:a16="http://schemas.microsoft.com/office/drawing/2014/main" id="{ACAE1F43-F46B-4730-A5D5-78F776414A76}"/>
                </a:ext>
              </a:extLst>
            </p:cNvPr>
            <p:cNvSpPr>
              <a:spLocks noChangeAspect="1"/>
            </p:cNvSpPr>
            <p:nvPr/>
          </p:nvSpPr>
          <p:spPr bwMode="auto">
            <a:xfrm>
              <a:off x="2829405" y="4458854"/>
              <a:ext cx="411480" cy="411480"/>
            </a:xfrm>
            <a:custGeom>
              <a:avLst/>
              <a:gdLst>
                <a:gd name="T0" fmla="*/ 2147483647 w 349"/>
                <a:gd name="T1" fmla="*/ 2147483647 h 349"/>
                <a:gd name="T2" fmla="*/ 2147483647 w 349"/>
                <a:gd name="T3" fmla="*/ 2147483647 h 349"/>
                <a:gd name="T4" fmla="*/ 2147483647 w 349"/>
                <a:gd name="T5" fmla="*/ 2147483647 h 349"/>
                <a:gd name="T6" fmla="*/ 2147483647 w 349"/>
                <a:gd name="T7" fmla="*/ 2147483647 h 349"/>
                <a:gd name="T8" fmla="*/ 2147483647 w 349"/>
                <a:gd name="T9" fmla="*/ 2147483647 h 349"/>
                <a:gd name="T10" fmla="*/ 2147483647 w 349"/>
                <a:gd name="T11" fmla="*/ 2147483647 h 349"/>
                <a:gd name="T12" fmla="*/ 2147483647 w 349"/>
                <a:gd name="T13" fmla="*/ 2147483647 h 349"/>
                <a:gd name="T14" fmla="*/ 2147483647 w 349"/>
                <a:gd name="T15" fmla="*/ 2147483647 h 349"/>
                <a:gd name="T16" fmla="*/ 2147483647 w 349"/>
                <a:gd name="T17" fmla="*/ 2147483647 h 349"/>
                <a:gd name="T18" fmla="*/ 2147483647 w 349"/>
                <a:gd name="T19" fmla="*/ 2147483647 h 349"/>
                <a:gd name="T20" fmla="*/ 2147483647 w 349"/>
                <a:gd name="T21" fmla="*/ 2147483647 h 349"/>
                <a:gd name="T22" fmla="*/ 2147483647 w 349"/>
                <a:gd name="T23" fmla="*/ 2147483647 h 349"/>
                <a:gd name="T24" fmla="*/ 2147483647 w 349"/>
                <a:gd name="T25" fmla="*/ 2147483647 h 349"/>
                <a:gd name="T26" fmla="*/ 2147483647 w 349"/>
                <a:gd name="T27" fmla="*/ 2147483647 h 349"/>
                <a:gd name="T28" fmla="*/ 2147483647 w 349"/>
                <a:gd name="T29" fmla="*/ 2147483647 h 349"/>
                <a:gd name="T30" fmla="*/ 2147483647 w 349"/>
                <a:gd name="T31" fmla="*/ 2147483647 h 349"/>
                <a:gd name="T32" fmla="*/ 2147483647 w 349"/>
                <a:gd name="T33" fmla="*/ 2147483647 h 349"/>
                <a:gd name="T34" fmla="*/ 2147483647 w 349"/>
                <a:gd name="T35" fmla="*/ 2147483647 h 349"/>
                <a:gd name="T36" fmla="*/ 2147483647 w 349"/>
                <a:gd name="T37" fmla="*/ 2147483647 h 349"/>
                <a:gd name="T38" fmla="*/ 2147483647 w 349"/>
                <a:gd name="T39" fmla="*/ 2147483647 h 349"/>
                <a:gd name="T40" fmla="*/ 2147483647 w 349"/>
                <a:gd name="T41" fmla="*/ 2147483647 h 349"/>
                <a:gd name="T42" fmla="*/ 2147483647 w 349"/>
                <a:gd name="T43" fmla="*/ 2147483647 h 349"/>
                <a:gd name="T44" fmla="*/ 2147483647 w 349"/>
                <a:gd name="T45" fmla="*/ 2147483647 h 349"/>
                <a:gd name="T46" fmla="*/ 2147483647 w 349"/>
                <a:gd name="T47" fmla="*/ 2147483647 h 349"/>
                <a:gd name="T48" fmla="*/ 2147483647 w 349"/>
                <a:gd name="T49" fmla="*/ 2147483647 h 349"/>
                <a:gd name="T50" fmla="*/ 2147483647 w 349"/>
                <a:gd name="T51" fmla="*/ 2147483647 h 349"/>
                <a:gd name="T52" fmla="*/ 2147483647 w 349"/>
                <a:gd name="T53" fmla="*/ 2147483647 h 349"/>
                <a:gd name="T54" fmla="*/ 2147483647 w 349"/>
                <a:gd name="T55" fmla="*/ 2147483647 h 349"/>
                <a:gd name="T56" fmla="*/ 2147483647 w 349"/>
                <a:gd name="T57" fmla="*/ 2147483647 h 349"/>
                <a:gd name="T58" fmla="*/ 2147483647 w 349"/>
                <a:gd name="T59" fmla="*/ 2147483647 h 349"/>
                <a:gd name="T60" fmla="*/ 2147483647 w 349"/>
                <a:gd name="T61" fmla="*/ 2147483647 h 349"/>
                <a:gd name="T62" fmla="*/ 2147483647 w 349"/>
                <a:gd name="T63" fmla="*/ 2147483647 h 349"/>
                <a:gd name="T64" fmla="*/ 2147483647 w 349"/>
                <a:gd name="T65" fmla="*/ 2147483647 h 349"/>
                <a:gd name="T66" fmla="*/ 2147483647 w 349"/>
                <a:gd name="T67" fmla="*/ 2147483647 h 349"/>
                <a:gd name="T68" fmla="*/ 2147483647 w 349"/>
                <a:gd name="T69" fmla="*/ 2147483647 h 349"/>
                <a:gd name="T70" fmla="*/ 2147483647 w 349"/>
                <a:gd name="T71" fmla="*/ 2147483647 h 349"/>
                <a:gd name="T72" fmla="*/ 2147483647 w 349"/>
                <a:gd name="T73" fmla="*/ 2147483647 h 349"/>
                <a:gd name="T74" fmla="*/ 2147483647 w 349"/>
                <a:gd name="T75" fmla="*/ 2147483647 h 349"/>
                <a:gd name="T76" fmla="*/ 2147483647 w 349"/>
                <a:gd name="T77" fmla="*/ 0 h 349"/>
                <a:gd name="T78" fmla="*/ 2147483647 w 349"/>
                <a:gd name="T79" fmla="*/ 2147483647 h 349"/>
                <a:gd name="T80" fmla="*/ 2147483647 w 349"/>
                <a:gd name="T81" fmla="*/ 2147483647 h 349"/>
                <a:gd name="T82" fmla="*/ 2147483647 w 349"/>
                <a:gd name="T83" fmla="*/ 2147483647 h 349"/>
                <a:gd name="T84" fmla="*/ 2147483647 w 349"/>
                <a:gd name="T85" fmla="*/ 2147483647 h 349"/>
                <a:gd name="T86" fmla="*/ 2147483647 w 349"/>
                <a:gd name="T87" fmla="*/ 2147483647 h 349"/>
                <a:gd name="T88" fmla="*/ 0 w 349"/>
                <a:gd name="T89" fmla="*/ 2147483647 h 349"/>
                <a:gd name="T90" fmla="*/ 2147483647 w 349"/>
                <a:gd name="T91" fmla="*/ 2147483647 h 349"/>
                <a:gd name="T92" fmla="*/ 2147483647 w 349"/>
                <a:gd name="T93" fmla="*/ 2147483647 h 349"/>
                <a:gd name="T94" fmla="*/ 2147483647 w 349"/>
                <a:gd name="T95" fmla="*/ 2147483647 h 349"/>
                <a:gd name="T96" fmla="*/ 2147483647 w 349"/>
                <a:gd name="T97" fmla="*/ 2147483647 h 349"/>
                <a:gd name="T98" fmla="*/ 0 w 349"/>
                <a:gd name="T99" fmla="*/ 2147483647 h 349"/>
                <a:gd name="T100" fmla="*/ 2147483647 w 349"/>
                <a:gd name="T101" fmla="*/ 2147483647 h 349"/>
                <a:gd name="T102" fmla="*/ 2147483647 w 349"/>
                <a:gd name="T103" fmla="*/ 2147483647 h 349"/>
                <a:gd name="T104" fmla="*/ 2147483647 w 349"/>
                <a:gd name="T105" fmla="*/ 2147483647 h 349"/>
                <a:gd name="T106" fmla="*/ 2147483647 w 349"/>
                <a:gd name="T107" fmla="*/ 2147483647 h 349"/>
                <a:gd name="T108" fmla="*/ 2147483647 w 349"/>
                <a:gd name="T109" fmla="*/ 2147483647 h 349"/>
                <a:gd name="T110" fmla="*/ 2147483647 w 349"/>
                <a:gd name="T111" fmla="*/ 2147483647 h 349"/>
                <a:gd name="T112" fmla="*/ 2147483647 w 349"/>
                <a:gd name="T113" fmla="*/ 2147483647 h 3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49" h="349">
                  <a:moveTo>
                    <a:pt x="348" y="327"/>
                  </a:moveTo>
                  <a:cubicBezTo>
                    <a:pt x="340" y="328"/>
                    <a:pt x="340" y="328"/>
                    <a:pt x="340" y="328"/>
                  </a:cubicBezTo>
                  <a:cubicBezTo>
                    <a:pt x="348" y="327"/>
                    <a:pt x="348" y="327"/>
                    <a:pt x="348" y="327"/>
                  </a:cubicBezTo>
                  <a:cubicBezTo>
                    <a:pt x="348" y="319"/>
                    <a:pt x="340" y="257"/>
                    <a:pt x="340" y="254"/>
                  </a:cubicBezTo>
                  <a:cubicBezTo>
                    <a:pt x="340" y="250"/>
                    <a:pt x="338" y="247"/>
                    <a:pt x="336" y="243"/>
                  </a:cubicBezTo>
                  <a:cubicBezTo>
                    <a:pt x="334" y="240"/>
                    <a:pt x="329" y="238"/>
                    <a:pt x="325" y="238"/>
                  </a:cubicBezTo>
                  <a:cubicBezTo>
                    <a:pt x="320" y="238"/>
                    <a:pt x="315" y="241"/>
                    <a:pt x="311" y="244"/>
                  </a:cubicBezTo>
                  <a:cubicBezTo>
                    <a:pt x="311" y="245"/>
                    <a:pt x="311" y="245"/>
                    <a:pt x="311" y="245"/>
                  </a:cubicBezTo>
                  <a:cubicBezTo>
                    <a:pt x="298" y="233"/>
                    <a:pt x="298" y="233"/>
                    <a:pt x="298" y="233"/>
                  </a:cubicBezTo>
                  <a:cubicBezTo>
                    <a:pt x="306" y="215"/>
                    <a:pt x="311" y="196"/>
                    <a:pt x="311" y="175"/>
                  </a:cubicBezTo>
                  <a:cubicBezTo>
                    <a:pt x="311" y="154"/>
                    <a:pt x="306" y="134"/>
                    <a:pt x="298" y="117"/>
                  </a:cubicBezTo>
                  <a:cubicBezTo>
                    <a:pt x="311" y="104"/>
                    <a:pt x="311" y="104"/>
                    <a:pt x="311" y="104"/>
                  </a:cubicBezTo>
                  <a:cubicBezTo>
                    <a:pt x="311" y="105"/>
                    <a:pt x="311" y="105"/>
                    <a:pt x="311" y="105"/>
                  </a:cubicBezTo>
                  <a:cubicBezTo>
                    <a:pt x="315" y="109"/>
                    <a:pt x="320" y="112"/>
                    <a:pt x="325" y="112"/>
                  </a:cubicBezTo>
                  <a:cubicBezTo>
                    <a:pt x="329" y="112"/>
                    <a:pt x="334" y="109"/>
                    <a:pt x="336" y="106"/>
                  </a:cubicBezTo>
                  <a:cubicBezTo>
                    <a:pt x="338" y="103"/>
                    <a:pt x="339" y="99"/>
                    <a:pt x="340" y="95"/>
                  </a:cubicBezTo>
                  <a:cubicBezTo>
                    <a:pt x="340" y="92"/>
                    <a:pt x="341" y="83"/>
                    <a:pt x="342" y="72"/>
                  </a:cubicBezTo>
                  <a:cubicBezTo>
                    <a:pt x="343" y="68"/>
                    <a:pt x="340" y="64"/>
                    <a:pt x="335" y="63"/>
                  </a:cubicBezTo>
                  <a:cubicBezTo>
                    <a:pt x="331" y="63"/>
                    <a:pt x="327" y="66"/>
                    <a:pt x="327" y="70"/>
                  </a:cubicBezTo>
                  <a:cubicBezTo>
                    <a:pt x="325" y="81"/>
                    <a:pt x="324" y="91"/>
                    <a:pt x="324" y="94"/>
                  </a:cubicBezTo>
                  <a:cubicBezTo>
                    <a:pt x="324" y="94"/>
                    <a:pt x="324" y="95"/>
                    <a:pt x="324" y="95"/>
                  </a:cubicBezTo>
                  <a:cubicBezTo>
                    <a:pt x="323" y="95"/>
                    <a:pt x="323" y="94"/>
                    <a:pt x="323" y="94"/>
                  </a:cubicBezTo>
                  <a:cubicBezTo>
                    <a:pt x="321" y="92"/>
                    <a:pt x="316" y="87"/>
                    <a:pt x="316" y="87"/>
                  </a:cubicBezTo>
                  <a:cubicBezTo>
                    <a:pt x="315" y="86"/>
                    <a:pt x="313" y="85"/>
                    <a:pt x="311" y="85"/>
                  </a:cubicBezTo>
                  <a:cubicBezTo>
                    <a:pt x="308" y="85"/>
                    <a:pt x="306" y="86"/>
                    <a:pt x="305" y="87"/>
                  </a:cubicBezTo>
                  <a:cubicBezTo>
                    <a:pt x="283" y="109"/>
                    <a:pt x="283" y="109"/>
                    <a:pt x="283" y="109"/>
                  </a:cubicBezTo>
                  <a:cubicBezTo>
                    <a:pt x="280" y="112"/>
                    <a:pt x="280" y="115"/>
                    <a:pt x="281" y="119"/>
                  </a:cubicBezTo>
                  <a:cubicBezTo>
                    <a:pt x="281" y="119"/>
                    <a:pt x="281" y="119"/>
                    <a:pt x="281" y="119"/>
                  </a:cubicBezTo>
                  <a:cubicBezTo>
                    <a:pt x="281" y="119"/>
                    <a:pt x="281" y="119"/>
                    <a:pt x="281" y="119"/>
                  </a:cubicBezTo>
                  <a:cubicBezTo>
                    <a:pt x="290" y="136"/>
                    <a:pt x="295" y="155"/>
                    <a:pt x="295" y="175"/>
                  </a:cubicBezTo>
                  <a:cubicBezTo>
                    <a:pt x="295" y="195"/>
                    <a:pt x="290" y="214"/>
                    <a:pt x="281" y="231"/>
                  </a:cubicBezTo>
                  <a:cubicBezTo>
                    <a:pt x="280" y="234"/>
                    <a:pt x="280" y="238"/>
                    <a:pt x="283" y="240"/>
                  </a:cubicBezTo>
                  <a:cubicBezTo>
                    <a:pt x="305" y="262"/>
                    <a:pt x="305" y="262"/>
                    <a:pt x="305" y="262"/>
                  </a:cubicBezTo>
                  <a:cubicBezTo>
                    <a:pt x="306" y="264"/>
                    <a:pt x="308" y="265"/>
                    <a:pt x="311" y="265"/>
                  </a:cubicBezTo>
                  <a:cubicBezTo>
                    <a:pt x="313" y="265"/>
                    <a:pt x="315" y="264"/>
                    <a:pt x="316" y="262"/>
                  </a:cubicBezTo>
                  <a:cubicBezTo>
                    <a:pt x="316" y="262"/>
                    <a:pt x="321" y="257"/>
                    <a:pt x="323" y="256"/>
                  </a:cubicBezTo>
                  <a:cubicBezTo>
                    <a:pt x="323" y="255"/>
                    <a:pt x="324" y="255"/>
                    <a:pt x="324" y="255"/>
                  </a:cubicBezTo>
                  <a:cubicBezTo>
                    <a:pt x="324" y="255"/>
                    <a:pt x="324" y="255"/>
                    <a:pt x="324" y="256"/>
                  </a:cubicBezTo>
                  <a:cubicBezTo>
                    <a:pt x="324" y="259"/>
                    <a:pt x="332" y="320"/>
                    <a:pt x="332" y="329"/>
                  </a:cubicBezTo>
                  <a:cubicBezTo>
                    <a:pt x="333" y="329"/>
                    <a:pt x="333" y="330"/>
                    <a:pt x="333" y="330"/>
                  </a:cubicBezTo>
                  <a:cubicBezTo>
                    <a:pt x="332" y="331"/>
                    <a:pt x="332" y="331"/>
                    <a:pt x="332" y="332"/>
                  </a:cubicBezTo>
                  <a:cubicBezTo>
                    <a:pt x="331" y="333"/>
                    <a:pt x="331" y="333"/>
                    <a:pt x="329" y="333"/>
                  </a:cubicBezTo>
                  <a:cubicBezTo>
                    <a:pt x="329" y="333"/>
                    <a:pt x="329" y="333"/>
                    <a:pt x="328" y="333"/>
                  </a:cubicBezTo>
                  <a:cubicBezTo>
                    <a:pt x="320" y="332"/>
                    <a:pt x="265" y="325"/>
                    <a:pt x="255" y="324"/>
                  </a:cubicBezTo>
                  <a:cubicBezTo>
                    <a:pt x="255" y="324"/>
                    <a:pt x="254" y="324"/>
                    <a:pt x="254" y="324"/>
                  </a:cubicBezTo>
                  <a:cubicBezTo>
                    <a:pt x="254" y="324"/>
                    <a:pt x="255" y="324"/>
                    <a:pt x="255" y="323"/>
                  </a:cubicBezTo>
                  <a:cubicBezTo>
                    <a:pt x="257" y="322"/>
                    <a:pt x="262" y="317"/>
                    <a:pt x="262" y="317"/>
                  </a:cubicBezTo>
                  <a:cubicBezTo>
                    <a:pt x="263" y="315"/>
                    <a:pt x="264" y="313"/>
                    <a:pt x="264" y="311"/>
                  </a:cubicBezTo>
                  <a:cubicBezTo>
                    <a:pt x="264" y="309"/>
                    <a:pt x="263" y="307"/>
                    <a:pt x="262" y="305"/>
                  </a:cubicBezTo>
                  <a:cubicBezTo>
                    <a:pt x="239" y="283"/>
                    <a:pt x="239" y="283"/>
                    <a:pt x="239" y="283"/>
                  </a:cubicBezTo>
                  <a:cubicBezTo>
                    <a:pt x="237" y="281"/>
                    <a:pt x="233" y="280"/>
                    <a:pt x="230" y="282"/>
                  </a:cubicBezTo>
                  <a:cubicBezTo>
                    <a:pt x="213" y="291"/>
                    <a:pt x="194" y="296"/>
                    <a:pt x="174" y="296"/>
                  </a:cubicBezTo>
                  <a:cubicBezTo>
                    <a:pt x="154" y="296"/>
                    <a:pt x="135" y="291"/>
                    <a:pt x="118" y="282"/>
                  </a:cubicBezTo>
                  <a:cubicBezTo>
                    <a:pt x="118" y="282"/>
                    <a:pt x="118" y="282"/>
                    <a:pt x="118" y="282"/>
                  </a:cubicBezTo>
                  <a:cubicBezTo>
                    <a:pt x="115" y="280"/>
                    <a:pt x="111" y="281"/>
                    <a:pt x="109" y="284"/>
                  </a:cubicBezTo>
                  <a:cubicBezTo>
                    <a:pt x="87" y="305"/>
                    <a:pt x="87" y="305"/>
                    <a:pt x="87" y="305"/>
                  </a:cubicBezTo>
                  <a:cubicBezTo>
                    <a:pt x="85" y="307"/>
                    <a:pt x="84" y="309"/>
                    <a:pt x="84" y="311"/>
                  </a:cubicBezTo>
                  <a:cubicBezTo>
                    <a:pt x="84" y="313"/>
                    <a:pt x="85" y="315"/>
                    <a:pt x="87" y="317"/>
                  </a:cubicBezTo>
                  <a:cubicBezTo>
                    <a:pt x="87" y="317"/>
                    <a:pt x="92" y="322"/>
                    <a:pt x="93" y="323"/>
                  </a:cubicBezTo>
                  <a:cubicBezTo>
                    <a:pt x="94" y="324"/>
                    <a:pt x="94" y="324"/>
                    <a:pt x="94" y="325"/>
                  </a:cubicBezTo>
                  <a:cubicBezTo>
                    <a:pt x="94" y="325"/>
                    <a:pt x="94" y="325"/>
                    <a:pt x="93" y="325"/>
                  </a:cubicBezTo>
                  <a:cubicBezTo>
                    <a:pt x="90" y="325"/>
                    <a:pt x="28" y="332"/>
                    <a:pt x="20" y="333"/>
                  </a:cubicBezTo>
                  <a:cubicBezTo>
                    <a:pt x="20" y="333"/>
                    <a:pt x="19" y="333"/>
                    <a:pt x="19" y="333"/>
                  </a:cubicBezTo>
                  <a:cubicBezTo>
                    <a:pt x="18" y="333"/>
                    <a:pt x="18" y="333"/>
                    <a:pt x="17" y="332"/>
                  </a:cubicBezTo>
                  <a:cubicBezTo>
                    <a:pt x="16" y="332"/>
                    <a:pt x="16" y="332"/>
                    <a:pt x="16" y="330"/>
                  </a:cubicBezTo>
                  <a:cubicBezTo>
                    <a:pt x="16" y="330"/>
                    <a:pt x="16" y="329"/>
                    <a:pt x="16" y="329"/>
                  </a:cubicBezTo>
                  <a:cubicBezTo>
                    <a:pt x="17" y="321"/>
                    <a:pt x="24" y="265"/>
                    <a:pt x="25" y="256"/>
                  </a:cubicBezTo>
                  <a:cubicBezTo>
                    <a:pt x="25" y="255"/>
                    <a:pt x="25" y="255"/>
                    <a:pt x="25" y="255"/>
                  </a:cubicBezTo>
                  <a:cubicBezTo>
                    <a:pt x="25" y="255"/>
                    <a:pt x="25" y="255"/>
                    <a:pt x="26" y="256"/>
                  </a:cubicBezTo>
                  <a:cubicBezTo>
                    <a:pt x="27" y="257"/>
                    <a:pt x="32" y="262"/>
                    <a:pt x="32" y="262"/>
                  </a:cubicBezTo>
                  <a:cubicBezTo>
                    <a:pt x="34" y="264"/>
                    <a:pt x="36" y="265"/>
                    <a:pt x="38" y="265"/>
                  </a:cubicBezTo>
                  <a:cubicBezTo>
                    <a:pt x="40" y="265"/>
                    <a:pt x="42" y="264"/>
                    <a:pt x="44" y="262"/>
                  </a:cubicBezTo>
                  <a:cubicBezTo>
                    <a:pt x="66" y="240"/>
                    <a:pt x="66" y="240"/>
                    <a:pt x="66" y="240"/>
                  </a:cubicBezTo>
                  <a:cubicBezTo>
                    <a:pt x="68" y="238"/>
                    <a:pt x="69" y="234"/>
                    <a:pt x="67" y="231"/>
                  </a:cubicBezTo>
                  <a:cubicBezTo>
                    <a:pt x="58" y="214"/>
                    <a:pt x="53" y="195"/>
                    <a:pt x="53" y="175"/>
                  </a:cubicBezTo>
                  <a:cubicBezTo>
                    <a:pt x="53" y="155"/>
                    <a:pt x="58" y="136"/>
                    <a:pt x="67" y="119"/>
                  </a:cubicBezTo>
                  <a:cubicBezTo>
                    <a:pt x="69" y="116"/>
                    <a:pt x="68" y="112"/>
                    <a:pt x="66" y="110"/>
                  </a:cubicBezTo>
                  <a:cubicBezTo>
                    <a:pt x="44" y="87"/>
                    <a:pt x="44" y="87"/>
                    <a:pt x="44" y="87"/>
                  </a:cubicBezTo>
                  <a:cubicBezTo>
                    <a:pt x="42" y="86"/>
                    <a:pt x="40" y="85"/>
                    <a:pt x="38" y="85"/>
                  </a:cubicBezTo>
                  <a:cubicBezTo>
                    <a:pt x="36" y="85"/>
                    <a:pt x="34" y="86"/>
                    <a:pt x="32" y="87"/>
                  </a:cubicBezTo>
                  <a:cubicBezTo>
                    <a:pt x="32" y="87"/>
                    <a:pt x="27" y="92"/>
                    <a:pt x="26" y="94"/>
                  </a:cubicBezTo>
                  <a:cubicBezTo>
                    <a:pt x="25" y="94"/>
                    <a:pt x="25" y="95"/>
                    <a:pt x="25" y="95"/>
                  </a:cubicBezTo>
                  <a:cubicBezTo>
                    <a:pt x="24" y="95"/>
                    <a:pt x="24" y="94"/>
                    <a:pt x="24" y="94"/>
                  </a:cubicBezTo>
                  <a:cubicBezTo>
                    <a:pt x="24" y="91"/>
                    <a:pt x="17" y="29"/>
                    <a:pt x="16" y="21"/>
                  </a:cubicBezTo>
                  <a:cubicBezTo>
                    <a:pt x="16" y="20"/>
                    <a:pt x="16" y="20"/>
                    <a:pt x="16" y="20"/>
                  </a:cubicBezTo>
                  <a:cubicBezTo>
                    <a:pt x="16" y="18"/>
                    <a:pt x="16" y="18"/>
                    <a:pt x="17" y="17"/>
                  </a:cubicBezTo>
                  <a:cubicBezTo>
                    <a:pt x="18" y="17"/>
                    <a:pt x="17" y="17"/>
                    <a:pt x="19" y="17"/>
                  </a:cubicBezTo>
                  <a:cubicBezTo>
                    <a:pt x="19" y="17"/>
                    <a:pt x="20" y="17"/>
                    <a:pt x="20" y="17"/>
                  </a:cubicBezTo>
                  <a:cubicBezTo>
                    <a:pt x="28" y="17"/>
                    <a:pt x="84" y="24"/>
                    <a:pt x="93" y="25"/>
                  </a:cubicBezTo>
                  <a:cubicBezTo>
                    <a:pt x="94" y="25"/>
                    <a:pt x="94" y="25"/>
                    <a:pt x="94" y="25"/>
                  </a:cubicBezTo>
                  <a:cubicBezTo>
                    <a:pt x="94" y="26"/>
                    <a:pt x="94" y="26"/>
                    <a:pt x="93" y="26"/>
                  </a:cubicBezTo>
                  <a:cubicBezTo>
                    <a:pt x="92" y="28"/>
                    <a:pt x="87" y="33"/>
                    <a:pt x="87" y="33"/>
                  </a:cubicBezTo>
                  <a:cubicBezTo>
                    <a:pt x="85" y="34"/>
                    <a:pt x="84" y="36"/>
                    <a:pt x="84" y="38"/>
                  </a:cubicBezTo>
                  <a:cubicBezTo>
                    <a:pt x="84" y="41"/>
                    <a:pt x="85" y="43"/>
                    <a:pt x="87" y="44"/>
                  </a:cubicBezTo>
                  <a:cubicBezTo>
                    <a:pt x="109" y="66"/>
                    <a:pt x="109" y="66"/>
                    <a:pt x="109" y="66"/>
                  </a:cubicBezTo>
                  <a:cubicBezTo>
                    <a:pt x="111" y="69"/>
                    <a:pt x="115" y="69"/>
                    <a:pt x="118" y="68"/>
                  </a:cubicBezTo>
                  <a:cubicBezTo>
                    <a:pt x="135" y="59"/>
                    <a:pt x="154" y="54"/>
                    <a:pt x="174" y="54"/>
                  </a:cubicBezTo>
                  <a:cubicBezTo>
                    <a:pt x="194" y="54"/>
                    <a:pt x="213" y="59"/>
                    <a:pt x="230" y="68"/>
                  </a:cubicBezTo>
                  <a:cubicBezTo>
                    <a:pt x="233" y="69"/>
                    <a:pt x="237" y="69"/>
                    <a:pt x="239" y="66"/>
                  </a:cubicBezTo>
                  <a:cubicBezTo>
                    <a:pt x="262" y="44"/>
                    <a:pt x="262" y="44"/>
                    <a:pt x="262" y="44"/>
                  </a:cubicBezTo>
                  <a:cubicBezTo>
                    <a:pt x="263" y="43"/>
                    <a:pt x="264" y="41"/>
                    <a:pt x="264" y="38"/>
                  </a:cubicBezTo>
                  <a:cubicBezTo>
                    <a:pt x="264" y="36"/>
                    <a:pt x="263" y="34"/>
                    <a:pt x="262" y="33"/>
                  </a:cubicBezTo>
                  <a:cubicBezTo>
                    <a:pt x="262" y="33"/>
                    <a:pt x="257" y="28"/>
                    <a:pt x="255" y="26"/>
                  </a:cubicBezTo>
                  <a:cubicBezTo>
                    <a:pt x="255" y="26"/>
                    <a:pt x="254" y="25"/>
                    <a:pt x="254" y="25"/>
                  </a:cubicBezTo>
                  <a:cubicBezTo>
                    <a:pt x="254" y="25"/>
                    <a:pt x="255" y="25"/>
                    <a:pt x="255" y="25"/>
                  </a:cubicBezTo>
                  <a:cubicBezTo>
                    <a:pt x="258" y="25"/>
                    <a:pt x="320" y="17"/>
                    <a:pt x="328" y="17"/>
                  </a:cubicBezTo>
                  <a:cubicBezTo>
                    <a:pt x="329" y="16"/>
                    <a:pt x="329" y="16"/>
                    <a:pt x="329" y="16"/>
                  </a:cubicBezTo>
                  <a:cubicBezTo>
                    <a:pt x="331" y="17"/>
                    <a:pt x="331" y="17"/>
                    <a:pt x="332" y="17"/>
                  </a:cubicBezTo>
                  <a:cubicBezTo>
                    <a:pt x="332" y="18"/>
                    <a:pt x="332" y="18"/>
                    <a:pt x="332" y="20"/>
                  </a:cubicBezTo>
                  <a:cubicBezTo>
                    <a:pt x="332" y="20"/>
                    <a:pt x="332" y="20"/>
                    <a:pt x="332" y="21"/>
                  </a:cubicBezTo>
                  <a:cubicBezTo>
                    <a:pt x="332" y="23"/>
                    <a:pt x="331" y="30"/>
                    <a:pt x="330" y="39"/>
                  </a:cubicBezTo>
                  <a:cubicBezTo>
                    <a:pt x="330" y="43"/>
                    <a:pt x="333" y="47"/>
                    <a:pt x="337" y="48"/>
                  </a:cubicBezTo>
                  <a:cubicBezTo>
                    <a:pt x="342" y="48"/>
                    <a:pt x="346" y="45"/>
                    <a:pt x="346" y="41"/>
                  </a:cubicBezTo>
                  <a:cubicBezTo>
                    <a:pt x="347" y="32"/>
                    <a:pt x="348" y="25"/>
                    <a:pt x="348" y="22"/>
                  </a:cubicBezTo>
                  <a:cubicBezTo>
                    <a:pt x="348" y="21"/>
                    <a:pt x="348" y="21"/>
                    <a:pt x="348" y="20"/>
                  </a:cubicBezTo>
                  <a:cubicBezTo>
                    <a:pt x="349" y="15"/>
                    <a:pt x="347" y="10"/>
                    <a:pt x="343" y="6"/>
                  </a:cubicBezTo>
                  <a:cubicBezTo>
                    <a:pt x="339" y="2"/>
                    <a:pt x="334" y="0"/>
                    <a:pt x="329" y="0"/>
                  </a:cubicBezTo>
                  <a:cubicBezTo>
                    <a:pt x="328" y="0"/>
                    <a:pt x="327" y="1"/>
                    <a:pt x="326" y="1"/>
                  </a:cubicBezTo>
                  <a:cubicBezTo>
                    <a:pt x="318" y="1"/>
                    <a:pt x="256" y="9"/>
                    <a:pt x="253" y="9"/>
                  </a:cubicBezTo>
                  <a:cubicBezTo>
                    <a:pt x="250" y="9"/>
                    <a:pt x="246" y="11"/>
                    <a:pt x="243" y="13"/>
                  </a:cubicBezTo>
                  <a:cubicBezTo>
                    <a:pt x="240" y="15"/>
                    <a:pt x="237" y="20"/>
                    <a:pt x="237" y="24"/>
                  </a:cubicBezTo>
                  <a:cubicBezTo>
                    <a:pt x="237" y="29"/>
                    <a:pt x="240" y="34"/>
                    <a:pt x="244" y="38"/>
                  </a:cubicBezTo>
                  <a:cubicBezTo>
                    <a:pt x="244" y="38"/>
                    <a:pt x="244" y="38"/>
                    <a:pt x="245" y="38"/>
                  </a:cubicBezTo>
                  <a:cubicBezTo>
                    <a:pt x="232" y="51"/>
                    <a:pt x="232" y="51"/>
                    <a:pt x="232" y="51"/>
                  </a:cubicBezTo>
                  <a:cubicBezTo>
                    <a:pt x="215" y="43"/>
                    <a:pt x="195" y="38"/>
                    <a:pt x="174" y="38"/>
                  </a:cubicBezTo>
                  <a:cubicBezTo>
                    <a:pt x="153" y="38"/>
                    <a:pt x="134" y="43"/>
                    <a:pt x="116" y="51"/>
                  </a:cubicBezTo>
                  <a:cubicBezTo>
                    <a:pt x="104" y="38"/>
                    <a:pt x="104" y="38"/>
                    <a:pt x="104" y="38"/>
                  </a:cubicBezTo>
                  <a:cubicBezTo>
                    <a:pt x="104" y="38"/>
                    <a:pt x="104" y="38"/>
                    <a:pt x="105" y="38"/>
                  </a:cubicBezTo>
                  <a:cubicBezTo>
                    <a:pt x="108" y="34"/>
                    <a:pt x="111" y="29"/>
                    <a:pt x="111" y="24"/>
                  </a:cubicBezTo>
                  <a:cubicBezTo>
                    <a:pt x="111" y="20"/>
                    <a:pt x="109" y="15"/>
                    <a:pt x="106" y="13"/>
                  </a:cubicBezTo>
                  <a:cubicBezTo>
                    <a:pt x="102" y="11"/>
                    <a:pt x="99" y="10"/>
                    <a:pt x="95" y="9"/>
                  </a:cubicBezTo>
                  <a:cubicBezTo>
                    <a:pt x="86" y="8"/>
                    <a:pt x="30" y="2"/>
                    <a:pt x="22" y="1"/>
                  </a:cubicBezTo>
                  <a:cubicBezTo>
                    <a:pt x="21" y="1"/>
                    <a:pt x="20" y="1"/>
                    <a:pt x="19" y="1"/>
                  </a:cubicBezTo>
                  <a:cubicBezTo>
                    <a:pt x="14" y="0"/>
                    <a:pt x="9" y="2"/>
                    <a:pt x="5" y="6"/>
                  </a:cubicBezTo>
                  <a:cubicBezTo>
                    <a:pt x="2" y="10"/>
                    <a:pt x="0" y="15"/>
                    <a:pt x="0" y="20"/>
                  </a:cubicBezTo>
                  <a:cubicBezTo>
                    <a:pt x="0" y="21"/>
                    <a:pt x="0" y="22"/>
                    <a:pt x="0" y="23"/>
                  </a:cubicBezTo>
                  <a:cubicBezTo>
                    <a:pt x="1" y="31"/>
                    <a:pt x="8" y="93"/>
                    <a:pt x="8" y="96"/>
                  </a:cubicBezTo>
                  <a:cubicBezTo>
                    <a:pt x="9" y="99"/>
                    <a:pt x="10" y="103"/>
                    <a:pt x="12" y="106"/>
                  </a:cubicBezTo>
                  <a:cubicBezTo>
                    <a:pt x="15" y="109"/>
                    <a:pt x="19" y="112"/>
                    <a:pt x="23" y="112"/>
                  </a:cubicBezTo>
                  <a:cubicBezTo>
                    <a:pt x="29" y="112"/>
                    <a:pt x="33" y="109"/>
                    <a:pt x="37" y="105"/>
                  </a:cubicBezTo>
                  <a:cubicBezTo>
                    <a:pt x="37" y="105"/>
                    <a:pt x="37" y="105"/>
                    <a:pt x="38" y="104"/>
                  </a:cubicBezTo>
                  <a:cubicBezTo>
                    <a:pt x="50" y="117"/>
                    <a:pt x="50" y="117"/>
                    <a:pt x="50" y="117"/>
                  </a:cubicBezTo>
                  <a:cubicBezTo>
                    <a:pt x="42" y="134"/>
                    <a:pt x="37" y="154"/>
                    <a:pt x="37" y="175"/>
                  </a:cubicBezTo>
                  <a:cubicBezTo>
                    <a:pt x="37" y="196"/>
                    <a:pt x="42" y="215"/>
                    <a:pt x="50" y="233"/>
                  </a:cubicBezTo>
                  <a:cubicBezTo>
                    <a:pt x="38" y="245"/>
                    <a:pt x="38" y="245"/>
                    <a:pt x="38" y="245"/>
                  </a:cubicBezTo>
                  <a:cubicBezTo>
                    <a:pt x="38" y="245"/>
                    <a:pt x="37" y="245"/>
                    <a:pt x="37" y="244"/>
                  </a:cubicBezTo>
                  <a:cubicBezTo>
                    <a:pt x="33" y="241"/>
                    <a:pt x="29" y="238"/>
                    <a:pt x="23" y="238"/>
                  </a:cubicBezTo>
                  <a:cubicBezTo>
                    <a:pt x="19" y="238"/>
                    <a:pt x="15" y="240"/>
                    <a:pt x="12" y="243"/>
                  </a:cubicBezTo>
                  <a:cubicBezTo>
                    <a:pt x="10" y="247"/>
                    <a:pt x="9" y="250"/>
                    <a:pt x="9" y="254"/>
                  </a:cubicBezTo>
                  <a:cubicBezTo>
                    <a:pt x="8" y="263"/>
                    <a:pt x="1" y="319"/>
                    <a:pt x="0" y="327"/>
                  </a:cubicBezTo>
                  <a:cubicBezTo>
                    <a:pt x="0" y="328"/>
                    <a:pt x="0" y="329"/>
                    <a:pt x="0" y="330"/>
                  </a:cubicBezTo>
                  <a:cubicBezTo>
                    <a:pt x="0" y="335"/>
                    <a:pt x="2" y="340"/>
                    <a:pt x="5" y="344"/>
                  </a:cubicBezTo>
                  <a:cubicBezTo>
                    <a:pt x="9" y="347"/>
                    <a:pt x="14" y="349"/>
                    <a:pt x="19" y="349"/>
                  </a:cubicBezTo>
                  <a:cubicBezTo>
                    <a:pt x="19" y="349"/>
                    <a:pt x="19" y="349"/>
                    <a:pt x="19" y="349"/>
                  </a:cubicBezTo>
                  <a:cubicBezTo>
                    <a:pt x="20" y="349"/>
                    <a:pt x="21" y="349"/>
                    <a:pt x="22" y="349"/>
                  </a:cubicBezTo>
                  <a:cubicBezTo>
                    <a:pt x="30" y="348"/>
                    <a:pt x="92" y="341"/>
                    <a:pt x="95" y="341"/>
                  </a:cubicBezTo>
                  <a:cubicBezTo>
                    <a:pt x="99" y="340"/>
                    <a:pt x="102" y="339"/>
                    <a:pt x="106" y="337"/>
                  </a:cubicBezTo>
                  <a:cubicBezTo>
                    <a:pt x="109" y="334"/>
                    <a:pt x="111" y="330"/>
                    <a:pt x="111" y="326"/>
                  </a:cubicBezTo>
                  <a:cubicBezTo>
                    <a:pt x="111" y="320"/>
                    <a:pt x="108" y="316"/>
                    <a:pt x="105" y="312"/>
                  </a:cubicBezTo>
                  <a:cubicBezTo>
                    <a:pt x="104" y="312"/>
                    <a:pt x="104" y="312"/>
                    <a:pt x="104" y="311"/>
                  </a:cubicBezTo>
                  <a:cubicBezTo>
                    <a:pt x="116" y="299"/>
                    <a:pt x="116" y="299"/>
                    <a:pt x="116" y="299"/>
                  </a:cubicBezTo>
                  <a:cubicBezTo>
                    <a:pt x="134" y="307"/>
                    <a:pt x="153" y="312"/>
                    <a:pt x="174" y="312"/>
                  </a:cubicBezTo>
                  <a:cubicBezTo>
                    <a:pt x="195" y="312"/>
                    <a:pt x="215" y="307"/>
                    <a:pt x="232" y="299"/>
                  </a:cubicBezTo>
                  <a:cubicBezTo>
                    <a:pt x="245" y="311"/>
                    <a:pt x="245" y="311"/>
                    <a:pt x="245" y="311"/>
                  </a:cubicBezTo>
                  <a:cubicBezTo>
                    <a:pt x="244" y="312"/>
                    <a:pt x="244" y="312"/>
                    <a:pt x="244" y="312"/>
                  </a:cubicBezTo>
                  <a:cubicBezTo>
                    <a:pt x="240" y="316"/>
                    <a:pt x="237" y="320"/>
                    <a:pt x="237" y="326"/>
                  </a:cubicBezTo>
                  <a:cubicBezTo>
                    <a:pt x="237" y="330"/>
                    <a:pt x="240" y="334"/>
                    <a:pt x="243" y="337"/>
                  </a:cubicBezTo>
                  <a:cubicBezTo>
                    <a:pt x="246" y="339"/>
                    <a:pt x="250" y="340"/>
                    <a:pt x="254" y="340"/>
                  </a:cubicBezTo>
                  <a:cubicBezTo>
                    <a:pt x="262" y="341"/>
                    <a:pt x="318" y="348"/>
                    <a:pt x="327" y="349"/>
                  </a:cubicBezTo>
                  <a:cubicBezTo>
                    <a:pt x="328" y="349"/>
                    <a:pt x="328" y="349"/>
                    <a:pt x="329" y="349"/>
                  </a:cubicBezTo>
                  <a:cubicBezTo>
                    <a:pt x="334" y="349"/>
                    <a:pt x="339" y="347"/>
                    <a:pt x="343" y="344"/>
                  </a:cubicBezTo>
                  <a:cubicBezTo>
                    <a:pt x="347" y="340"/>
                    <a:pt x="349" y="334"/>
                    <a:pt x="349" y="330"/>
                  </a:cubicBezTo>
                  <a:cubicBezTo>
                    <a:pt x="349" y="329"/>
                    <a:pt x="348" y="328"/>
                    <a:pt x="348"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TextBox 23">
              <a:extLst>
                <a:ext uri="{FF2B5EF4-FFF2-40B4-BE49-F238E27FC236}">
                  <a16:creationId xmlns:a16="http://schemas.microsoft.com/office/drawing/2014/main" id="{0D0BA369-E20C-4A68-94CA-87FC01754E8D}"/>
                </a:ext>
              </a:extLst>
            </p:cNvPr>
            <p:cNvSpPr txBox="1"/>
            <p:nvPr/>
          </p:nvSpPr>
          <p:spPr>
            <a:xfrm>
              <a:off x="1520506" y="2653915"/>
              <a:ext cx="1554480" cy="492443"/>
            </a:xfrm>
            <a:prstGeom prst="rect">
              <a:avLst/>
            </a:prstGeom>
            <a:noFill/>
          </p:spPr>
          <p:txBody>
            <a:bodyPr wrap="square" rtlCol="0" anchor="ctr">
              <a:spAutoFit/>
            </a:bodyPr>
            <a:lstStyle/>
            <a:p>
              <a:pPr algn="ctr"/>
              <a:r>
                <a:rPr lang="en-US" sz="1300" dirty="0"/>
                <a:t>Lead generation BNEW</a:t>
              </a:r>
            </a:p>
          </p:txBody>
        </p:sp>
        <p:sp>
          <p:nvSpPr>
            <p:cNvPr id="25" name="TextBox 24">
              <a:extLst>
                <a:ext uri="{FF2B5EF4-FFF2-40B4-BE49-F238E27FC236}">
                  <a16:creationId xmlns:a16="http://schemas.microsoft.com/office/drawing/2014/main" id="{A819F852-C727-483C-9ADD-CBF91CF31757}"/>
                </a:ext>
              </a:extLst>
            </p:cNvPr>
            <p:cNvSpPr txBox="1"/>
            <p:nvPr/>
          </p:nvSpPr>
          <p:spPr>
            <a:xfrm>
              <a:off x="1468945" y="5501495"/>
              <a:ext cx="1554480" cy="488577"/>
            </a:xfrm>
            <a:prstGeom prst="rect">
              <a:avLst/>
            </a:prstGeom>
            <a:noFill/>
          </p:spPr>
          <p:txBody>
            <a:bodyPr wrap="square" rtlCol="0" anchor="ctr">
              <a:spAutoFit/>
            </a:bodyPr>
            <a:lstStyle/>
            <a:p>
              <a:pPr algn="ctr"/>
              <a:r>
                <a:rPr lang="en-US" sz="1300" dirty="0"/>
                <a:t>Prequalification by Lead handlers</a:t>
              </a:r>
            </a:p>
          </p:txBody>
        </p:sp>
        <p:sp>
          <p:nvSpPr>
            <p:cNvPr id="26" name="TextBox 25">
              <a:extLst>
                <a:ext uri="{FF2B5EF4-FFF2-40B4-BE49-F238E27FC236}">
                  <a16:creationId xmlns:a16="http://schemas.microsoft.com/office/drawing/2014/main" id="{1A211621-EEF3-469D-BC68-ED17746AD563}"/>
                </a:ext>
              </a:extLst>
            </p:cNvPr>
            <p:cNvSpPr txBox="1"/>
            <p:nvPr/>
          </p:nvSpPr>
          <p:spPr>
            <a:xfrm>
              <a:off x="2806545" y="3206350"/>
              <a:ext cx="1188720" cy="292388"/>
            </a:xfrm>
            <a:prstGeom prst="rect">
              <a:avLst/>
            </a:prstGeom>
            <a:noFill/>
          </p:spPr>
          <p:txBody>
            <a:bodyPr wrap="square" rtlCol="0" anchor="ctr">
              <a:spAutoFit/>
            </a:bodyPr>
            <a:lstStyle/>
            <a:p>
              <a:pPr algn="ctr"/>
              <a:r>
                <a:rPr lang="en-US" sz="1300" dirty="0"/>
                <a:t>SDOD tool</a:t>
              </a:r>
            </a:p>
          </p:txBody>
        </p:sp>
        <p:sp>
          <p:nvSpPr>
            <p:cNvPr id="27" name="TextBox 26">
              <a:extLst>
                <a:ext uri="{FF2B5EF4-FFF2-40B4-BE49-F238E27FC236}">
                  <a16:creationId xmlns:a16="http://schemas.microsoft.com/office/drawing/2014/main" id="{7E622774-5476-4CB7-B7C7-3C1BBA66D9AD}"/>
                </a:ext>
              </a:extLst>
            </p:cNvPr>
            <p:cNvSpPr txBox="1"/>
            <p:nvPr/>
          </p:nvSpPr>
          <p:spPr>
            <a:xfrm>
              <a:off x="280225" y="2922878"/>
              <a:ext cx="1188720" cy="692497"/>
            </a:xfrm>
            <a:prstGeom prst="rect">
              <a:avLst/>
            </a:prstGeom>
            <a:noFill/>
          </p:spPr>
          <p:txBody>
            <a:bodyPr wrap="square" rtlCol="0" anchor="ctr">
              <a:spAutoFit/>
            </a:bodyPr>
            <a:lstStyle/>
            <a:p>
              <a:pPr algn="ctr"/>
              <a:r>
                <a:rPr lang="en-US" sz="1300" dirty="0"/>
                <a:t>Handed over to SalesForce &amp; GC tool</a:t>
              </a:r>
            </a:p>
          </p:txBody>
        </p:sp>
        <p:sp>
          <p:nvSpPr>
            <p:cNvPr id="28" name="TextBox 27">
              <a:extLst>
                <a:ext uri="{FF2B5EF4-FFF2-40B4-BE49-F238E27FC236}">
                  <a16:creationId xmlns:a16="http://schemas.microsoft.com/office/drawing/2014/main" id="{24296E13-B0BB-40F0-8ED6-533FC20EFC68}"/>
                </a:ext>
              </a:extLst>
            </p:cNvPr>
            <p:cNvSpPr txBox="1"/>
            <p:nvPr/>
          </p:nvSpPr>
          <p:spPr>
            <a:xfrm>
              <a:off x="2814779" y="4993809"/>
              <a:ext cx="1188720" cy="692497"/>
            </a:xfrm>
            <a:prstGeom prst="rect">
              <a:avLst/>
            </a:prstGeom>
            <a:noFill/>
          </p:spPr>
          <p:txBody>
            <a:bodyPr wrap="square" rtlCol="0" anchor="ctr">
              <a:spAutoFit/>
            </a:bodyPr>
            <a:lstStyle/>
            <a:p>
              <a:pPr algn="ctr"/>
              <a:r>
                <a:rPr lang="en-US" sz="1300" dirty="0"/>
                <a:t>Add-on Sale</a:t>
              </a:r>
            </a:p>
            <a:p>
              <a:pPr algn="ctr"/>
              <a:r>
                <a:rPr lang="en-US" sz="1300" dirty="0"/>
                <a:t>New Opportunities </a:t>
              </a:r>
            </a:p>
          </p:txBody>
        </p:sp>
        <p:sp>
          <p:nvSpPr>
            <p:cNvPr id="29" name="TextBox 28">
              <a:extLst>
                <a:ext uri="{FF2B5EF4-FFF2-40B4-BE49-F238E27FC236}">
                  <a16:creationId xmlns:a16="http://schemas.microsoft.com/office/drawing/2014/main" id="{319F09C7-71A6-488B-B671-7BB8F4C86E21}"/>
                </a:ext>
              </a:extLst>
            </p:cNvPr>
            <p:cNvSpPr txBox="1"/>
            <p:nvPr/>
          </p:nvSpPr>
          <p:spPr>
            <a:xfrm>
              <a:off x="221213" y="4836885"/>
              <a:ext cx="1306744" cy="692497"/>
            </a:xfrm>
            <a:prstGeom prst="rect">
              <a:avLst/>
            </a:prstGeom>
            <a:noFill/>
          </p:spPr>
          <p:txBody>
            <a:bodyPr wrap="square" rtlCol="0" anchor="ctr">
              <a:spAutoFit/>
            </a:bodyPr>
            <a:lstStyle/>
            <a:p>
              <a:pPr algn="ctr"/>
              <a:r>
                <a:rPr lang="en-US" sz="1300" dirty="0"/>
                <a:t>Qualified by ACR/KAM </a:t>
              </a:r>
            </a:p>
            <a:p>
              <a:pPr algn="ctr"/>
              <a:r>
                <a:rPr lang="en-US" sz="1300" dirty="0"/>
                <a:t>CPM</a:t>
              </a:r>
            </a:p>
          </p:txBody>
        </p:sp>
      </p:grpSp>
    </p:spTree>
    <p:extLst>
      <p:ext uri="{BB962C8B-B14F-4D97-AF65-F5344CB8AC3E}">
        <p14:creationId xmlns:p14="http://schemas.microsoft.com/office/powerpoint/2010/main" val="1139863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A6ACF11F-10B1-4113-B6E2-9927A0892568}"/>
              </a:ext>
            </a:extLst>
          </p:cNvPr>
          <p:cNvSpPr/>
          <p:nvPr/>
        </p:nvSpPr>
        <p:spPr>
          <a:xfrm>
            <a:off x="5616576" y="227372"/>
            <a:ext cx="6096000" cy="2123658"/>
          </a:xfrm>
          <a:prstGeom prst="rect">
            <a:avLst/>
          </a:prstGeom>
        </p:spPr>
        <p:txBody>
          <a:bodyPr>
            <a:spAutoFit/>
          </a:bodyPr>
          <a:lstStyle/>
          <a:p>
            <a:pPr algn="ctr">
              <a:defRPr/>
            </a:pPr>
            <a:r>
              <a:rPr lang="en-GB" sz="2400" b="1" dirty="0">
                <a:solidFill>
                  <a:srgbClr val="181818"/>
                </a:solidFill>
              </a:rPr>
              <a:t>Encourage AoS creation</a:t>
            </a:r>
            <a:r>
              <a:rPr lang="en-GB" sz="2800" dirty="0">
                <a:solidFill>
                  <a:srgbClr val="181818"/>
                </a:solidFill>
              </a:rPr>
              <a:t/>
            </a:r>
            <a:br>
              <a:rPr lang="en-GB" sz="2800" dirty="0">
                <a:solidFill>
                  <a:srgbClr val="181818"/>
                </a:solidFill>
              </a:rPr>
            </a:br>
            <a:r>
              <a:rPr lang="en-US" b="1" dirty="0"/>
              <a:t>Sales Opportunity Generation </a:t>
            </a:r>
            <a:r>
              <a:rPr lang="en-US" dirty="0"/>
              <a:t>(SOG) and </a:t>
            </a:r>
            <a:r>
              <a:rPr lang="en-US" b="1" dirty="0"/>
              <a:t>Add on Sales </a:t>
            </a:r>
            <a:r>
              <a:rPr lang="en-US" dirty="0"/>
              <a:t>(AoS) are two of the global BLG (Business Lead Generation) processes in Ericsson that leverage on employees’ contribution to business generation and are key for the Company’s growth and profitability.</a:t>
            </a:r>
          </a:p>
          <a:p>
            <a:pPr lvl="0" algn="ctr">
              <a:defRPr/>
            </a:pPr>
            <a:endParaRPr lang="en-GB" dirty="0">
              <a:solidFill>
                <a:srgbClr val="181818"/>
              </a:solidFill>
            </a:endParaRPr>
          </a:p>
        </p:txBody>
      </p:sp>
      <p:sp>
        <p:nvSpPr>
          <p:cNvPr id="6" name="Rectangle 5">
            <a:extLst>
              <a:ext uri="{FF2B5EF4-FFF2-40B4-BE49-F238E27FC236}">
                <a16:creationId xmlns:a16="http://schemas.microsoft.com/office/drawing/2014/main" id="{7504DE81-815E-4EFD-9A4B-1133E3B96084}"/>
              </a:ext>
            </a:extLst>
          </p:cNvPr>
          <p:cNvSpPr/>
          <p:nvPr/>
        </p:nvSpPr>
        <p:spPr bwMode="auto">
          <a:xfrm>
            <a:off x="3912972" y="2477391"/>
            <a:ext cx="4053016" cy="836865"/>
          </a:xfrm>
          <a:prstGeom prst="rect">
            <a:avLst/>
          </a:prstGeom>
          <a:noFill/>
          <a:ln w="12700" cap="flat" cmpd="sng" algn="ctr">
            <a:solidFill>
              <a:srgbClr val="00B0F0"/>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50000"/>
              </a:spcBef>
              <a:spcAft>
                <a:spcPct val="0"/>
              </a:spcAft>
            </a:pPr>
            <a:r>
              <a:rPr lang="en-US" sz="2400" dirty="0">
                <a:solidFill>
                  <a:srgbClr val="00B0F0"/>
                </a:solidFill>
                <a:latin typeface="Ericsson Hilda"/>
              </a:rPr>
              <a:t>AoS</a:t>
            </a:r>
          </a:p>
        </p:txBody>
      </p:sp>
      <p:sp>
        <p:nvSpPr>
          <p:cNvPr id="8" name="Rectangle 7">
            <a:extLst>
              <a:ext uri="{FF2B5EF4-FFF2-40B4-BE49-F238E27FC236}">
                <a16:creationId xmlns:a16="http://schemas.microsoft.com/office/drawing/2014/main" id="{7038179E-46A7-4C95-83C5-D828DA7C87F5}"/>
              </a:ext>
            </a:extLst>
          </p:cNvPr>
          <p:cNvSpPr/>
          <p:nvPr/>
        </p:nvSpPr>
        <p:spPr bwMode="auto">
          <a:xfrm>
            <a:off x="479424" y="2477391"/>
            <a:ext cx="2947516" cy="836865"/>
          </a:xfrm>
          <a:prstGeom prst="rect">
            <a:avLst/>
          </a:prstGeom>
          <a:noFill/>
          <a:ln w="12700" cap="flat" cmpd="sng" algn="ctr">
            <a:solidFill>
              <a:srgbClr val="00B0F0"/>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lvl="1" indent="0" algn="ctr">
              <a:buNone/>
            </a:pPr>
            <a:r>
              <a:rPr lang="sv-SE" sz="2000" b="1" dirty="0">
                <a:solidFill>
                  <a:srgbClr val="00B0F0"/>
                </a:solidFill>
                <a:latin typeface="+mj-lt"/>
              </a:rPr>
              <a:t>SOG</a:t>
            </a:r>
            <a:r>
              <a:rPr lang="sv-SE" sz="2000" dirty="0">
                <a:solidFill>
                  <a:srgbClr val="00B0F0"/>
                </a:solidFill>
                <a:latin typeface="+mj-lt"/>
              </a:rPr>
              <a:t>, Sales Opportunity Generation</a:t>
            </a:r>
          </a:p>
        </p:txBody>
      </p:sp>
      <p:sp>
        <p:nvSpPr>
          <p:cNvPr id="9" name="Rectangle 8">
            <a:extLst>
              <a:ext uri="{FF2B5EF4-FFF2-40B4-BE49-F238E27FC236}">
                <a16:creationId xmlns:a16="http://schemas.microsoft.com/office/drawing/2014/main" id="{A30C7CDB-752F-441A-9B99-4F82F3D80B8C}"/>
              </a:ext>
            </a:extLst>
          </p:cNvPr>
          <p:cNvSpPr/>
          <p:nvPr/>
        </p:nvSpPr>
        <p:spPr bwMode="auto">
          <a:xfrm>
            <a:off x="8452020" y="2477391"/>
            <a:ext cx="2947516" cy="836865"/>
          </a:xfrm>
          <a:prstGeom prst="rect">
            <a:avLst/>
          </a:prstGeom>
          <a:noFill/>
          <a:ln w="12700" cap="flat" cmpd="sng" algn="ctr">
            <a:solidFill>
              <a:srgbClr val="00B0F0"/>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50000"/>
              </a:spcBef>
              <a:spcAft>
                <a:spcPct val="0"/>
              </a:spcAft>
            </a:pPr>
            <a:r>
              <a:rPr lang="en-US" sz="2400" dirty="0">
                <a:solidFill>
                  <a:srgbClr val="00B0F0"/>
                </a:solidFill>
                <a:latin typeface="Ericsson Hilda"/>
              </a:rPr>
              <a:t>Important Links </a:t>
            </a:r>
          </a:p>
        </p:txBody>
      </p:sp>
      <p:pic>
        <p:nvPicPr>
          <p:cNvPr id="11" name="Graphic 10">
            <a:extLst>
              <a:ext uri="{FF2B5EF4-FFF2-40B4-BE49-F238E27FC236}">
                <a16:creationId xmlns:a16="http://schemas.microsoft.com/office/drawing/2014/main" id="{5A81D607-025C-4B17-B757-A28D2563A48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599250" y="2126699"/>
            <a:ext cx="300447" cy="269789"/>
          </a:xfrm>
          <a:prstGeom prst="rect">
            <a:avLst/>
          </a:prstGeom>
        </p:spPr>
      </p:pic>
      <p:pic>
        <p:nvPicPr>
          <p:cNvPr id="12" name="Graphic 11">
            <a:extLst>
              <a:ext uri="{FF2B5EF4-FFF2-40B4-BE49-F238E27FC236}">
                <a16:creationId xmlns:a16="http://schemas.microsoft.com/office/drawing/2014/main" id="{21777F3C-975D-43B4-AF39-6170096E78BE}"/>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953181" y="2126698"/>
            <a:ext cx="300447" cy="269789"/>
          </a:xfrm>
          <a:prstGeom prst="rect">
            <a:avLst/>
          </a:prstGeom>
        </p:spPr>
      </p:pic>
      <p:pic>
        <p:nvPicPr>
          <p:cNvPr id="13" name="Graphic 12">
            <a:extLst>
              <a:ext uri="{FF2B5EF4-FFF2-40B4-BE49-F238E27FC236}">
                <a16:creationId xmlns:a16="http://schemas.microsoft.com/office/drawing/2014/main" id="{4941EAEB-46C9-42AE-AD27-0CB0CA1B2F7E}"/>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5770864" y="2071352"/>
            <a:ext cx="325136" cy="325136"/>
          </a:xfrm>
          <a:prstGeom prst="rect">
            <a:avLst/>
          </a:prstGeom>
        </p:spPr>
      </p:pic>
      <p:pic>
        <p:nvPicPr>
          <p:cNvPr id="14" name="Graphic 13">
            <a:extLst>
              <a:ext uri="{FF2B5EF4-FFF2-40B4-BE49-F238E27FC236}">
                <a16:creationId xmlns:a16="http://schemas.microsoft.com/office/drawing/2014/main" id="{10A820C3-445C-4F86-AE5C-6BE6E306D4D4}"/>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9819719" y="2071352"/>
            <a:ext cx="271932" cy="325136"/>
          </a:xfrm>
          <a:prstGeom prst="rect">
            <a:avLst/>
          </a:prstGeom>
        </p:spPr>
      </p:pic>
      <p:sp>
        <p:nvSpPr>
          <p:cNvPr id="15" name="Freeform 3">
            <a:extLst>
              <a:ext uri="{FF2B5EF4-FFF2-40B4-BE49-F238E27FC236}">
                <a16:creationId xmlns:a16="http://schemas.microsoft.com/office/drawing/2014/main" id="{47236F9D-551C-4777-8953-0CE5A83BFA2D}"/>
              </a:ext>
            </a:extLst>
          </p:cNvPr>
          <p:cNvSpPr>
            <a:spLocks noChangeAspect="1" noEditPoints="1"/>
          </p:cNvSpPr>
          <p:nvPr/>
        </p:nvSpPr>
        <p:spPr bwMode="auto">
          <a:xfrm>
            <a:off x="479424" y="549721"/>
            <a:ext cx="454321" cy="627862"/>
          </a:xfrm>
          <a:custGeom>
            <a:avLst/>
            <a:gdLst>
              <a:gd name="T0" fmla="*/ 2147483647 w 334"/>
              <a:gd name="T1" fmla="*/ 2147483647 h 461"/>
              <a:gd name="T2" fmla="*/ 2147483647 w 334"/>
              <a:gd name="T3" fmla="*/ 2147483647 h 461"/>
              <a:gd name="T4" fmla="*/ 2147483647 w 334"/>
              <a:gd name="T5" fmla="*/ 2147483647 h 461"/>
              <a:gd name="T6" fmla="*/ 2147483647 w 334"/>
              <a:gd name="T7" fmla="*/ 2147483647 h 461"/>
              <a:gd name="T8" fmla="*/ 2147483647 w 334"/>
              <a:gd name="T9" fmla="*/ 2147483647 h 461"/>
              <a:gd name="T10" fmla="*/ 2147483647 w 334"/>
              <a:gd name="T11" fmla="*/ 2147483647 h 461"/>
              <a:gd name="T12" fmla="*/ 2147483647 w 334"/>
              <a:gd name="T13" fmla="*/ 2147483647 h 461"/>
              <a:gd name="T14" fmla="*/ 2147483647 w 334"/>
              <a:gd name="T15" fmla="*/ 2147483647 h 461"/>
              <a:gd name="T16" fmla="*/ 2147483647 w 334"/>
              <a:gd name="T17" fmla="*/ 2147483647 h 461"/>
              <a:gd name="T18" fmla="*/ 2147483647 w 334"/>
              <a:gd name="T19" fmla="*/ 2147483647 h 461"/>
              <a:gd name="T20" fmla="*/ 2147483647 w 334"/>
              <a:gd name="T21" fmla="*/ 2147483647 h 461"/>
              <a:gd name="T22" fmla="*/ 2147483647 w 334"/>
              <a:gd name="T23" fmla="*/ 2147483647 h 461"/>
              <a:gd name="T24" fmla="*/ 2147483647 w 334"/>
              <a:gd name="T25" fmla="*/ 2147483647 h 461"/>
              <a:gd name="T26" fmla="*/ 2147483647 w 334"/>
              <a:gd name="T27" fmla="*/ 2147483647 h 461"/>
              <a:gd name="T28" fmla="*/ 2147483647 w 334"/>
              <a:gd name="T29" fmla="*/ 2147483647 h 461"/>
              <a:gd name="T30" fmla="*/ 2147483647 w 334"/>
              <a:gd name="T31" fmla="*/ 2147483647 h 461"/>
              <a:gd name="T32" fmla="*/ 2147483647 w 334"/>
              <a:gd name="T33" fmla="*/ 2147483647 h 461"/>
              <a:gd name="T34" fmla="*/ 2147483647 w 334"/>
              <a:gd name="T35" fmla="*/ 2147483647 h 461"/>
              <a:gd name="T36" fmla="*/ 2147483647 w 334"/>
              <a:gd name="T37" fmla="*/ 2147483647 h 461"/>
              <a:gd name="T38" fmla="*/ 2147483647 w 334"/>
              <a:gd name="T39" fmla="*/ 2147483647 h 461"/>
              <a:gd name="T40" fmla="*/ 2147483647 w 334"/>
              <a:gd name="T41" fmla="*/ 2147483647 h 461"/>
              <a:gd name="T42" fmla="*/ 2147483647 w 334"/>
              <a:gd name="T43" fmla="*/ 2147483647 h 461"/>
              <a:gd name="T44" fmla="*/ 2147483647 w 334"/>
              <a:gd name="T45" fmla="*/ 2147483647 h 461"/>
              <a:gd name="T46" fmla="*/ 2147483647 w 334"/>
              <a:gd name="T47" fmla="*/ 2147483647 h 461"/>
              <a:gd name="T48" fmla="*/ 2147483647 w 334"/>
              <a:gd name="T49" fmla="*/ 2147483647 h 461"/>
              <a:gd name="T50" fmla="*/ 2147483647 w 334"/>
              <a:gd name="T51" fmla="*/ 2147483647 h 461"/>
              <a:gd name="T52" fmla="*/ 2147483647 w 334"/>
              <a:gd name="T53" fmla="*/ 2147483647 h 461"/>
              <a:gd name="T54" fmla="*/ 2147483647 w 334"/>
              <a:gd name="T55" fmla="*/ 2147483647 h 461"/>
              <a:gd name="T56" fmla="*/ 2147483647 w 334"/>
              <a:gd name="T57" fmla="*/ 2147483647 h 461"/>
              <a:gd name="T58" fmla="*/ 2147483647 w 334"/>
              <a:gd name="T59" fmla="*/ 2147483647 h 461"/>
              <a:gd name="T60" fmla="*/ 2147483647 w 334"/>
              <a:gd name="T61" fmla="*/ 2147483647 h 461"/>
              <a:gd name="T62" fmla="*/ 2147483647 w 334"/>
              <a:gd name="T63" fmla="*/ 2147483647 h 461"/>
              <a:gd name="T64" fmla="*/ 2147483647 w 334"/>
              <a:gd name="T65" fmla="*/ 2147483647 h 461"/>
              <a:gd name="T66" fmla="*/ 2147483647 w 334"/>
              <a:gd name="T67" fmla="*/ 2147483647 h 461"/>
              <a:gd name="T68" fmla="*/ 2147483647 w 334"/>
              <a:gd name="T69" fmla="*/ 2147483647 h 461"/>
              <a:gd name="T70" fmla="*/ 2147483647 w 334"/>
              <a:gd name="T71" fmla="*/ 2147483647 h 461"/>
              <a:gd name="T72" fmla="*/ 2147483647 w 334"/>
              <a:gd name="T73" fmla="*/ 2147483647 h 461"/>
              <a:gd name="T74" fmla="*/ 2147483647 w 334"/>
              <a:gd name="T75" fmla="*/ 2147483647 h 461"/>
              <a:gd name="T76" fmla="*/ 2147483647 w 334"/>
              <a:gd name="T77" fmla="*/ 2147483647 h 461"/>
              <a:gd name="T78" fmla="*/ 2147483647 w 334"/>
              <a:gd name="T79" fmla="*/ 2147483647 h 461"/>
              <a:gd name="T80" fmla="*/ 2147483647 w 334"/>
              <a:gd name="T81" fmla="*/ 2147483647 h 461"/>
              <a:gd name="T82" fmla="*/ 2147483647 w 334"/>
              <a:gd name="T83" fmla="*/ 2147483647 h 461"/>
              <a:gd name="T84" fmla="*/ 2147483647 w 334"/>
              <a:gd name="T85" fmla="*/ 2147483647 h 461"/>
              <a:gd name="T86" fmla="*/ 2147483647 w 334"/>
              <a:gd name="T87" fmla="*/ 2147483647 h 461"/>
              <a:gd name="T88" fmla="*/ 2147483647 w 334"/>
              <a:gd name="T89" fmla="*/ 2147483647 h 461"/>
              <a:gd name="T90" fmla="*/ 2147483647 w 334"/>
              <a:gd name="T91" fmla="*/ 2147483647 h 461"/>
              <a:gd name="T92" fmla="*/ 2147483647 w 334"/>
              <a:gd name="T93" fmla="*/ 2147483647 h 461"/>
              <a:gd name="T94" fmla="*/ 2147483647 w 334"/>
              <a:gd name="T95" fmla="*/ 2147483647 h 461"/>
              <a:gd name="T96" fmla="*/ 2147483647 w 334"/>
              <a:gd name="T97" fmla="*/ 2147483647 h 461"/>
              <a:gd name="T98" fmla="*/ 2147483647 w 334"/>
              <a:gd name="T99" fmla="*/ 2147483647 h 461"/>
              <a:gd name="T100" fmla="*/ 2147483647 w 334"/>
              <a:gd name="T101" fmla="*/ 2147483647 h 461"/>
              <a:gd name="T102" fmla="*/ 2147483647 w 334"/>
              <a:gd name="T103" fmla="*/ 2147483647 h 4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34" h="461">
                <a:moveTo>
                  <a:pt x="333" y="131"/>
                </a:moveTo>
                <a:cubicBezTo>
                  <a:pt x="334" y="129"/>
                  <a:pt x="334" y="126"/>
                  <a:pt x="333" y="124"/>
                </a:cubicBezTo>
                <a:cubicBezTo>
                  <a:pt x="333" y="124"/>
                  <a:pt x="328" y="114"/>
                  <a:pt x="320" y="101"/>
                </a:cubicBezTo>
                <a:cubicBezTo>
                  <a:pt x="318" y="98"/>
                  <a:pt x="313" y="97"/>
                  <a:pt x="309" y="99"/>
                </a:cubicBezTo>
                <a:cubicBezTo>
                  <a:pt x="306" y="102"/>
                  <a:pt x="305" y="107"/>
                  <a:pt x="308" y="111"/>
                </a:cubicBezTo>
                <a:cubicBezTo>
                  <a:pt x="308" y="111"/>
                  <a:pt x="308" y="111"/>
                  <a:pt x="308" y="111"/>
                </a:cubicBezTo>
                <a:cubicBezTo>
                  <a:pt x="310" y="115"/>
                  <a:pt x="313" y="119"/>
                  <a:pt x="314" y="122"/>
                </a:cubicBezTo>
                <a:cubicBezTo>
                  <a:pt x="284" y="130"/>
                  <a:pt x="284" y="130"/>
                  <a:pt x="284" y="130"/>
                </a:cubicBezTo>
                <a:cubicBezTo>
                  <a:pt x="273" y="132"/>
                  <a:pt x="273" y="132"/>
                  <a:pt x="273" y="132"/>
                </a:cubicBezTo>
                <a:cubicBezTo>
                  <a:pt x="269" y="119"/>
                  <a:pt x="262" y="106"/>
                  <a:pt x="253" y="95"/>
                </a:cubicBezTo>
                <a:cubicBezTo>
                  <a:pt x="274" y="75"/>
                  <a:pt x="274" y="75"/>
                  <a:pt x="274" y="75"/>
                </a:cubicBezTo>
                <a:cubicBezTo>
                  <a:pt x="279" y="77"/>
                  <a:pt x="284" y="81"/>
                  <a:pt x="289" y="85"/>
                </a:cubicBezTo>
                <a:cubicBezTo>
                  <a:pt x="289" y="86"/>
                  <a:pt x="289" y="86"/>
                  <a:pt x="289" y="86"/>
                </a:cubicBezTo>
                <a:cubicBezTo>
                  <a:pt x="292" y="89"/>
                  <a:pt x="297" y="90"/>
                  <a:pt x="300" y="87"/>
                </a:cubicBezTo>
                <a:cubicBezTo>
                  <a:pt x="304" y="84"/>
                  <a:pt x="304" y="79"/>
                  <a:pt x="302" y="76"/>
                </a:cubicBezTo>
                <a:cubicBezTo>
                  <a:pt x="297" y="71"/>
                  <a:pt x="292" y="67"/>
                  <a:pt x="286" y="63"/>
                </a:cubicBezTo>
                <a:cubicBezTo>
                  <a:pt x="290" y="59"/>
                  <a:pt x="290" y="59"/>
                  <a:pt x="290" y="59"/>
                </a:cubicBezTo>
                <a:cubicBezTo>
                  <a:pt x="292" y="58"/>
                  <a:pt x="293" y="55"/>
                  <a:pt x="293" y="53"/>
                </a:cubicBezTo>
                <a:cubicBezTo>
                  <a:pt x="293" y="51"/>
                  <a:pt x="291" y="48"/>
                  <a:pt x="290" y="47"/>
                </a:cubicBezTo>
                <a:cubicBezTo>
                  <a:pt x="289" y="47"/>
                  <a:pt x="279" y="40"/>
                  <a:pt x="265" y="32"/>
                </a:cubicBezTo>
                <a:cubicBezTo>
                  <a:pt x="252" y="25"/>
                  <a:pt x="235" y="18"/>
                  <a:pt x="219" y="18"/>
                </a:cubicBezTo>
                <a:cubicBezTo>
                  <a:pt x="220" y="12"/>
                  <a:pt x="220" y="12"/>
                  <a:pt x="220" y="12"/>
                </a:cubicBezTo>
                <a:cubicBezTo>
                  <a:pt x="221" y="10"/>
                  <a:pt x="220" y="7"/>
                  <a:pt x="219" y="5"/>
                </a:cubicBezTo>
                <a:cubicBezTo>
                  <a:pt x="218" y="3"/>
                  <a:pt x="215" y="2"/>
                  <a:pt x="213" y="2"/>
                </a:cubicBezTo>
                <a:cubicBezTo>
                  <a:pt x="213" y="2"/>
                  <a:pt x="205" y="1"/>
                  <a:pt x="194" y="1"/>
                </a:cubicBezTo>
                <a:cubicBezTo>
                  <a:pt x="184" y="1"/>
                  <a:pt x="172" y="2"/>
                  <a:pt x="159" y="4"/>
                </a:cubicBezTo>
                <a:cubicBezTo>
                  <a:pt x="151" y="6"/>
                  <a:pt x="144" y="8"/>
                  <a:pt x="137" y="12"/>
                </a:cubicBezTo>
                <a:cubicBezTo>
                  <a:pt x="136" y="6"/>
                  <a:pt x="136" y="6"/>
                  <a:pt x="136" y="6"/>
                </a:cubicBezTo>
                <a:cubicBezTo>
                  <a:pt x="135" y="4"/>
                  <a:pt x="133" y="2"/>
                  <a:pt x="131" y="1"/>
                </a:cubicBezTo>
                <a:cubicBezTo>
                  <a:pt x="129" y="0"/>
                  <a:pt x="127" y="0"/>
                  <a:pt x="124" y="1"/>
                </a:cubicBezTo>
                <a:cubicBezTo>
                  <a:pt x="124" y="1"/>
                  <a:pt x="110" y="8"/>
                  <a:pt x="95" y="18"/>
                </a:cubicBezTo>
                <a:cubicBezTo>
                  <a:pt x="83" y="26"/>
                  <a:pt x="71" y="36"/>
                  <a:pt x="63" y="48"/>
                </a:cubicBezTo>
                <a:cubicBezTo>
                  <a:pt x="59" y="44"/>
                  <a:pt x="59" y="44"/>
                  <a:pt x="59" y="44"/>
                </a:cubicBezTo>
                <a:cubicBezTo>
                  <a:pt x="58" y="42"/>
                  <a:pt x="55" y="41"/>
                  <a:pt x="53" y="41"/>
                </a:cubicBezTo>
                <a:cubicBezTo>
                  <a:pt x="51" y="42"/>
                  <a:pt x="49" y="43"/>
                  <a:pt x="47" y="45"/>
                </a:cubicBezTo>
                <a:cubicBezTo>
                  <a:pt x="47" y="45"/>
                  <a:pt x="40" y="55"/>
                  <a:pt x="33" y="69"/>
                </a:cubicBezTo>
                <a:cubicBezTo>
                  <a:pt x="25" y="83"/>
                  <a:pt x="18" y="100"/>
                  <a:pt x="18" y="116"/>
                </a:cubicBezTo>
                <a:cubicBezTo>
                  <a:pt x="12" y="114"/>
                  <a:pt x="12" y="114"/>
                  <a:pt x="12" y="114"/>
                </a:cubicBezTo>
                <a:cubicBezTo>
                  <a:pt x="10" y="114"/>
                  <a:pt x="7" y="114"/>
                  <a:pt x="6" y="115"/>
                </a:cubicBezTo>
                <a:cubicBezTo>
                  <a:pt x="4" y="117"/>
                  <a:pt x="2" y="119"/>
                  <a:pt x="2" y="121"/>
                </a:cubicBezTo>
                <a:cubicBezTo>
                  <a:pt x="2" y="121"/>
                  <a:pt x="1" y="129"/>
                  <a:pt x="1" y="140"/>
                </a:cubicBezTo>
                <a:cubicBezTo>
                  <a:pt x="1" y="150"/>
                  <a:pt x="2" y="163"/>
                  <a:pt x="4" y="175"/>
                </a:cubicBezTo>
                <a:cubicBezTo>
                  <a:pt x="6" y="183"/>
                  <a:pt x="8" y="191"/>
                  <a:pt x="12" y="197"/>
                </a:cubicBezTo>
                <a:cubicBezTo>
                  <a:pt x="7" y="199"/>
                  <a:pt x="7" y="199"/>
                  <a:pt x="7" y="199"/>
                </a:cubicBezTo>
                <a:cubicBezTo>
                  <a:pt x="4" y="199"/>
                  <a:pt x="2" y="201"/>
                  <a:pt x="1" y="203"/>
                </a:cubicBezTo>
                <a:cubicBezTo>
                  <a:pt x="0" y="205"/>
                  <a:pt x="0" y="208"/>
                  <a:pt x="1" y="210"/>
                </a:cubicBezTo>
                <a:cubicBezTo>
                  <a:pt x="1" y="210"/>
                  <a:pt x="8" y="224"/>
                  <a:pt x="18" y="240"/>
                </a:cubicBezTo>
                <a:cubicBezTo>
                  <a:pt x="26" y="251"/>
                  <a:pt x="36" y="264"/>
                  <a:pt x="48" y="271"/>
                </a:cubicBezTo>
                <a:cubicBezTo>
                  <a:pt x="44" y="275"/>
                  <a:pt x="44" y="275"/>
                  <a:pt x="44" y="275"/>
                </a:cubicBezTo>
                <a:cubicBezTo>
                  <a:pt x="42" y="277"/>
                  <a:pt x="41" y="279"/>
                  <a:pt x="42" y="281"/>
                </a:cubicBezTo>
                <a:cubicBezTo>
                  <a:pt x="42" y="284"/>
                  <a:pt x="43" y="286"/>
                  <a:pt x="45" y="287"/>
                </a:cubicBezTo>
                <a:cubicBezTo>
                  <a:pt x="45" y="287"/>
                  <a:pt x="55" y="295"/>
                  <a:pt x="69" y="302"/>
                </a:cubicBezTo>
                <a:cubicBezTo>
                  <a:pt x="78" y="306"/>
                  <a:pt x="89" y="311"/>
                  <a:pt x="99" y="314"/>
                </a:cubicBezTo>
                <a:cubicBezTo>
                  <a:pt x="94" y="328"/>
                  <a:pt x="89" y="342"/>
                  <a:pt x="83" y="353"/>
                </a:cubicBezTo>
                <a:cubicBezTo>
                  <a:pt x="74" y="373"/>
                  <a:pt x="63" y="389"/>
                  <a:pt x="54" y="401"/>
                </a:cubicBezTo>
                <a:cubicBezTo>
                  <a:pt x="45" y="412"/>
                  <a:pt x="36" y="420"/>
                  <a:pt x="32" y="421"/>
                </a:cubicBezTo>
                <a:cubicBezTo>
                  <a:pt x="28" y="423"/>
                  <a:pt x="27" y="427"/>
                  <a:pt x="28" y="431"/>
                </a:cubicBezTo>
                <a:cubicBezTo>
                  <a:pt x="29" y="435"/>
                  <a:pt x="32" y="437"/>
                  <a:pt x="36" y="437"/>
                </a:cubicBezTo>
                <a:cubicBezTo>
                  <a:pt x="62" y="434"/>
                  <a:pt x="86" y="421"/>
                  <a:pt x="99" y="413"/>
                </a:cubicBezTo>
                <a:cubicBezTo>
                  <a:pt x="100" y="418"/>
                  <a:pt x="101" y="424"/>
                  <a:pt x="101" y="431"/>
                </a:cubicBezTo>
                <a:cubicBezTo>
                  <a:pt x="101" y="437"/>
                  <a:pt x="100" y="444"/>
                  <a:pt x="98" y="450"/>
                </a:cubicBezTo>
                <a:cubicBezTo>
                  <a:pt x="96" y="453"/>
                  <a:pt x="97" y="456"/>
                  <a:pt x="98" y="458"/>
                </a:cubicBezTo>
                <a:cubicBezTo>
                  <a:pt x="100" y="460"/>
                  <a:pt x="102" y="461"/>
                  <a:pt x="105" y="461"/>
                </a:cubicBezTo>
                <a:cubicBezTo>
                  <a:pt x="105" y="461"/>
                  <a:pt x="105" y="461"/>
                  <a:pt x="106" y="461"/>
                </a:cubicBezTo>
                <a:cubicBezTo>
                  <a:pt x="119" y="459"/>
                  <a:pt x="129" y="449"/>
                  <a:pt x="141" y="433"/>
                </a:cubicBezTo>
                <a:cubicBezTo>
                  <a:pt x="150" y="421"/>
                  <a:pt x="159" y="404"/>
                  <a:pt x="167" y="385"/>
                </a:cubicBezTo>
                <a:cubicBezTo>
                  <a:pt x="176" y="404"/>
                  <a:pt x="185" y="421"/>
                  <a:pt x="194" y="433"/>
                </a:cubicBezTo>
                <a:cubicBezTo>
                  <a:pt x="205" y="449"/>
                  <a:pt x="215" y="459"/>
                  <a:pt x="229" y="461"/>
                </a:cubicBezTo>
                <a:cubicBezTo>
                  <a:pt x="229" y="461"/>
                  <a:pt x="229" y="461"/>
                  <a:pt x="230" y="461"/>
                </a:cubicBezTo>
                <a:cubicBezTo>
                  <a:pt x="232" y="461"/>
                  <a:pt x="234" y="460"/>
                  <a:pt x="236" y="458"/>
                </a:cubicBezTo>
                <a:cubicBezTo>
                  <a:pt x="238" y="456"/>
                  <a:pt x="238" y="453"/>
                  <a:pt x="237" y="450"/>
                </a:cubicBezTo>
                <a:cubicBezTo>
                  <a:pt x="234" y="444"/>
                  <a:pt x="233" y="437"/>
                  <a:pt x="233" y="431"/>
                </a:cubicBezTo>
                <a:cubicBezTo>
                  <a:pt x="233" y="424"/>
                  <a:pt x="234" y="418"/>
                  <a:pt x="235" y="413"/>
                </a:cubicBezTo>
                <a:cubicBezTo>
                  <a:pt x="248" y="421"/>
                  <a:pt x="273" y="434"/>
                  <a:pt x="298" y="437"/>
                </a:cubicBezTo>
                <a:cubicBezTo>
                  <a:pt x="302" y="437"/>
                  <a:pt x="306" y="435"/>
                  <a:pt x="307" y="431"/>
                </a:cubicBezTo>
                <a:cubicBezTo>
                  <a:pt x="308" y="427"/>
                  <a:pt x="306" y="423"/>
                  <a:pt x="302" y="421"/>
                </a:cubicBezTo>
                <a:cubicBezTo>
                  <a:pt x="295" y="419"/>
                  <a:pt x="277" y="401"/>
                  <a:pt x="261" y="372"/>
                </a:cubicBezTo>
                <a:cubicBezTo>
                  <a:pt x="253" y="357"/>
                  <a:pt x="244" y="339"/>
                  <a:pt x="237" y="318"/>
                </a:cubicBezTo>
                <a:cubicBezTo>
                  <a:pt x="238" y="318"/>
                  <a:pt x="239" y="317"/>
                  <a:pt x="240" y="316"/>
                </a:cubicBezTo>
                <a:cubicBezTo>
                  <a:pt x="251" y="308"/>
                  <a:pt x="264" y="299"/>
                  <a:pt x="271" y="286"/>
                </a:cubicBezTo>
                <a:cubicBezTo>
                  <a:pt x="275" y="290"/>
                  <a:pt x="275" y="290"/>
                  <a:pt x="275" y="290"/>
                </a:cubicBezTo>
                <a:cubicBezTo>
                  <a:pt x="276" y="292"/>
                  <a:pt x="279" y="293"/>
                  <a:pt x="281" y="293"/>
                </a:cubicBezTo>
                <a:cubicBezTo>
                  <a:pt x="281" y="293"/>
                  <a:pt x="281" y="293"/>
                  <a:pt x="281" y="293"/>
                </a:cubicBezTo>
                <a:cubicBezTo>
                  <a:pt x="284" y="293"/>
                  <a:pt x="286" y="291"/>
                  <a:pt x="287" y="289"/>
                </a:cubicBezTo>
                <a:cubicBezTo>
                  <a:pt x="287" y="289"/>
                  <a:pt x="295" y="279"/>
                  <a:pt x="302" y="265"/>
                </a:cubicBezTo>
                <a:cubicBezTo>
                  <a:pt x="309" y="252"/>
                  <a:pt x="316" y="235"/>
                  <a:pt x="317" y="218"/>
                </a:cubicBezTo>
                <a:cubicBezTo>
                  <a:pt x="322" y="220"/>
                  <a:pt x="322" y="220"/>
                  <a:pt x="322" y="220"/>
                </a:cubicBezTo>
                <a:cubicBezTo>
                  <a:pt x="323" y="220"/>
                  <a:pt x="324" y="220"/>
                  <a:pt x="324" y="220"/>
                </a:cubicBezTo>
                <a:cubicBezTo>
                  <a:pt x="326" y="220"/>
                  <a:pt x="328" y="220"/>
                  <a:pt x="329" y="219"/>
                </a:cubicBezTo>
                <a:cubicBezTo>
                  <a:pt x="331" y="218"/>
                  <a:pt x="332" y="215"/>
                  <a:pt x="332" y="213"/>
                </a:cubicBezTo>
                <a:cubicBezTo>
                  <a:pt x="332" y="213"/>
                  <a:pt x="333" y="205"/>
                  <a:pt x="333" y="194"/>
                </a:cubicBezTo>
                <a:cubicBezTo>
                  <a:pt x="333" y="184"/>
                  <a:pt x="332" y="171"/>
                  <a:pt x="330" y="159"/>
                </a:cubicBezTo>
                <a:cubicBezTo>
                  <a:pt x="328" y="151"/>
                  <a:pt x="326" y="144"/>
                  <a:pt x="322" y="137"/>
                </a:cubicBezTo>
                <a:cubicBezTo>
                  <a:pt x="328" y="135"/>
                  <a:pt x="328" y="135"/>
                  <a:pt x="328" y="135"/>
                </a:cubicBezTo>
                <a:cubicBezTo>
                  <a:pt x="330" y="135"/>
                  <a:pt x="332" y="133"/>
                  <a:pt x="333" y="131"/>
                </a:cubicBezTo>
                <a:close/>
                <a:moveTo>
                  <a:pt x="214" y="34"/>
                </a:moveTo>
                <a:cubicBezTo>
                  <a:pt x="215" y="34"/>
                  <a:pt x="216" y="33"/>
                  <a:pt x="217" y="33"/>
                </a:cubicBezTo>
                <a:cubicBezTo>
                  <a:pt x="229" y="33"/>
                  <a:pt x="245" y="40"/>
                  <a:pt x="258" y="47"/>
                </a:cubicBezTo>
                <a:cubicBezTo>
                  <a:pt x="263" y="50"/>
                  <a:pt x="268" y="52"/>
                  <a:pt x="272" y="55"/>
                </a:cubicBezTo>
                <a:cubicBezTo>
                  <a:pt x="267" y="60"/>
                  <a:pt x="267" y="60"/>
                  <a:pt x="267" y="60"/>
                </a:cubicBezTo>
                <a:cubicBezTo>
                  <a:pt x="267" y="60"/>
                  <a:pt x="267" y="60"/>
                  <a:pt x="267" y="60"/>
                </a:cubicBezTo>
                <a:cubicBezTo>
                  <a:pt x="242" y="84"/>
                  <a:pt x="242" y="84"/>
                  <a:pt x="242" y="84"/>
                </a:cubicBezTo>
                <a:cubicBezTo>
                  <a:pt x="231" y="75"/>
                  <a:pt x="219" y="67"/>
                  <a:pt x="206" y="62"/>
                </a:cubicBezTo>
                <a:lnTo>
                  <a:pt x="214" y="34"/>
                </a:lnTo>
                <a:close/>
                <a:moveTo>
                  <a:pt x="162" y="20"/>
                </a:moveTo>
                <a:cubicBezTo>
                  <a:pt x="173" y="18"/>
                  <a:pt x="185" y="17"/>
                  <a:pt x="194" y="17"/>
                </a:cubicBezTo>
                <a:cubicBezTo>
                  <a:pt x="197" y="17"/>
                  <a:pt x="200" y="17"/>
                  <a:pt x="202" y="17"/>
                </a:cubicBezTo>
                <a:cubicBezTo>
                  <a:pt x="200" y="25"/>
                  <a:pt x="200" y="25"/>
                  <a:pt x="200" y="25"/>
                </a:cubicBezTo>
                <a:cubicBezTo>
                  <a:pt x="200" y="25"/>
                  <a:pt x="200" y="25"/>
                  <a:pt x="200" y="25"/>
                </a:cubicBezTo>
                <a:cubicBezTo>
                  <a:pt x="190" y="58"/>
                  <a:pt x="190" y="58"/>
                  <a:pt x="190" y="58"/>
                </a:cubicBezTo>
                <a:cubicBezTo>
                  <a:pt x="183" y="56"/>
                  <a:pt x="175" y="55"/>
                  <a:pt x="167" y="55"/>
                </a:cubicBezTo>
                <a:cubicBezTo>
                  <a:pt x="161" y="55"/>
                  <a:pt x="154" y="56"/>
                  <a:pt x="148" y="57"/>
                </a:cubicBezTo>
                <a:cubicBezTo>
                  <a:pt x="142" y="31"/>
                  <a:pt x="142" y="31"/>
                  <a:pt x="142" y="31"/>
                </a:cubicBezTo>
                <a:cubicBezTo>
                  <a:pt x="141" y="28"/>
                  <a:pt x="141" y="28"/>
                  <a:pt x="141" y="28"/>
                </a:cubicBezTo>
                <a:cubicBezTo>
                  <a:pt x="146" y="25"/>
                  <a:pt x="154" y="22"/>
                  <a:pt x="162" y="20"/>
                </a:cubicBezTo>
                <a:close/>
                <a:moveTo>
                  <a:pt x="167" y="71"/>
                </a:moveTo>
                <a:cubicBezTo>
                  <a:pt x="220" y="71"/>
                  <a:pt x="263" y="114"/>
                  <a:pt x="263" y="167"/>
                </a:cubicBezTo>
                <a:cubicBezTo>
                  <a:pt x="263" y="220"/>
                  <a:pt x="220" y="263"/>
                  <a:pt x="167" y="263"/>
                </a:cubicBezTo>
                <a:cubicBezTo>
                  <a:pt x="114" y="263"/>
                  <a:pt x="71" y="220"/>
                  <a:pt x="71" y="167"/>
                </a:cubicBezTo>
                <a:cubicBezTo>
                  <a:pt x="71" y="114"/>
                  <a:pt x="114" y="71"/>
                  <a:pt x="167" y="71"/>
                </a:cubicBezTo>
                <a:close/>
                <a:moveTo>
                  <a:pt x="104" y="31"/>
                </a:moveTo>
                <a:cubicBezTo>
                  <a:pt x="111" y="27"/>
                  <a:pt x="117" y="23"/>
                  <a:pt x="122" y="20"/>
                </a:cubicBezTo>
                <a:cubicBezTo>
                  <a:pt x="129" y="46"/>
                  <a:pt x="129" y="46"/>
                  <a:pt x="129" y="46"/>
                </a:cubicBezTo>
                <a:cubicBezTo>
                  <a:pt x="133" y="61"/>
                  <a:pt x="133" y="61"/>
                  <a:pt x="133" y="61"/>
                </a:cubicBezTo>
                <a:cubicBezTo>
                  <a:pt x="119" y="65"/>
                  <a:pt x="106" y="72"/>
                  <a:pt x="96" y="81"/>
                </a:cubicBezTo>
                <a:cubicBezTo>
                  <a:pt x="84" y="70"/>
                  <a:pt x="84" y="70"/>
                  <a:pt x="84" y="70"/>
                </a:cubicBezTo>
                <a:cubicBezTo>
                  <a:pt x="75" y="60"/>
                  <a:pt x="75" y="60"/>
                  <a:pt x="75" y="60"/>
                </a:cubicBezTo>
                <a:cubicBezTo>
                  <a:pt x="79" y="51"/>
                  <a:pt x="91" y="39"/>
                  <a:pt x="104" y="31"/>
                </a:cubicBezTo>
                <a:close/>
                <a:moveTo>
                  <a:pt x="47" y="76"/>
                </a:moveTo>
                <a:cubicBezTo>
                  <a:pt x="50" y="71"/>
                  <a:pt x="52" y="66"/>
                  <a:pt x="55" y="62"/>
                </a:cubicBezTo>
                <a:cubicBezTo>
                  <a:pt x="84" y="92"/>
                  <a:pt x="84" y="92"/>
                  <a:pt x="84" y="92"/>
                </a:cubicBezTo>
                <a:cubicBezTo>
                  <a:pt x="75" y="103"/>
                  <a:pt x="67" y="115"/>
                  <a:pt x="62" y="129"/>
                </a:cubicBezTo>
                <a:cubicBezTo>
                  <a:pt x="34" y="120"/>
                  <a:pt x="34" y="120"/>
                  <a:pt x="34" y="120"/>
                </a:cubicBezTo>
                <a:cubicBezTo>
                  <a:pt x="34" y="119"/>
                  <a:pt x="34" y="118"/>
                  <a:pt x="34" y="117"/>
                </a:cubicBezTo>
                <a:cubicBezTo>
                  <a:pt x="33" y="106"/>
                  <a:pt x="40" y="89"/>
                  <a:pt x="47" y="76"/>
                </a:cubicBezTo>
                <a:close/>
                <a:moveTo>
                  <a:pt x="17" y="140"/>
                </a:moveTo>
                <a:cubicBezTo>
                  <a:pt x="17" y="137"/>
                  <a:pt x="17" y="135"/>
                  <a:pt x="17" y="132"/>
                </a:cubicBezTo>
                <a:cubicBezTo>
                  <a:pt x="25" y="134"/>
                  <a:pt x="25" y="134"/>
                  <a:pt x="25" y="134"/>
                </a:cubicBezTo>
                <a:cubicBezTo>
                  <a:pt x="25" y="134"/>
                  <a:pt x="25" y="134"/>
                  <a:pt x="25" y="134"/>
                </a:cubicBezTo>
                <a:cubicBezTo>
                  <a:pt x="48" y="141"/>
                  <a:pt x="48" y="141"/>
                  <a:pt x="48" y="141"/>
                </a:cubicBezTo>
                <a:cubicBezTo>
                  <a:pt x="58" y="144"/>
                  <a:pt x="58" y="144"/>
                  <a:pt x="58" y="144"/>
                </a:cubicBezTo>
                <a:cubicBezTo>
                  <a:pt x="56" y="151"/>
                  <a:pt x="55" y="159"/>
                  <a:pt x="55" y="167"/>
                </a:cubicBezTo>
                <a:cubicBezTo>
                  <a:pt x="55" y="174"/>
                  <a:pt x="56" y="180"/>
                  <a:pt x="57" y="186"/>
                </a:cubicBezTo>
                <a:cubicBezTo>
                  <a:pt x="28" y="193"/>
                  <a:pt x="28" y="193"/>
                  <a:pt x="28" y="193"/>
                </a:cubicBezTo>
                <a:cubicBezTo>
                  <a:pt x="25" y="188"/>
                  <a:pt x="22" y="181"/>
                  <a:pt x="20" y="172"/>
                </a:cubicBezTo>
                <a:cubicBezTo>
                  <a:pt x="18" y="161"/>
                  <a:pt x="17" y="149"/>
                  <a:pt x="17" y="140"/>
                </a:cubicBezTo>
                <a:close/>
                <a:moveTo>
                  <a:pt x="60" y="259"/>
                </a:moveTo>
                <a:cubicBezTo>
                  <a:pt x="51" y="255"/>
                  <a:pt x="39" y="243"/>
                  <a:pt x="31" y="231"/>
                </a:cubicBezTo>
                <a:cubicBezTo>
                  <a:pt x="27" y="224"/>
                  <a:pt x="23" y="217"/>
                  <a:pt x="20" y="212"/>
                </a:cubicBezTo>
                <a:cubicBezTo>
                  <a:pt x="61" y="202"/>
                  <a:pt x="61" y="202"/>
                  <a:pt x="61" y="202"/>
                </a:cubicBezTo>
                <a:cubicBezTo>
                  <a:pt x="65" y="215"/>
                  <a:pt x="72" y="228"/>
                  <a:pt x="81" y="239"/>
                </a:cubicBezTo>
                <a:cubicBezTo>
                  <a:pt x="61" y="259"/>
                  <a:pt x="61" y="259"/>
                  <a:pt x="61" y="259"/>
                </a:cubicBezTo>
                <a:lnTo>
                  <a:pt x="60" y="259"/>
                </a:lnTo>
                <a:close/>
                <a:moveTo>
                  <a:pt x="77" y="288"/>
                </a:moveTo>
                <a:cubicBezTo>
                  <a:pt x="71" y="285"/>
                  <a:pt x="66" y="282"/>
                  <a:pt x="62" y="279"/>
                </a:cubicBezTo>
                <a:cubicBezTo>
                  <a:pt x="68" y="274"/>
                  <a:pt x="68" y="274"/>
                  <a:pt x="68" y="274"/>
                </a:cubicBezTo>
                <a:cubicBezTo>
                  <a:pt x="68" y="274"/>
                  <a:pt x="68" y="274"/>
                  <a:pt x="68" y="274"/>
                </a:cubicBezTo>
                <a:cubicBezTo>
                  <a:pt x="93" y="250"/>
                  <a:pt x="93" y="250"/>
                  <a:pt x="93" y="250"/>
                </a:cubicBezTo>
                <a:cubicBezTo>
                  <a:pt x="103" y="260"/>
                  <a:pt x="115" y="267"/>
                  <a:pt x="129" y="272"/>
                </a:cubicBezTo>
                <a:cubicBezTo>
                  <a:pt x="120" y="301"/>
                  <a:pt x="120" y="301"/>
                  <a:pt x="120" y="301"/>
                </a:cubicBezTo>
                <a:cubicBezTo>
                  <a:pt x="120" y="301"/>
                  <a:pt x="118" y="301"/>
                  <a:pt x="117" y="301"/>
                </a:cubicBezTo>
                <a:cubicBezTo>
                  <a:pt x="106" y="301"/>
                  <a:pt x="89" y="294"/>
                  <a:pt x="77" y="288"/>
                </a:cubicBezTo>
                <a:close/>
                <a:moveTo>
                  <a:pt x="157" y="368"/>
                </a:moveTo>
                <a:cubicBezTo>
                  <a:pt x="148" y="391"/>
                  <a:pt x="137" y="410"/>
                  <a:pt x="128" y="424"/>
                </a:cubicBezTo>
                <a:cubicBezTo>
                  <a:pt x="124" y="429"/>
                  <a:pt x="120" y="434"/>
                  <a:pt x="117" y="437"/>
                </a:cubicBezTo>
                <a:cubicBezTo>
                  <a:pt x="117" y="435"/>
                  <a:pt x="117" y="433"/>
                  <a:pt x="117" y="431"/>
                </a:cubicBezTo>
                <a:cubicBezTo>
                  <a:pt x="117" y="413"/>
                  <a:pt x="112" y="399"/>
                  <a:pt x="112" y="398"/>
                </a:cubicBezTo>
                <a:cubicBezTo>
                  <a:pt x="111" y="396"/>
                  <a:pt x="110" y="394"/>
                  <a:pt x="107" y="393"/>
                </a:cubicBezTo>
                <a:cubicBezTo>
                  <a:pt x="106" y="393"/>
                  <a:pt x="105" y="393"/>
                  <a:pt x="105" y="393"/>
                </a:cubicBezTo>
                <a:cubicBezTo>
                  <a:pt x="103" y="393"/>
                  <a:pt x="101" y="393"/>
                  <a:pt x="100" y="394"/>
                </a:cubicBezTo>
                <a:cubicBezTo>
                  <a:pt x="100" y="394"/>
                  <a:pt x="98" y="395"/>
                  <a:pt x="94" y="398"/>
                </a:cubicBezTo>
                <a:cubicBezTo>
                  <a:pt x="88" y="401"/>
                  <a:pt x="78" y="407"/>
                  <a:pt x="65" y="412"/>
                </a:cubicBezTo>
                <a:cubicBezTo>
                  <a:pt x="66" y="412"/>
                  <a:pt x="66" y="411"/>
                  <a:pt x="66" y="411"/>
                </a:cubicBezTo>
                <a:cubicBezTo>
                  <a:pt x="83" y="390"/>
                  <a:pt x="102" y="358"/>
                  <a:pt x="115" y="317"/>
                </a:cubicBezTo>
                <a:cubicBezTo>
                  <a:pt x="115" y="317"/>
                  <a:pt x="113" y="317"/>
                  <a:pt x="116" y="317"/>
                </a:cubicBezTo>
                <a:cubicBezTo>
                  <a:pt x="114" y="322"/>
                  <a:pt x="114" y="322"/>
                  <a:pt x="114" y="322"/>
                </a:cubicBezTo>
                <a:cubicBezTo>
                  <a:pt x="114" y="324"/>
                  <a:pt x="114" y="327"/>
                  <a:pt x="115" y="329"/>
                </a:cubicBezTo>
                <a:cubicBezTo>
                  <a:pt x="117" y="331"/>
                  <a:pt x="119" y="332"/>
                  <a:pt x="121" y="332"/>
                </a:cubicBezTo>
                <a:cubicBezTo>
                  <a:pt x="121" y="332"/>
                  <a:pt x="129" y="333"/>
                  <a:pt x="140" y="333"/>
                </a:cubicBezTo>
                <a:cubicBezTo>
                  <a:pt x="149" y="333"/>
                  <a:pt x="160" y="333"/>
                  <a:pt x="171" y="331"/>
                </a:cubicBezTo>
                <a:cubicBezTo>
                  <a:pt x="167" y="344"/>
                  <a:pt x="162" y="356"/>
                  <a:pt x="157" y="368"/>
                </a:cubicBezTo>
                <a:close/>
                <a:moveTo>
                  <a:pt x="140" y="317"/>
                </a:moveTo>
                <a:cubicBezTo>
                  <a:pt x="137" y="317"/>
                  <a:pt x="135" y="317"/>
                  <a:pt x="132" y="317"/>
                </a:cubicBezTo>
                <a:cubicBezTo>
                  <a:pt x="135" y="310"/>
                  <a:pt x="135" y="310"/>
                  <a:pt x="135" y="310"/>
                </a:cubicBezTo>
                <a:cubicBezTo>
                  <a:pt x="135" y="310"/>
                  <a:pt x="135" y="310"/>
                  <a:pt x="135" y="310"/>
                </a:cubicBezTo>
                <a:cubicBezTo>
                  <a:pt x="144" y="277"/>
                  <a:pt x="144" y="277"/>
                  <a:pt x="144" y="277"/>
                </a:cubicBezTo>
                <a:cubicBezTo>
                  <a:pt x="152" y="278"/>
                  <a:pt x="159" y="279"/>
                  <a:pt x="167" y="279"/>
                </a:cubicBezTo>
                <a:cubicBezTo>
                  <a:pt x="174" y="279"/>
                  <a:pt x="180" y="278"/>
                  <a:pt x="186" y="277"/>
                </a:cubicBezTo>
                <a:cubicBezTo>
                  <a:pt x="191" y="298"/>
                  <a:pt x="191" y="298"/>
                  <a:pt x="191" y="298"/>
                </a:cubicBezTo>
                <a:cubicBezTo>
                  <a:pt x="194" y="306"/>
                  <a:pt x="194" y="306"/>
                  <a:pt x="194" y="306"/>
                </a:cubicBezTo>
                <a:cubicBezTo>
                  <a:pt x="189" y="310"/>
                  <a:pt x="181" y="313"/>
                  <a:pt x="172" y="314"/>
                </a:cubicBezTo>
                <a:cubicBezTo>
                  <a:pt x="161" y="316"/>
                  <a:pt x="149" y="317"/>
                  <a:pt x="140" y="317"/>
                </a:cubicBezTo>
                <a:close/>
                <a:moveTo>
                  <a:pt x="247" y="380"/>
                </a:moveTo>
                <a:cubicBezTo>
                  <a:pt x="255" y="393"/>
                  <a:pt x="262" y="404"/>
                  <a:pt x="269" y="412"/>
                </a:cubicBezTo>
                <a:cubicBezTo>
                  <a:pt x="264" y="410"/>
                  <a:pt x="259" y="408"/>
                  <a:pt x="255" y="406"/>
                </a:cubicBezTo>
                <a:cubicBezTo>
                  <a:pt x="249" y="403"/>
                  <a:pt x="244" y="400"/>
                  <a:pt x="240" y="398"/>
                </a:cubicBezTo>
                <a:cubicBezTo>
                  <a:pt x="236" y="395"/>
                  <a:pt x="234" y="394"/>
                  <a:pt x="234" y="394"/>
                </a:cubicBezTo>
                <a:cubicBezTo>
                  <a:pt x="232" y="393"/>
                  <a:pt x="230" y="392"/>
                  <a:pt x="227" y="393"/>
                </a:cubicBezTo>
                <a:cubicBezTo>
                  <a:pt x="225" y="394"/>
                  <a:pt x="223" y="396"/>
                  <a:pt x="222" y="398"/>
                </a:cubicBezTo>
                <a:cubicBezTo>
                  <a:pt x="222" y="399"/>
                  <a:pt x="217" y="413"/>
                  <a:pt x="217" y="431"/>
                </a:cubicBezTo>
                <a:cubicBezTo>
                  <a:pt x="217" y="433"/>
                  <a:pt x="218" y="435"/>
                  <a:pt x="218" y="437"/>
                </a:cubicBezTo>
                <a:cubicBezTo>
                  <a:pt x="214" y="434"/>
                  <a:pt x="211" y="429"/>
                  <a:pt x="207" y="424"/>
                </a:cubicBezTo>
                <a:cubicBezTo>
                  <a:pt x="196" y="410"/>
                  <a:pt x="186" y="389"/>
                  <a:pt x="176" y="365"/>
                </a:cubicBezTo>
                <a:cubicBezTo>
                  <a:pt x="181" y="353"/>
                  <a:pt x="185" y="340"/>
                  <a:pt x="189" y="326"/>
                </a:cubicBezTo>
                <a:cubicBezTo>
                  <a:pt x="192" y="325"/>
                  <a:pt x="195" y="324"/>
                  <a:pt x="198" y="322"/>
                </a:cubicBezTo>
                <a:cubicBezTo>
                  <a:pt x="199" y="328"/>
                  <a:pt x="199" y="328"/>
                  <a:pt x="199" y="328"/>
                </a:cubicBezTo>
                <a:cubicBezTo>
                  <a:pt x="199" y="330"/>
                  <a:pt x="201" y="332"/>
                  <a:pt x="203" y="333"/>
                </a:cubicBezTo>
                <a:cubicBezTo>
                  <a:pt x="204" y="334"/>
                  <a:pt x="205" y="334"/>
                  <a:pt x="207" y="334"/>
                </a:cubicBezTo>
                <a:cubicBezTo>
                  <a:pt x="208" y="334"/>
                  <a:pt x="209" y="334"/>
                  <a:pt x="210" y="333"/>
                </a:cubicBezTo>
                <a:cubicBezTo>
                  <a:pt x="210" y="333"/>
                  <a:pt x="215" y="331"/>
                  <a:pt x="223" y="327"/>
                </a:cubicBezTo>
                <a:cubicBezTo>
                  <a:pt x="230" y="347"/>
                  <a:pt x="239" y="365"/>
                  <a:pt x="247" y="380"/>
                </a:cubicBezTo>
                <a:close/>
                <a:moveTo>
                  <a:pt x="231" y="303"/>
                </a:moveTo>
                <a:cubicBezTo>
                  <a:pt x="224" y="308"/>
                  <a:pt x="217" y="311"/>
                  <a:pt x="212" y="314"/>
                </a:cubicBezTo>
                <a:cubicBezTo>
                  <a:pt x="202" y="273"/>
                  <a:pt x="202" y="273"/>
                  <a:pt x="202" y="273"/>
                </a:cubicBezTo>
                <a:cubicBezTo>
                  <a:pt x="216" y="269"/>
                  <a:pt x="228" y="262"/>
                  <a:pt x="239" y="253"/>
                </a:cubicBezTo>
                <a:cubicBezTo>
                  <a:pt x="260" y="274"/>
                  <a:pt x="260" y="274"/>
                  <a:pt x="260" y="274"/>
                </a:cubicBezTo>
                <a:cubicBezTo>
                  <a:pt x="255" y="284"/>
                  <a:pt x="243" y="295"/>
                  <a:pt x="231" y="303"/>
                </a:cubicBezTo>
                <a:close/>
                <a:moveTo>
                  <a:pt x="288" y="258"/>
                </a:moveTo>
                <a:cubicBezTo>
                  <a:pt x="285" y="263"/>
                  <a:pt x="282" y="268"/>
                  <a:pt x="280" y="272"/>
                </a:cubicBezTo>
                <a:cubicBezTo>
                  <a:pt x="274" y="267"/>
                  <a:pt x="274" y="267"/>
                  <a:pt x="274" y="267"/>
                </a:cubicBezTo>
                <a:cubicBezTo>
                  <a:pt x="274" y="267"/>
                  <a:pt x="274" y="267"/>
                  <a:pt x="274" y="267"/>
                </a:cubicBezTo>
                <a:cubicBezTo>
                  <a:pt x="250" y="242"/>
                  <a:pt x="250" y="242"/>
                  <a:pt x="250" y="242"/>
                </a:cubicBezTo>
                <a:cubicBezTo>
                  <a:pt x="260" y="231"/>
                  <a:pt x="267" y="219"/>
                  <a:pt x="272" y="206"/>
                </a:cubicBezTo>
                <a:cubicBezTo>
                  <a:pt x="293" y="212"/>
                  <a:pt x="293" y="212"/>
                  <a:pt x="293" y="212"/>
                </a:cubicBezTo>
                <a:cubicBezTo>
                  <a:pt x="301" y="214"/>
                  <a:pt x="301" y="214"/>
                  <a:pt x="301" y="214"/>
                </a:cubicBezTo>
                <a:cubicBezTo>
                  <a:pt x="301" y="215"/>
                  <a:pt x="301" y="216"/>
                  <a:pt x="301" y="217"/>
                </a:cubicBezTo>
                <a:cubicBezTo>
                  <a:pt x="301" y="228"/>
                  <a:pt x="295" y="245"/>
                  <a:pt x="288" y="258"/>
                </a:cubicBezTo>
                <a:close/>
                <a:moveTo>
                  <a:pt x="317" y="202"/>
                </a:moveTo>
                <a:cubicBezTo>
                  <a:pt x="298" y="196"/>
                  <a:pt x="298" y="196"/>
                  <a:pt x="298" y="196"/>
                </a:cubicBezTo>
                <a:cubicBezTo>
                  <a:pt x="277" y="190"/>
                  <a:pt x="277" y="190"/>
                  <a:pt x="277" y="190"/>
                </a:cubicBezTo>
                <a:cubicBezTo>
                  <a:pt x="278" y="183"/>
                  <a:pt x="279" y="175"/>
                  <a:pt x="279" y="167"/>
                </a:cubicBezTo>
                <a:cubicBezTo>
                  <a:pt x="279" y="161"/>
                  <a:pt x="278" y="154"/>
                  <a:pt x="277" y="148"/>
                </a:cubicBezTo>
                <a:cubicBezTo>
                  <a:pt x="287" y="145"/>
                  <a:pt x="287" y="145"/>
                  <a:pt x="287" y="145"/>
                </a:cubicBezTo>
                <a:cubicBezTo>
                  <a:pt x="306" y="141"/>
                  <a:pt x="306" y="141"/>
                  <a:pt x="306" y="141"/>
                </a:cubicBezTo>
                <a:cubicBezTo>
                  <a:pt x="310" y="146"/>
                  <a:pt x="313" y="154"/>
                  <a:pt x="314" y="162"/>
                </a:cubicBezTo>
                <a:cubicBezTo>
                  <a:pt x="316" y="173"/>
                  <a:pt x="317" y="185"/>
                  <a:pt x="317" y="194"/>
                </a:cubicBezTo>
                <a:cubicBezTo>
                  <a:pt x="317" y="197"/>
                  <a:pt x="317" y="200"/>
                  <a:pt x="317" y="202"/>
                </a:cubicBezTo>
                <a:close/>
                <a:moveTo>
                  <a:pt x="153" y="235"/>
                </a:moveTo>
                <a:cubicBezTo>
                  <a:pt x="154" y="236"/>
                  <a:pt x="155" y="236"/>
                  <a:pt x="155" y="236"/>
                </a:cubicBezTo>
                <a:cubicBezTo>
                  <a:pt x="159" y="236"/>
                  <a:pt x="162" y="233"/>
                  <a:pt x="163" y="230"/>
                </a:cubicBezTo>
                <a:cubicBezTo>
                  <a:pt x="164" y="225"/>
                  <a:pt x="162" y="221"/>
                  <a:pt x="157" y="220"/>
                </a:cubicBezTo>
                <a:cubicBezTo>
                  <a:pt x="140" y="215"/>
                  <a:pt x="127" y="199"/>
                  <a:pt x="127" y="181"/>
                </a:cubicBezTo>
                <a:cubicBezTo>
                  <a:pt x="127" y="154"/>
                  <a:pt x="127" y="154"/>
                  <a:pt x="127" y="154"/>
                </a:cubicBezTo>
                <a:cubicBezTo>
                  <a:pt x="127" y="132"/>
                  <a:pt x="146" y="113"/>
                  <a:pt x="168" y="113"/>
                </a:cubicBezTo>
                <a:cubicBezTo>
                  <a:pt x="191" y="113"/>
                  <a:pt x="209" y="132"/>
                  <a:pt x="209" y="154"/>
                </a:cubicBezTo>
                <a:cubicBezTo>
                  <a:pt x="209" y="181"/>
                  <a:pt x="209" y="181"/>
                  <a:pt x="209" y="181"/>
                </a:cubicBezTo>
                <a:cubicBezTo>
                  <a:pt x="209" y="199"/>
                  <a:pt x="196" y="215"/>
                  <a:pt x="179" y="220"/>
                </a:cubicBezTo>
                <a:cubicBezTo>
                  <a:pt x="175" y="221"/>
                  <a:pt x="172" y="225"/>
                  <a:pt x="173" y="230"/>
                </a:cubicBezTo>
                <a:cubicBezTo>
                  <a:pt x="174" y="234"/>
                  <a:pt x="179" y="237"/>
                  <a:pt x="183" y="235"/>
                </a:cubicBezTo>
                <a:cubicBezTo>
                  <a:pt x="188" y="234"/>
                  <a:pt x="192" y="232"/>
                  <a:pt x="196" y="230"/>
                </a:cubicBezTo>
                <a:cubicBezTo>
                  <a:pt x="201" y="236"/>
                  <a:pt x="201" y="236"/>
                  <a:pt x="201" y="236"/>
                </a:cubicBezTo>
                <a:cubicBezTo>
                  <a:pt x="202" y="238"/>
                  <a:pt x="205" y="239"/>
                  <a:pt x="207" y="239"/>
                </a:cubicBezTo>
                <a:cubicBezTo>
                  <a:pt x="209" y="239"/>
                  <a:pt x="211" y="239"/>
                  <a:pt x="212" y="237"/>
                </a:cubicBezTo>
                <a:cubicBezTo>
                  <a:pt x="215" y="235"/>
                  <a:pt x="216" y="230"/>
                  <a:pt x="213" y="226"/>
                </a:cubicBezTo>
                <a:cubicBezTo>
                  <a:pt x="209" y="220"/>
                  <a:pt x="209" y="220"/>
                  <a:pt x="209" y="220"/>
                </a:cubicBezTo>
                <a:cubicBezTo>
                  <a:pt x="219" y="210"/>
                  <a:pt x="225" y="196"/>
                  <a:pt x="225" y="181"/>
                </a:cubicBezTo>
                <a:cubicBezTo>
                  <a:pt x="225" y="154"/>
                  <a:pt x="225" y="154"/>
                  <a:pt x="225" y="154"/>
                </a:cubicBezTo>
                <a:cubicBezTo>
                  <a:pt x="225" y="123"/>
                  <a:pt x="199" y="97"/>
                  <a:pt x="168" y="97"/>
                </a:cubicBezTo>
                <a:cubicBezTo>
                  <a:pt x="137" y="97"/>
                  <a:pt x="111" y="123"/>
                  <a:pt x="111" y="154"/>
                </a:cubicBezTo>
                <a:cubicBezTo>
                  <a:pt x="111" y="181"/>
                  <a:pt x="111" y="181"/>
                  <a:pt x="111" y="181"/>
                </a:cubicBezTo>
                <a:cubicBezTo>
                  <a:pt x="111" y="207"/>
                  <a:pt x="129" y="229"/>
                  <a:pt x="153" y="235"/>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TextBox 15">
            <a:extLst>
              <a:ext uri="{FF2B5EF4-FFF2-40B4-BE49-F238E27FC236}">
                <a16:creationId xmlns:a16="http://schemas.microsoft.com/office/drawing/2014/main" id="{E46150AD-0955-450F-A2B5-EEE862ECEDDC}"/>
              </a:ext>
            </a:extLst>
          </p:cNvPr>
          <p:cNvSpPr txBox="1"/>
          <p:nvPr/>
        </p:nvSpPr>
        <p:spPr>
          <a:xfrm>
            <a:off x="915170" y="536563"/>
            <a:ext cx="5180830" cy="735842"/>
          </a:xfrm>
          <a:prstGeom prst="rect">
            <a:avLst/>
          </a:prstGeom>
          <a:noFill/>
        </p:spPr>
        <p:txBody>
          <a:bodyPr wrap="square" rtlCol="0" anchor="ctr">
            <a:spAutoFit/>
          </a:bodyPr>
          <a:lstStyle/>
          <a:p>
            <a:pPr>
              <a:lnSpc>
                <a:spcPct val="80000"/>
              </a:lnSpc>
              <a:spcBef>
                <a:spcPts val="0"/>
              </a:spcBef>
            </a:pPr>
            <a:r>
              <a:rPr lang="en-US" sz="2600" dirty="0">
                <a:solidFill>
                  <a:srgbClr val="00A9D4"/>
                </a:solidFill>
                <a:latin typeface="+mj-lt"/>
              </a:rPr>
              <a:t>SDOD </a:t>
            </a:r>
          </a:p>
          <a:p>
            <a:pPr>
              <a:lnSpc>
                <a:spcPct val="80000"/>
              </a:lnSpc>
              <a:spcBef>
                <a:spcPts val="0"/>
              </a:spcBef>
            </a:pPr>
            <a:r>
              <a:rPr lang="en-US" sz="2600" dirty="0">
                <a:solidFill>
                  <a:srgbClr val="00A9D4"/>
                </a:solidFill>
                <a:latin typeface="+mj-lt"/>
              </a:rPr>
              <a:t>Add-on Sale &amp; New Opportunity </a:t>
            </a:r>
            <a:endParaRPr lang="en-US" sz="2400" dirty="0">
              <a:solidFill>
                <a:srgbClr val="00A9D4"/>
              </a:solidFill>
              <a:latin typeface="+mj-lt"/>
            </a:endParaRPr>
          </a:p>
        </p:txBody>
      </p:sp>
      <p:sp>
        <p:nvSpPr>
          <p:cNvPr id="7" name="Content Placeholder 6">
            <a:extLst>
              <a:ext uri="{FF2B5EF4-FFF2-40B4-BE49-F238E27FC236}">
                <a16:creationId xmlns:a16="http://schemas.microsoft.com/office/drawing/2014/main" id="{4511EBBA-A88E-406A-8857-DDF93DFF0748}"/>
              </a:ext>
            </a:extLst>
          </p:cNvPr>
          <p:cNvSpPr>
            <a:spLocks noGrp="1"/>
          </p:cNvSpPr>
          <p:nvPr>
            <p:ph sz="quarter" idx="13"/>
          </p:nvPr>
        </p:nvSpPr>
        <p:spPr>
          <a:xfrm>
            <a:off x="479425" y="3413759"/>
            <a:ext cx="3528000" cy="3301048"/>
          </a:xfrm>
        </p:spPr>
        <p:txBody>
          <a:bodyPr/>
          <a:lstStyle/>
          <a:p>
            <a:pPr marL="342900" lvl="2" indent="0">
              <a:buNone/>
            </a:pPr>
            <a:r>
              <a:rPr lang="en-US" sz="1800" dirty="0"/>
              <a:t>Is a new Sales Idea that is not an extension of an existing contract that is identified by non-sales </a:t>
            </a:r>
            <a:r>
              <a:rPr lang="sv-SE" sz="1800" dirty="0"/>
              <a:t>staff.</a:t>
            </a:r>
          </a:p>
          <a:p>
            <a:endParaRPr lang="en-ZA" sz="1800" dirty="0"/>
          </a:p>
        </p:txBody>
      </p:sp>
      <p:sp>
        <p:nvSpPr>
          <p:cNvPr id="17" name="Content Placeholder 16">
            <a:extLst>
              <a:ext uri="{FF2B5EF4-FFF2-40B4-BE49-F238E27FC236}">
                <a16:creationId xmlns:a16="http://schemas.microsoft.com/office/drawing/2014/main" id="{356BD799-D9CB-4B1F-84C1-4320E7080CA5}"/>
              </a:ext>
            </a:extLst>
          </p:cNvPr>
          <p:cNvSpPr>
            <a:spLocks noGrp="1"/>
          </p:cNvSpPr>
          <p:nvPr>
            <p:ph sz="quarter" idx="11"/>
          </p:nvPr>
        </p:nvSpPr>
        <p:spPr>
          <a:xfrm>
            <a:off x="4332000" y="3413758"/>
            <a:ext cx="3528000" cy="3301048"/>
          </a:xfrm>
        </p:spPr>
        <p:txBody>
          <a:bodyPr/>
          <a:lstStyle/>
          <a:p>
            <a:pPr marL="342900" lvl="2" indent="0">
              <a:buNone/>
            </a:pPr>
            <a:r>
              <a:rPr lang="en-US" sz="1800" dirty="0"/>
              <a:t>An Add-on Sale is when a Sales Idea results in extended scope (via a change request) of an existing contract, either by converting an over delivery into a paid service/product or by including new activities or projects into the ongoing contract as paid scope extension.</a:t>
            </a:r>
          </a:p>
          <a:p>
            <a:endParaRPr lang="en-ZA" dirty="0"/>
          </a:p>
        </p:txBody>
      </p:sp>
      <p:sp>
        <p:nvSpPr>
          <p:cNvPr id="19" name="Content Placeholder 18">
            <a:extLst>
              <a:ext uri="{FF2B5EF4-FFF2-40B4-BE49-F238E27FC236}">
                <a16:creationId xmlns:a16="http://schemas.microsoft.com/office/drawing/2014/main" id="{63398C00-7AE2-41E4-A9F7-811CAB77C4D0}"/>
              </a:ext>
            </a:extLst>
          </p:cNvPr>
          <p:cNvSpPr>
            <a:spLocks noGrp="1"/>
          </p:cNvSpPr>
          <p:nvPr>
            <p:ph sz="quarter" idx="12"/>
          </p:nvPr>
        </p:nvSpPr>
        <p:spPr>
          <a:xfrm>
            <a:off x="8184575" y="3413760"/>
            <a:ext cx="3528000" cy="3301048"/>
          </a:xfrm>
        </p:spPr>
        <p:txBody>
          <a:bodyPr/>
          <a:lstStyle/>
          <a:p>
            <a:pPr>
              <a:buFont typeface="Arial" panose="020B0604020202020204" pitchFamily="34" charset="0"/>
              <a:buChar char="•"/>
            </a:pPr>
            <a:r>
              <a:rPr lang="en-ZA" sz="1800" u="sng" dirty="0">
                <a:latin typeface="+mj-lt"/>
                <a:hlinkClick r:id="rId11"/>
              </a:rPr>
              <a:t>SDOD quick guide</a:t>
            </a:r>
            <a:r>
              <a:rPr lang="en-ZA" sz="1800" dirty="0">
                <a:latin typeface="+mj-lt"/>
              </a:rPr>
              <a:t> – how the tool works </a:t>
            </a:r>
          </a:p>
          <a:p>
            <a:pPr marL="0" indent="0">
              <a:buNone/>
            </a:pPr>
            <a:endParaRPr lang="en-ZA" sz="1800" dirty="0">
              <a:latin typeface="+mj-lt"/>
            </a:endParaRPr>
          </a:p>
          <a:p>
            <a:pPr>
              <a:buFont typeface="Arial" panose="020B0604020202020204" pitchFamily="34" charset="0"/>
              <a:buChar char="•"/>
            </a:pPr>
            <a:r>
              <a:rPr lang="en-ZA" sz="1800" u="sng" dirty="0">
                <a:latin typeface="+mj-lt"/>
                <a:hlinkClick r:id="rId12"/>
              </a:rPr>
              <a:t>SDOD3.0 tool</a:t>
            </a:r>
            <a:r>
              <a:rPr lang="en-ZA" sz="1800" dirty="0">
                <a:latin typeface="+mj-lt"/>
              </a:rPr>
              <a:t> for Lead Handlers and execution accountable </a:t>
            </a:r>
          </a:p>
          <a:p>
            <a:pPr marL="0" indent="0">
              <a:buNone/>
            </a:pPr>
            <a:endParaRPr lang="en-ZA" sz="1800" dirty="0">
              <a:latin typeface="+mj-lt"/>
            </a:endParaRPr>
          </a:p>
          <a:p>
            <a:pPr>
              <a:buFont typeface="Arial" panose="020B0604020202020204" pitchFamily="34" charset="0"/>
              <a:buChar char="•"/>
            </a:pPr>
            <a:r>
              <a:rPr lang="en-ZA" sz="1800" u="sng" dirty="0">
                <a:latin typeface="+mj-lt"/>
                <a:hlinkClick r:id="rId13"/>
              </a:rPr>
              <a:t>SDOD3.0 tool/portal</a:t>
            </a:r>
            <a:r>
              <a:rPr lang="en-ZA" sz="1800" dirty="0">
                <a:latin typeface="+mj-lt"/>
              </a:rPr>
              <a:t> for </a:t>
            </a:r>
            <a:r>
              <a:rPr lang="en-ZA" sz="1800" b="1" dirty="0">
                <a:latin typeface="+mj-lt"/>
              </a:rPr>
              <a:t>ALL recorders </a:t>
            </a:r>
            <a:endParaRPr lang="en-ZA" sz="1800" dirty="0">
              <a:latin typeface="+mj-lt"/>
            </a:endParaRPr>
          </a:p>
          <a:p>
            <a:pPr marL="0" indent="0">
              <a:buNone/>
            </a:pPr>
            <a:endParaRPr lang="en-ZA" dirty="0"/>
          </a:p>
        </p:txBody>
      </p:sp>
    </p:spTree>
    <p:extLst>
      <p:ext uri="{BB962C8B-B14F-4D97-AF65-F5344CB8AC3E}">
        <p14:creationId xmlns:p14="http://schemas.microsoft.com/office/powerpoint/2010/main" val="6559455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5298" name="Straight Arrow Connector 55345">
            <a:extLst>
              <a:ext uri="{FF2B5EF4-FFF2-40B4-BE49-F238E27FC236}">
                <a16:creationId xmlns:a16="http://schemas.microsoft.com/office/drawing/2014/main" id="{7761C88A-B41C-4464-8890-3AF71E60F72E}"/>
              </a:ext>
            </a:extLst>
          </p:cNvPr>
          <p:cNvCxnSpPr>
            <a:cxnSpLocks/>
            <a:stCxn id="19" idx="2"/>
          </p:cNvCxnSpPr>
          <p:nvPr/>
        </p:nvCxnSpPr>
        <p:spPr bwMode="auto">
          <a:xfrm>
            <a:off x="4800601" y="4365626"/>
            <a:ext cx="17463" cy="1141413"/>
          </a:xfrm>
          <a:prstGeom prst="straightConnector1">
            <a:avLst/>
          </a:prstGeom>
          <a:noFill/>
          <a:ln w="19050" algn="ctr">
            <a:solidFill>
              <a:srgbClr val="92D050"/>
            </a:solidFill>
            <a:round/>
            <a:headEnd/>
            <a:tailEnd type="triangle" w="med" len="med"/>
          </a:ln>
          <a:extLst>
            <a:ext uri="{909E8E84-426E-40DD-AFC4-6F175D3DCCD1}">
              <a14:hiddenFill xmlns:a14="http://schemas.microsoft.com/office/drawing/2010/main">
                <a:noFill/>
              </a14:hiddenFill>
            </a:ext>
          </a:extLst>
        </p:spPr>
      </p:cxnSp>
      <p:cxnSp>
        <p:nvCxnSpPr>
          <p:cNvPr id="55359" name="Straight Arrow Connector 55358">
            <a:extLst>
              <a:ext uri="{FF2B5EF4-FFF2-40B4-BE49-F238E27FC236}">
                <a16:creationId xmlns:a16="http://schemas.microsoft.com/office/drawing/2014/main" id="{A7155A18-45D7-4213-9069-64C56992DCA1}"/>
              </a:ext>
            </a:extLst>
          </p:cNvPr>
          <p:cNvCxnSpPr>
            <a:cxnSpLocks/>
          </p:cNvCxnSpPr>
          <p:nvPr/>
        </p:nvCxnSpPr>
        <p:spPr bwMode="auto">
          <a:xfrm flipV="1">
            <a:off x="8040688" y="4432300"/>
            <a:ext cx="0" cy="914400"/>
          </a:xfrm>
          <a:prstGeom prst="straightConnector1">
            <a:avLst/>
          </a:prstGeom>
          <a:ln>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55300" name="Elbow Connector 7">
            <a:extLst>
              <a:ext uri="{FF2B5EF4-FFF2-40B4-BE49-F238E27FC236}">
                <a16:creationId xmlns:a16="http://schemas.microsoft.com/office/drawing/2014/main" id="{85126409-7242-4D70-BC88-71271FCEBA67}"/>
              </a:ext>
            </a:extLst>
          </p:cNvPr>
          <p:cNvCxnSpPr>
            <a:cxnSpLocks noChangeShapeType="1"/>
            <a:endCxn id="87" idx="2"/>
          </p:cNvCxnSpPr>
          <p:nvPr/>
        </p:nvCxnSpPr>
        <p:spPr bwMode="auto">
          <a:xfrm rot="5400000" flipH="1" flipV="1">
            <a:off x="3817145" y="2116932"/>
            <a:ext cx="2346325" cy="1268413"/>
          </a:xfrm>
          <a:prstGeom prst="bentConnector3">
            <a:avLst>
              <a:gd name="adj1" fmla="val 38306"/>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8" name="Elbow Connector 7">
            <a:extLst>
              <a:ext uri="{FF2B5EF4-FFF2-40B4-BE49-F238E27FC236}">
                <a16:creationId xmlns:a16="http://schemas.microsoft.com/office/drawing/2014/main" id="{F09FC145-F6ED-4650-AEDF-75A72994C73C}"/>
              </a:ext>
            </a:extLst>
          </p:cNvPr>
          <p:cNvCxnSpPr>
            <a:cxnSpLocks noChangeShapeType="1"/>
          </p:cNvCxnSpPr>
          <p:nvPr/>
        </p:nvCxnSpPr>
        <p:spPr bwMode="auto">
          <a:xfrm rot="16200000" flipH="1">
            <a:off x="4227513" y="1884363"/>
            <a:ext cx="547688" cy="519113"/>
          </a:xfrm>
          <a:prstGeom prst="bentConnector3">
            <a:avLst>
              <a:gd name="adj1" fmla="val 50000"/>
            </a:avLst>
          </a:prstGeom>
          <a:noFill/>
          <a:ln w="19050" algn="ctr">
            <a:solidFill>
              <a:schemeClr val="accent4"/>
            </a:solidFill>
            <a:round/>
            <a:headEnd/>
            <a:tailEnd type="arrow" w="med" len="med"/>
          </a:ln>
          <a:extLst>
            <a:ext uri="{909E8E84-426E-40DD-AFC4-6F175D3DCCD1}">
              <a14:hiddenFill xmlns:a14="http://schemas.microsoft.com/office/drawing/2010/main">
                <a:noFill/>
              </a14:hiddenFill>
            </a:ext>
          </a:extLst>
        </p:spPr>
      </p:cxnSp>
      <p:sp>
        <p:nvSpPr>
          <p:cNvPr id="73" name="TextBox 44">
            <a:extLst>
              <a:ext uri="{FF2B5EF4-FFF2-40B4-BE49-F238E27FC236}">
                <a16:creationId xmlns:a16="http://schemas.microsoft.com/office/drawing/2014/main" id="{B8273E44-210D-4C23-B778-F10D2D585C9B}"/>
              </a:ext>
            </a:extLst>
          </p:cNvPr>
          <p:cNvSpPr txBox="1">
            <a:spLocks noChangeArrowheads="1"/>
          </p:cNvSpPr>
          <p:nvPr/>
        </p:nvSpPr>
        <p:spPr bwMode="auto">
          <a:xfrm>
            <a:off x="2281239" y="3589338"/>
            <a:ext cx="504825" cy="266700"/>
          </a:xfrm>
          <a:prstGeom prst="rect">
            <a:avLst/>
          </a:prstGeom>
          <a:solidFill>
            <a:srgbClr val="92D050"/>
          </a:solidFill>
          <a:ln w="9525">
            <a:solidFill>
              <a:schemeClr val="bg2"/>
            </a:solidFill>
            <a:miter lim="800000"/>
            <a:headEnd/>
            <a:tailEnd/>
          </a:ln>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dirty="0">
                <a:solidFill>
                  <a:srgbClr val="FFFFFF"/>
                </a:solidFill>
              </a:rPr>
              <a:t>SOG</a:t>
            </a:r>
          </a:p>
        </p:txBody>
      </p:sp>
      <p:sp>
        <p:nvSpPr>
          <p:cNvPr id="14" name="Freeform 8">
            <a:extLst>
              <a:ext uri="{FF2B5EF4-FFF2-40B4-BE49-F238E27FC236}">
                <a16:creationId xmlns:a16="http://schemas.microsoft.com/office/drawing/2014/main" id="{6886C521-C1B1-42C3-8870-F0FC1E83D0CD}"/>
              </a:ext>
            </a:extLst>
          </p:cNvPr>
          <p:cNvSpPr>
            <a:spLocks noChangeAspect="1"/>
          </p:cNvSpPr>
          <p:nvPr/>
        </p:nvSpPr>
        <p:spPr bwMode="auto">
          <a:xfrm>
            <a:off x="646114" y="2801939"/>
            <a:ext cx="1404937" cy="877887"/>
          </a:xfrm>
          <a:custGeom>
            <a:avLst/>
            <a:gdLst>
              <a:gd name="T0" fmla="*/ 2147483647 w 536"/>
              <a:gd name="T1" fmla="*/ 2147483647 h 211"/>
              <a:gd name="T2" fmla="*/ 2147483647 w 536"/>
              <a:gd name="T3" fmla="*/ 2147483647 h 211"/>
              <a:gd name="T4" fmla="*/ 2147483647 w 536"/>
              <a:gd name="T5" fmla="*/ 2147483647 h 211"/>
              <a:gd name="T6" fmla="*/ 2147483647 w 536"/>
              <a:gd name="T7" fmla="*/ 2147483647 h 211"/>
              <a:gd name="T8" fmla="*/ 2147483647 w 536"/>
              <a:gd name="T9" fmla="*/ 2147483647 h 211"/>
              <a:gd name="T10" fmla="*/ 2147483647 w 536"/>
              <a:gd name="T11" fmla="*/ 2147483647 h 211"/>
              <a:gd name="T12" fmla="*/ 0 w 536"/>
              <a:gd name="T13" fmla="*/ 2147483647 h 211"/>
              <a:gd name="T14" fmla="*/ 0 w 536"/>
              <a:gd name="T15" fmla="*/ 2147483647 h 211"/>
              <a:gd name="T16" fmla="*/ 2147483647 w 536"/>
              <a:gd name="T17" fmla="*/ 0 h 211"/>
              <a:gd name="T18" fmla="*/ 2147483647 w 536"/>
              <a:gd name="T19" fmla="*/ 0 h 211"/>
              <a:gd name="T20" fmla="*/ 2147483647 w 536"/>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6"/>
              <a:gd name="T34" fmla="*/ 0 h 211"/>
              <a:gd name="T35" fmla="*/ 536 w 536"/>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6" h="211">
                <a:moveTo>
                  <a:pt x="439" y="10"/>
                </a:moveTo>
                <a:cubicBezTo>
                  <a:pt x="524" y="95"/>
                  <a:pt x="524" y="95"/>
                  <a:pt x="524" y="95"/>
                </a:cubicBezTo>
                <a:cubicBezTo>
                  <a:pt x="524" y="95"/>
                  <a:pt x="536" y="105"/>
                  <a:pt x="524" y="116"/>
                </a:cubicBezTo>
                <a:cubicBezTo>
                  <a:pt x="512" y="128"/>
                  <a:pt x="439" y="201"/>
                  <a:pt x="439" y="201"/>
                </a:cubicBezTo>
                <a:cubicBezTo>
                  <a:pt x="439" y="201"/>
                  <a:pt x="428" y="211"/>
                  <a:pt x="413" y="211"/>
                </a:cubicBezTo>
                <a:cubicBezTo>
                  <a:pt x="407" y="211"/>
                  <a:pt x="21" y="211"/>
                  <a:pt x="21" y="211"/>
                </a:cubicBezTo>
                <a:cubicBezTo>
                  <a:pt x="9" y="211"/>
                  <a:pt x="0" y="202"/>
                  <a:pt x="0" y="190"/>
                </a:cubicBezTo>
                <a:cubicBezTo>
                  <a:pt x="0" y="21"/>
                  <a:pt x="0" y="21"/>
                  <a:pt x="0" y="21"/>
                </a:cubicBezTo>
                <a:cubicBezTo>
                  <a:pt x="0" y="9"/>
                  <a:pt x="9" y="0"/>
                  <a:pt x="21" y="0"/>
                </a:cubicBezTo>
                <a:cubicBezTo>
                  <a:pt x="21" y="0"/>
                  <a:pt x="406" y="0"/>
                  <a:pt x="413" y="0"/>
                </a:cubicBezTo>
                <a:cubicBezTo>
                  <a:pt x="430" y="0"/>
                  <a:pt x="439" y="10"/>
                  <a:pt x="439" y="10"/>
                </a:cubicBezTo>
                <a:close/>
              </a:path>
            </a:pathLst>
          </a:custGeom>
          <a:solidFill>
            <a:schemeClr val="bg1">
              <a:lumMod val="50000"/>
            </a:schemeClr>
          </a:solidFill>
          <a:ln>
            <a:noFill/>
          </a:ln>
          <a:extLst/>
        </p:spPr>
        <p:txBody>
          <a:bodyPr anchor="ctr"/>
          <a:lstStyle/>
          <a:p>
            <a:pPr defTabSz="857250">
              <a:spcBef>
                <a:spcPct val="50000"/>
              </a:spcBef>
              <a:defRPr/>
            </a:pPr>
            <a:r>
              <a:rPr lang="sv-SE" sz="1125" b="1" dirty="0">
                <a:solidFill>
                  <a:srgbClr val="FFFFFF"/>
                </a:solidFill>
                <a:latin typeface="Ericsson Hilda"/>
                <a:ea typeface="ＭＳ Ｐゴシック" pitchFamily="34" charset="-128"/>
              </a:rPr>
              <a:t>SD enters a lead in the SDOD tool</a:t>
            </a:r>
          </a:p>
        </p:txBody>
      </p:sp>
      <p:sp>
        <p:nvSpPr>
          <p:cNvPr id="15" name="Freeform 8">
            <a:extLst>
              <a:ext uri="{FF2B5EF4-FFF2-40B4-BE49-F238E27FC236}">
                <a16:creationId xmlns:a16="http://schemas.microsoft.com/office/drawing/2014/main" id="{29F25F63-4E08-42CD-A83A-8AECC8DF3E19}"/>
              </a:ext>
            </a:extLst>
          </p:cNvPr>
          <p:cNvSpPr>
            <a:spLocks noChangeAspect="1"/>
          </p:cNvSpPr>
          <p:nvPr/>
        </p:nvSpPr>
        <p:spPr bwMode="auto">
          <a:xfrm>
            <a:off x="3136901" y="1487488"/>
            <a:ext cx="1116013" cy="679450"/>
          </a:xfrm>
          <a:custGeom>
            <a:avLst/>
            <a:gdLst>
              <a:gd name="T0" fmla="*/ 2147483647 w 536"/>
              <a:gd name="T1" fmla="*/ 2147483647 h 211"/>
              <a:gd name="T2" fmla="*/ 2147483647 w 536"/>
              <a:gd name="T3" fmla="*/ 2147483647 h 211"/>
              <a:gd name="T4" fmla="*/ 2147483647 w 536"/>
              <a:gd name="T5" fmla="*/ 2147483647 h 211"/>
              <a:gd name="T6" fmla="*/ 2147483647 w 536"/>
              <a:gd name="T7" fmla="*/ 2147483647 h 211"/>
              <a:gd name="T8" fmla="*/ 2147483647 w 536"/>
              <a:gd name="T9" fmla="*/ 2147483647 h 211"/>
              <a:gd name="T10" fmla="*/ 2147483647 w 536"/>
              <a:gd name="T11" fmla="*/ 2147483647 h 211"/>
              <a:gd name="T12" fmla="*/ 0 w 536"/>
              <a:gd name="T13" fmla="*/ 2147483647 h 211"/>
              <a:gd name="T14" fmla="*/ 0 w 536"/>
              <a:gd name="T15" fmla="*/ 2147483647 h 211"/>
              <a:gd name="T16" fmla="*/ 2147483647 w 536"/>
              <a:gd name="T17" fmla="*/ 0 h 211"/>
              <a:gd name="T18" fmla="*/ 2147483647 w 536"/>
              <a:gd name="T19" fmla="*/ 0 h 211"/>
              <a:gd name="T20" fmla="*/ 2147483647 w 536"/>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6"/>
              <a:gd name="T34" fmla="*/ 0 h 211"/>
              <a:gd name="T35" fmla="*/ 536 w 536"/>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6" h="211">
                <a:moveTo>
                  <a:pt x="439" y="10"/>
                </a:moveTo>
                <a:cubicBezTo>
                  <a:pt x="524" y="95"/>
                  <a:pt x="524" y="95"/>
                  <a:pt x="524" y="95"/>
                </a:cubicBezTo>
                <a:cubicBezTo>
                  <a:pt x="524" y="95"/>
                  <a:pt x="536" y="105"/>
                  <a:pt x="524" y="116"/>
                </a:cubicBezTo>
                <a:cubicBezTo>
                  <a:pt x="512" y="128"/>
                  <a:pt x="439" y="201"/>
                  <a:pt x="439" y="201"/>
                </a:cubicBezTo>
                <a:cubicBezTo>
                  <a:pt x="439" y="201"/>
                  <a:pt x="428" y="211"/>
                  <a:pt x="413" y="211"/>
                </a:cubicBezTo>
                <a:cubicBezTo>
                  <a:pt x="407" y="211"/>
                  <a:pt x="21" y="211"/>
                  <a:pt x="21" y="211"/>
                </a:cubicBezTo>
                <a:cubicBezTo>
                  <a:pt x="9" y="211"/>
                  <a:pt x="0" y="202"/>
                  <a:pt x="0" y="190"/>
                </a:cubicBezTo>
                <a:cubicBezTo>
                  <a:pt x="0" y="21"/>
                  <a:pt x="0" y="21"/>
                  <a:pt x="0" y="21"/>
                </a:cubicBezTo>
                <a:cubicBezTo>
                  <a:pt x="0" y="9"/>
                  <a:pt x="9" y="0"/>
                  <a:pt x="21" y="0"/>
                </a:cubicBezTo>
                <a:cubicBezTo>
                  <a:pt x="21" y="0"/>
                  <a:pt x="406" y="0"/>
                  <a:pt x="413" y="0"/>
                </a:cubicBezTo>
                <a:cubicBezTo>
                  <a:pt x="430" y="0"/>
                  <a:pt x="439" y="10"/>
                  <a:pt x="439" y="10"/>
                </a:cubicBezTo>
                <a:close/>
              </a:path>
            </a:pathLst>
          </a:custGeom>
          <a:solidFill>
            <a:schemeClr val="accent4"/>
          </a:solidFill>
          <a:ln>
            <a:solidFill>
              <a:schemeClr val="bg2"/>
            </a:solidFill>
          </a:ln>
          <a:extLst/>
        </p:spPr>
        <p:txBody>
          <a:bodyPr anchor="ctr"/>
          <a:lstStyle/>
          <a:p>
            <a:pPr defTabSz="857250">
              <a:spcBef>
                <a:spcPct val="50000"/>
              </a:spcBef>
              <a:defRPr/>
            </a:pPr>
            <a:r>
              <a:rPr lang="sv-SE" sz="1050" b="1" dirty="0">
                <a:solidFill>
                  <a:srgbClr val="FFFFFF"/>
                </a:solidFill>
                <a:latin typeface="Ericsson Hilda"/>
                <a:ea typeface="ＭＳ Ｐゴシック" pitchFamily="34" charset="-128"/>
              </a:rPr>
              <a:t>COM to qualify and discuss in CCB</a:t>
            </a:r>
          </a:p>
        </p:txBody>
      </p:sp>
      <p:sp>
        <p:nvSpPr>
          <p:cNvPr id="16" name="Freeform 8">
            <a:extLst>
              <a:ext uri="{FF2B5EF4-FFF2-40B4-BE49-F238E27FC236}">
                <a16:creationId xmlns:a16="http://schemas.microsoft.com/office/drawing/2014/main" id="{3D085CF2-D66A-43B4-AFCA-A81F793D0C18}"/>
              </a:ext>
            </a:extLst>
          </p:cNvPr>
          <p:cNvSpPr>
            <a:spLocks noChangeAspect="1"/>
          </p:cNvSpPr>
          <p:nvPr/>
        </p:nvSpPr>
        <p:spPr bwMode="auto">
          <a:xfrm>
            <a:off x="3152776" y="3940175"/>
            <a:ext cx="1222375" cy="681038"/>
          </a:xfrm>
          <a:custGeom>
            <a:avLst/>
            <a:gdLst>
              <a:gd name="T0" fmla="*/ 2147483647 w 536"/>
              <a:gd name="T1" fmla="*/ 2147483647 h 211"/>
              <a:gd name="T2" fmla="*/ 2147483647 w 536"/>
              <a:gd name="T3" fmla="*/ 2147483647 h 211"/>
              <a:gd name="T4" fmla="*/ 2147483647 w 536"/>
              <a:gd name="T5" fmla="*/ 2147483647 h 211"/>
              <a:gd name="T6" fmla="*/ 2147483647 w 536"/>
              <a:gd name="T7" fmla="*/ 2147483647 h 211"/>
              <a:gd name="T8" fmla="*/ 2147483647 w 536"/>
              <a:gd name="T9" fmla="*/ 2147483647 h 211"/>
              <a:gd name="T10" fmla="*/ 2147483647 w 536"/>
              <a:gd name="T11" fmla="*/ 2147483647 h 211"/>
              <a:gd name="T12" fmla="*/ 0 w 536"/>
              <a:gd name="T13" fmla="*/ 2147483647 h 211"/>
              <a:gd name="T14" fmla="*/ 0 w 536"/>
              <a:gd name="T15" fmla="*/ 2147483647 h 211"/>
              <a:gd name="T16" fmla="*/ 2147483647 w 536"/>
              <a:gd name="T17" fmla="*/ 0 h 211"/>
              <a:gd name="T18" fmla="*/ 2147483647 w 536"/>
              <a:gd name="T19" fmla="*/ 0 h 211"/>
              <a:gd name="T20" fmla="*/ 2147483647 w 536"/>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6"/>
              <a:gd name="T34" fmla="*/ 0 h 211"/>
              <a:gd name="T35" fmla="*/ 536 w 536"/>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6" h="211">
                <a:moveTo>
                  <a:pt x="439" y="10"/>
                </a:moveTo>
                <a:cubicBezTo>
                  <a:pt x="524" y="95"/>
                  <a:pt x="524" y="95"/>
                  <a:pt x="524" y="95"/>
                </a:cubicBezTo>
                <a:cubicBezTo>
                  <a:pt x="524" y="95"/>
                  <a:pt x="536" y="105"/>
                  <a:pt x="524" y="116"/>
                </a:cubicBezTo>
                <a:cubicBezTo>
                  <a:pt x="512" y="128"/>
                  <a:pt x="439" y="201"/>
                  <a:pt x="439" y="201"/>
                </a:cubicBezTo>
                <a:cubicBezTo>
                  <a:pt x="439" y="201"/>
                  <a:pt x="428" y="211"/>
                  <a:pt x="413" y="211"/>
                </a:cubicBezTo>
                <a:cubicBezTo>
                  <a:pt x="407" y="211"/>
                  <a:pt x="21" y="211"/>
                  <a:pt x="21" y="211"/>
                </a:cubicBezTo>
                <a:cubicBezTo>
                  <a:pt x="9" y="211"/>
                  <a:pt x="0" y="202"/>
                  <a:pt x="0" y="190"/>
                </a:cubicBezTo>
                <a:cubicBezTo>
                  <a:pt x="0" y="21"/>
                  <a:pt x="0" y="21"/>
                  <a:pt x="0" y="21"/>
                </a:cubicBezTo>
                <a:cubicBezTo>
                  <a:pt x="0" y="9"/>
                  <a:pt x="9" y="0"/>
                  <a:pt x="21" y="0"/>
                </a:cubicBezTo>
                <a:cubicBezTo>
                  <a:pt x="21" y="0"/>
                  <a:pt x="406" y="0"/>
                  <a:pt x="413" y="0"/>
                </a:cubicBezTo>
                <a:cubicBezTo>
                  <a:pt x="430" y="0"/>
                  <a:pt x="439" y="10"/>
                  <a:pt x="439" y="10"/>
                </a:cubicBezTo>
                <a:close/>
              </a:path>
            </a:pathLst>
          </a:custGeom>
          <a:solidFill>
            <a:srgbClr val="92D050"/>
          </a:solidFill>
          <a:ln>
            <a:noFill/>
          </a:ln>
          <a:extLst/>
        </p:spPr>
        <p:txBody>
          <a:bodyPr anchor="ctr"/>
          <a:lstStyle/>
          <a:p>
            <a:pPr defTabSz="857250">
              <a:spcBef>
                <a:spcPct val="50000"/>
              </a:spcBef>
              <a:defRPr/>
            </a:pPr>
            <a:r>
              <a:rPr lang="sv-SE" sz="1125" b="1" dirty="0">
                <a:solidFill>
                  <a:srgbClr val="FFFFFF"/>
                </a:solidFill>
                <a:latin typeface="Ericsson Hilda"/>
                <a:ea typeface="ＭＳ Ｐゴシック" pitchFamily="34" charset="-128"/>
              </a:rPr>
              <a:t>CTO  to Analyze potential</a:t>
            </a:r>
            <a:br>
              <a:rPr lang="sv-SE" sz="1125" b="1" dirty="0">
                <a:solidFill>
                  <a:srgbClr val="FFFFFF"/>
                </a:solidFill>
                <a:latin typeface="Ericsson Hilda"/>
                <a:ea typeface="ＭＳ Ｐゴシック" pitchFamily="34" charset="-128"/>
              </a:rPr>
            </a:br>
            <a:r>
              <a:rPr lang="sv-SE" sz="1125" b="1" dirty="0">
                <a:solidFill>
                  <a:srgbClr val="FFFFFF"/>
                </a:solidFill>
                <a:latin typeface="Ericsson Hilda"/>
                <a:ea typeface="ＭＳ Ｐゴシック" pitchFamily="34" charset="-128"/>
              </a:rPr>
              <a:t>Build Solution</a:t>
            </a:r>
          </a:p>
        </p:txBody>
      </p:sp>
      <p:sp>
        <p:nvSpPr>
          <p:cNvPr id="19" name="Flowchart: Decision 69">
            <a:extLst>
              <a:ext uri="{FF2B5EF4-FFF2-40B4-BE49-F238E27FC236}">
                <a16:creationId xmlns:a16="http://schemas.microsoft.com/office/drawing/2014/main" id="{7A926075-E81D-420F-BA35-FF16BF0FC0C7}"/>
              </a:ext>
            </a:extLst>
          </p:cNvPr>
          <p:cNvSpPr>
            <a:spLocks noChangeArrowheads="1"/>
          </p:cNvSpPr>
          <p:nvPr/>
        </p:nvSpPr>
        <p:spPr bwMode="auto">
          <a:xfrm>
            <a:off x="4376739" y="3575051"/>
            <a:ext cx="847725" cy="790575"/>
          </a:xfrm>
          <a:prstGeom prst="flowChartDecision">
            <a:avLst/>
          </a:prstGeom>
          <a:solidFill>
            <a:srgbClr val="3D5786"/>
          </a:solidFill>
          <a:ln>
            <a:noFill/>
          </a:ln>
          <a:extLst/>
        </p:spPr>
        <p:txBody>
          <a:bodyPr wrap="none" lIns="67500" rIns="67500" anchor="ctr"/>
          <a:lstStyle/>
          <a:p>
            <a:pPr algn="ctr" defTabSz="857250">
              <a:lnSpc>
                <a:spcPts val="1125"/>
              </a:lnSpc>
              <a:defRPr/>
            </a:pPr>
            <a:r>
              <a:rPr lang="en-US" sz="1125" dirty="0">
                <a:solidFill>
                  <a:srgbClr val="FFFFFF"/>
                </a:solidFill>
                <a:latin typeface="Ericsson Hilda"/>
              </a:rPr>
              <a:t>Qualify</a:t>
            </a:r>
            <a:endParaRPr lang="en-US" sz="1688" dirty="0">
              <a:solidFill>
                <a:srgbClr val="FFFFFF"/>
              </a:solidFill>
              <a:latin typeface="Ericsson Hilda"/>
            </a:endParaRPr>
          </a:p>
        </p:txBody>
      </p:sp>
      <p:sp>
        <p:nvSpPr>
          <p:cNvPr id="21" name="Flowchart: Decision 71">
            <a:extLst>
              <a:ext uri="{FF2B5EF4-FFF2-40B4-BE49-F238E27FC236}">
                <a16:creationId xmlns:a16="http://schemas.microsoft.com/office/drawing/2014/main" id="{302E2448-FEDD-4E46-9E2D-6674AD4BD329}"/>
              </a:ext>
            </a:extLst>
          </p:cNvPr>
          <p:cNvSpPr>
            <a:spLocks noChangeArrowheads="1"/>
          </p:cNvSpPr>
          <p:nvPr/>
        </p:nvSpPr>
        <p:spPr bwMode="auto">
          <a:xfrm>
            <a:off x="2146301" y="2906714"/>
            <a:ext cx="720725" cy="668337"/>
          </a:xfrm>
          <a:prstGeom prst="flowChartDecision">
            <a:avLst/>
          </a:prstGeom>
          <a:solidFill>
            <a:srgbClr val="3D5786"/>
          </a:solidFill>
          <a:ln>
            <a:noFill/>
          </a:ln>
          <a:extLst/>
        </p:spPr>
        <p:txBody>
          <a:bodyPr wrap="none" lIns="67500" rIns="67500" anchor="ctr"/>
          <a:lstStyle/>
          <a:p>
            <a:pPr algn="ctr" defTabSz="857250">
              <a:lnSpc>
                <a:spcPts val="1125"/>
              </a:lnSpc>
              <a:defRPr/>
            </a:pPr>
            <a:r>
              <a:rPr lang="en-US" sz="1125" dirty="0">
                <a:solidFill>
                  <a:srgbClr val="FFFFFF"/>
                </a:solidFill>
                <a:latin typeface="Ericsson Hilda"/>
              </a:rPr>
              <a:t>Type?</a:t>
            </a:r>
            <a:endParaRPr lang="en-US" sz="1688" dirty="0">
              <a:solidFill>
                <a:srgbClr val="FFFFFF"/>
              </a:solidFill>
              <a:latin typeface="Ericsson Hilda"/>
            </a:endParaRPr>
          </a:p>
        </p:txBody>
      </p:sp>
      <p:cxnSp>
        <p:nvCxnSpPr>
          <p:cNvPr id="55308" name="Elbow Connector 78">
            <a:extLst>
              <a:ext uri="{FF2B5EF4-FFF2-40B4-BE49-F238E27FC236}">
                <a16:creationId xmlns:a16="http://schemas.microsoft.com/office/drawing/2014/main" id="{347B9FB4-DEE8-4D7D-8681-279E685AFFAB}"/>
              </a:ext>
            </a:extLst>
          </p:cNvPr>
          <p:cNvCxnSpPr>
            <a:cxnSpLocks noChangeShapeType="1"/>
          </p:cNvCxnSpPr>
          <p:nvPr/>
        </p:nvCxnSpPr>
        <p:spPr bwMode="auto">
          <a:xfrm>
            <a:off x="2395538" y="3835400"/>
            <a:ext cx="736600" cy="444500"/>
          </a:xfrm>
          <a:prstGeom prst="bentConnector3">
            <a:avLst>
              <a:gd name="adj1" fmla="val 50000"/>
            </a:avLst>
          </a:prstGeom>
          <a:noFill/>
          <a:ln w="19050" algn="ctr">
            <a:solidFill>
              <a:srgbClr val="92D050"/>
            </a:solidFill>
            <a:round/>
            <a:headEnd/>
            <a:tailEnd type="arrow" w="med" len="med"/>
          </a:ln>
          <a:extLst>
            <a:ext uri="{909E8E84-426E-40DD-AFC4-6F175D3DCCD1}">
              <a14:hiddenFill xmlns:a14="http://schemas.microsoft.com/office/drawing/2010/main">
                <a:noFill/>
              </a14:hiddenFill>
            </a:ext>
          </a:extLst>
        </p:spPr>
      </p:cxnSp>
      <p:sp>
        <p:nvSpPr>
          <p:cNvPr id="24" name="TextBox 44">
            <a:extLst>
              <a:ext uri="{FF2B5EF4-FFF2-40B4-BE49-F238E27FC236}">
                <a16:creationId xmlns:a16="http://schemas.microsoft.com/office/drawing/2014/main" id="{31A81FEA-9929-423E-8AEB-D0B6BD0683FF}"/>
              </a:ext>
            </a:extLst>
          </p:cNvPr>
          <p:cNvSpPr txBox="1">
            <a:spLocks noChangeArrowheads="1"/>
          </p:cNvSpPr>
          <p:nvPr/>
        </p:nvSpPr>
        <p:spPr bwMode="auto">
          <a:xfrm>
            <a:off x="2344738" y="2619376"/>
            <a:ext cx="457200" cy="265113"/>
          </a:xfrm>
          <a:prstGeom prst="rect">
            <a:avLst/>
          </a:prstGeom>
          <a:solidFill>
            <a:schemeClr val="accent4"/>
          </a:solidFill>
          <a:ln w="9525">
            <a:solidFill>
              <a:schemeClr val="bg2"/>
            </a:solidFill>
            <a:miter lim="800000"/>
            <a:headEnd/>
            <a:tailEnd/>
          </a:ln>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dirty="0">
                <a:solidFill>
                  <a:srgbClr val="FFFFFF"/>
                </a:solidFill>
              </a:rPr>
              <a:t>AoS</a:t>
            </a:r>
          </a:p>
        </p:txBody>
      </p:sp>
      <p:sp>
        <p:nvSpPr>
          <p:cNvPr id="27" name="TextBox 44">
            <a:extLst>
              <a:ext uri="{FF2B5EF4-FFF2-40B4-BE49-F238E27FC236}">
                <a16:creationId xmlns:a16="http://schemas.microsoft.com/office/drawing/2014/main" id="{A6C71414-E080-4014-8B2C-844E4894CE8B}"/>
              </a:ext>
            </a:extLst>
          </p:cNvPr>
          <p:cNvSpPr txBox="1">
            <a:spLocks noChangeArrowheads="1"/>
          </p:cNvSpPr>
          <p:nvPr/>
        </p:nvSpPr>
        <p:spPr bwMode="auto">
          <a:xfrm>
            <a:off x="4518025" y="4384676"/>
            <a:ext cx="280988" cy="2651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b="1" dirty="0">
                <a:solidFill>
                  <a:srgbClr val="053971"/>
                </a:solidFill>
              </a:rPr>
              <a:t>Y</a:t>
            </a:r>
          </a:p>
        </p:txBody>
      </p:sp>
      <p:sp>
        <p:nvSpPr>
          <p:cNvPr id="55311" name="TextBox 62">
            <a:extLst>
              <a:ext uri="{FF2B5EF4-FFF2-40B4-BE49-F238E27FC236}">
                <a16:creationId xmlns:a16="http://schemas.microsoft.com/office/drawing/2014/main" id="{C3E8D4BB-4D69-486B-92F7-3A1B6889A25D}"/>
              </a:ext>
            </a:extLst>
          </p:cNvPr>
          <p:cNvSpPr txBox="1">
            <a:spLocks noChangeArrowheads="1"/>
          </p:cNvSpPr>
          <p:nvPr/>
        </p:nvSpPr>
        <p:spPr bwMode="auto">
          <a:xfrm>
            <a:off x="5980114" y="6346826"/>
            <a:ext cx="183673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57250">
              <a:defRPr>
                <a:solidFill>
                  <a:schemeClr val="tx1"/>
                </a:solidFill>
                <a:latin typeface="Ericsson Hilda" panose="00000500000000000000" pitchFamily="2" charset="0"/>
              </a:defRPr>
            </a:lvl1pPr>
            <a:lvl2pPr marL="742950" indent="-285750" defTabSz="857250">
              <a:defRPr>
                <a:solidFill>
                  <a:schemeClr val="tx1"/>
                </a:solidFill>
                <a:latin typeface="Ericsson Hilda" panose="00000500000000000000" pitchFamily="2" charset="0"/>
              </a:defRPr>
            </a:lvl2pPr>
            <a:lvl3pPr marL="1143000" indent="-228600" defTabSz="857250">
              <a:defRPr>
                <a:solidFill>
                  <a:schemeClr val="tx1"/>
                </a:solidFill>
                <a:latin typeface="Ericsson Hilda" panose="00000500000000000000" pitchFamily="2" charset="0"/>
              </a:defRPr>
            </a:lvl3pPr>
            <a:lvl4pPr marL="1600200" indent="-228600" defTabSz="857250">
              <a:defRPr>
                <a:solidFill>
                  <a:schemeClr val="tx1"/>
                </a:solidFill>
                <a:latin typeface="Ericsson Hilda" panose="00000500000000000000" pitchFamily="2" charset="0"/>
              </a:defRPr>
            </a:lvl4pPr>
            <a:lvl5pPr marL="2057400" indent="-228600" defTabSz="857250">
              <a:defRPr>
                <a:solidFill>
                  <a:schemeClr val="tx1"/>
                </a:solidFill>
                <a:latin typeface="Ericsson Hilda" panose="00000500000000000000" pitchFamily="2" charset="0"/>
              </a:defRPr>
            </a:lvl5pPr>
            <a:lvl6pPr marL="2514600" indent="-228600" defTabSz="857250" eaLnBrk="0" fontAlgn="base" hangingPunct="0">
              <a:spcBef>
                <a:spcPct val="0"/>
              </a:spcBef>
              <a:spcAft>
                <a:spcPct val="0"/>
              </a:spcAft>
              <a:defRPr>
                <a:solidFill>
                  <a:schemeClr val="tx1"/>
                </a:solidFill>
                <a:latin typeface="Ericsson Hilda" panose="00000500000000000000" pitchFamily="2" charset="0"/>
              </a:defRPr>
            </a:lvl6pPr>
            <a:lvl7pPr marL="2971800" indent="-228600" defTabSz="857250" eaLnBrk="0" fontAlgn="base" hangingPunct="0">
              <a:spcBef>
                <a:spcPct val="0"/>
              </a:spcBef>
              <a:spcAft>
                <a:spcPct val="0"/>
              </a:spcAft>
              <a:defRPr>
                <a:solidFill>
                  <a:schemeClr val="tx1"/>
                </a:solidFill>
                <a:latin typeface="Ericsson Hilda" panose="00000500000000000000" pitchFamily="2" charset="0"/>
              </a:defRPr>
            </a:lvl7pPr>
            <a:lvl8pPr marL="3429000" indent="-228600" defTabSz="857250" eaLnBrk="0" fontAlgn="base" hangingPunct="0">
              <a:spcBef>
                <a:spcPct val="0"/>
              </a:spcBef>
              <a:spcAft>
                <a:spcPct val="0"/>
              </a:spcAft>
              <a:defRPr>
                <a:solidFill>
                  <a:schemeClr val="tx1"/>
                </a:solidFill>
                <a:latin typeface="Ericsson Hilda" panose="00000500000000000000" pitchFamily="2" charset="0"/>
              </a:defRPr>
            </a:lvl8pPr>
            <a:lvl9pPr marL="3886200" indent="-228600" defTabSz="857250" eaLnBrk="0" fontAlgn="base" hangingPunct="0">
              <a:spcBef>
                <a:spcPct val="0"/>
              </a:spcBef>
              <a:spcAft>
                <a:spcPct val="0"/>
              </a:spcAft>
              <a:defRPr>
                <a:solidFill>
                  <a:schemeClr val="tx1"/>
                </a:solidFill>
                <a:latin typeface="Ericsson Hilda" panose="00000500000000000000" pitchFamily="2" charset="0"/>
              </a:defRPr>
            </a:lvl9pPr>
          </a:lstStyle>
          <a:p>
            <a:pPr fontAlgn="base">
              <a:spcBef>
                <a:spcPct val="50000"/>
              </a:spcBef>
              <a:spcAft>
                <a:spcPct val="0"/>
              </a:spcAft>
            </a:pPr>
            <a:r>
              <a:rPr lang="en-US" altLang="en-US" sz="1500" b="1">
                <a:solidFill>
                  <a:srgbClr val="181818"/>
                </a:solidFill>
                <a:latin typeface="Ericsson Capital TT" panose="02000503000000020004" pitchFamily="2" charset="0"/>
                <a:ea typeface="Ericsson Capital TT" panose="02000503000000020004" pitchFamily="2" charset="0"/>
                <a:cs typeface="Ericsson Capital TT" panose="02000503000000020004" pitchFamily="2" charset="0"/>
              </a:rPr>
              <a:t>Sales Force </a:t>
            </a:r>
          </a:p>
        </p:txBody>
      </p:sp>
      <p:sp>
        <p:nvSpPr>
          <p:cNvPr id="31" name="Freeform 7">
            <a:extLst>
              <a:ext uri="{FF2B5EF4-FFF2-40B4-BE49-F238E27FC236}">
                <a16:creationId xmlns:a16="http://schemas.microsoft.com/office/drawing/2014/main" id="{2D1AFFEB-63E6-4BB7-BF5F-EC95D3D66BAE}"/>
              </a:ext>
            </a:extLst>
          </p:cNvPr>
          <p:cNvSpPr>
            <a:spLocks noChangeAspect="1"/>
          </p:cNvSpPr>
          <p:nvPr/>
        </p:nvSpPr>
        <p:spPr bwMode="auto">
          <a:xfrm>
            <a:off x="5541964" y="5346700"/>
            <a:ext cx="3989387" cy="977900"/>
          </a:xfrm>
          <a:custGeom>
            <a:avLst/>
            <a:gdLst>
              <a:gd name="T0" fmla="*/ 2147483647 w 723"/>
              <a:gd name="T1" fmla="*/ 2147483647 h 211"/>
              <a:gd name="T2" fmla="*/ 2147483647 w 723"/>
              <a:gd name="T3" fmla="*/ 2147483647 h 211"/>
              <a:gd name="T4" fmla="*/ 2147483647 w 723"/>
              <a:gd name="T5" fmla="*/ 2147483647 h 211"/>
              <a:gd name="T6" fmla="*/ 2147483647 w 723"/>
              <a:gd name="T7" fmla="*/ 2147483647 h 211"/>
              <a:gd name="T8" fmla="*/ 2147483647 w 723"/>
              <a:gd name="T9" fmla="*/ 2147483647 h 211"/>
              <a:gd name="T10" fmla="*/ 2147483647 w 723"/>
              <a:gd name="T11" fmla="*/ 2147483647 h 211"/>
              <a:gd name="T12" fmla="*/ 0 w 723"/>
              <a:gd name="T13" fmla="*/ 2147483647 h 211"/>
              <a:gd name="T14" fmla="*/ 0 w 723"/>
              <a:gd name="T15" fmla="*/ 2147483647 h 211"/>
              <a:gd name="T16" fmla="*/ 2147483647 w 723"/>
              <a:gd name="T17" fmla="*/ 0 h 211"/>
              <a:gd name="T18" fmla="*/ 2147483647 w 723"/>
              <a:gd name="T19" fmla="*/ 0 h 211"/>
              <a:gd name="T20" fmla="*/ 2147483647 w 723"/>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3"/>
              <a:gd name="T34" fmla="*/ 0 h 211"/>
              <a:gd name="T35" fmla="*/ 723 w 723"/>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3" h="211">
                <a:moveTo>
                  <a:pt x="627" y="10"/>
                </a:moveTo>
                <a:cubicBezTo>
                  <a:pt x="712" y="95"/>
                  <a:pt x="712" y="95"/>
                  <a:pt x="712" y="95"/>
                </a:cubicBezTo>
                <a:cubicBezTo>
                  <a:pt x="712" y="95"/>
                  <a:pt x="723" y="105"/>
                  <a:pt x="712" y="116"/>
                </a:cubicBezTo>
                <a:cubicBezTo>
                  <a:pt x="700" y="128"/>
                  <a:pt x="627" y="201"/>
                  <a:pt x="627" y="201"/>
                </a:cubicBezTo>
                <a:cubicBezTo>
                  <a:pt x="627" y="201"/>
                  <a:pt x="616" y="211"/>
                  <a:pt x="601" y="211"/>
                </a:cubicBezTo>
                <a:cubicBezTo>
                  <a:pt x="594" y="211"/>
                  <a:pt x="21" y="211"/>
                  <a:pt x="21" y="211"/>
                </a:cubicBezTo>
                <a:cubicBezTo>
                  <a:pt x="9" y="211"/>
                  <a:pt x="0" y="202"/>
                  <a:pt x="0" y="190"/>
                </a:cubicBezTo>
                <a:cubicBezTo>
                  <a:pt x="0" y="21"/>
                  <a:pt x="0" y="21"/>
                  <a:pt x="0" y="21"/>
                </a:cubicBezTo>
                <a:cubicBezTo>
                  <a:pt x="0" y="9"/>
                  <a:pt x="9" y="0"/>
                  <a:pt x="21" y="0"/>
                </a:cubicBezTo>
                <a:cubicBezTo>
                  <a:pt x="21" y="0"/>
                  <a:pt x="594" y="0"/>
                  <a:pt x="601" y="0"/>
                </a:cubicBezTo>
                <a:cubicBezTo>
                  <a:pt x="617" y="0"/>
                  <a:pt x="627" y="10"/>
                  <a:pt x="627" y="10"/>
                </a:cubicBezTo>
                <a:close/>
              </a:path>
            </a:pathLst>
          </a:custGeom>
          <a:solidFill>
            <a:schemeClr val="bg1">
              <a:lumMod val="50000"/>
            </a:schemeClr>
          </a:solidFill>
          <a:ln>
            <a:noFill/>
          </a:ln>
          <a:extLst/>
        </p:spPr>
        <p:txBody>
          <a:bodyPr/>
          <a:lstStyle/>
          <a:p>
            <a:pPr defTabSz="857250">
              <a:defRPr/>
            </a:pPr>
            <a:r>
              <a:rPr lang="sv-SE" sz="1313" b="1" dirty="0">
                <a:solidFill>
                  <a:srgbClr val="FFFFFF"/>
                </a:solidFill>
                <a:latin typeface="Ericsson Hilda"/>
                <a:ea typeface="ＭＳ Ｐゴシック" pitchFamily="34" charset="-128"/>
              </a:rPr>
              <a:t>Sales process (ACR)</a:t>
            </a:r>
            <a:endParaRPr lang="sv-SE" sz="1313" b="1" dirty="0">
              <a:solidFill>
                <a:srgbClr val="181818"/>
              </a:solidFill>
              <a:latin typeface="Ericsson Hilda"/>
              <a:ea typeface="ＭＳ Ｐゴシック" pitchFamily="34" charset="-128"/>
            </a:endParaRPr>
          </a:p>
        </p:txBody>
      </p:sp>
      <p:sp>
        <p:nvSpPr>
          <p:cNvPr id="32" name="Freeform 23">
            <a:extLst>
              <a:ext uri="{FF2B5EF4-FFF2-40B4-BE49-F238E27FC236}">
                <a16:creationId xmlns:a16="http://schemas.microsoft.com/office/drawing/2014/main" id="{D7A5F3B3-5931-40F8-9576-BB6FE79E38C8}"/>
              </a:ext>
            </a:extLst>
          </p:cNvPr>
          <p:cNvSpPr>
            <a:spLocks noChangeAspect="1"/>
          </p:cNvSpPr>
          <p:nvPr/>
        </p:nvSpPr>
        <p:spPr bwMode="auto">
          <a:xfrm>
            <a:off x="5541963" y="5592763"/>
            <a:ext cx="709612" cy="584200"/>
          </a:xfrm>
          <a:custGeom>
            <a:avLst/>
            <a:gdLst>
              <a:gd name="T0" fmla="*/ 2147483647 w 259"/>
              <a:gd name="T1" fmla="*/ 2147483647 h 212"/>
              <a:gd name="T2" fmla="*/ 2147483647 w 259"/>
              <a:gd name="T3" fmla="*/ 2147483647 h 212"/>
              <a:gd name="T4" fmla="*/ 2147483647 w 259"/>
              <a:gd name="T5" fmla="*/ 2147483647 h 212"/>
              <a:gd name="T6" fmla="*/ 2147483647 w 259"/>
              <a:gd name="T7" fmla="*/ 2147483647 h 212"/>
              <a:gd name="T8" fmla="*/ 2147483647 w 259"/>
              <a:gd name="T9" fmla="*/ 2147483647 h 212"/>
              <a:gd name="T10" fmla="*/ 2147483647 w 259"/>
              <a:gd name="T11" fmla="*/ 2147483647 h 212"/>
              <a:gd name="T12" fmla="*/ 0 w 259"/>
              <a:gd name="T13" fmla="*/ 2147483647 h 212"/>
              <a:gd name="T14" fmla="*/ 0 w 259"/>
              <a:gd name="T15" fmla="*/ 2147483647 h 212"/>
              <a:gd name="T16" fmla="*/ 2147483647 w 259"/>
              <a:gd name="T17" fmla="*/ 0 h 212"/>
              <a:gd name="T18" fmla="*/ 2147483647 w 259"/>
              <a:gd name="T19" fmla="*/ 0 h 212"/>
              <a:gd name="T20" fmla="*/ 2147483647 w 259"/>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212"/>
              <a:gd name="T35" fmla="*/ 259 w 259"/>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212">
                <a:moveTo>
                  <a:pt x="163" y="11"/>
                </a:moveTo>
                <a:cubicBezTo>
                  <a:pt x="248" y="95"/>
                  <a:pt x="248" y="95"/>
                  <a:pt x="248" y="95"/>
                </a:cubicBezTo>
                <a:cubicBezTo>
                  <a:pt x="248" y="95"/>
                  <a:pt x="259" y="105"/>
                  <a:pt x="248" y="117"/>
                </a:cubicBezTo>
                <a:cubicBezTo>
                  <a:pt x="236" y="128"/>
                  <a:pt x="163" y="201"/>
                  <a:pt x="163" y="201"/>
                </a:cubicBezTo>
                <a:cubicBezTo>
                  <a:pt x="163" y="201"/>
                  <a:pt x="152" y="212"/>
                  <a:pt x="136" y="212"/>
                </a:cubicBezTo>
                <a:cubicBezTo>
                  <a:pt x="136" y="212"/>
                  <a:pt x="21" y="212"/>
                  <a:pt x="21" y="212"/>
                </a:cubicBezTo>
                <a:cubicBezTo>
                  <a:pt x="9" y="212"/>
                  <a:pt x="0" y="202"/>
                  <a:pt x="0" y="190"/>
                </a:cubicBezTo>
                <a:cubicBezTo>
                  <a:pt x="0" y="22"/>
                  <a:pt x="0" y="22"/>
                  <a:pt x="0" y="22"/>
                </a:cubicBezTo>
                <a:cubicBezTo>
                  <a:pt x="0" y="10"/>
                  <a:pt x="9" y="0"/>
                  <a:pt x="21" y="0"/>
                </a:cubicBezTo>
                <a:cubicBezTo>
                  <a:pt x="21" y="0"/>
                  <a:pt x="136" y="0"/>
                  <a:pt x="136" y="0"/>
                </a:cubicBezTo>
                <a:cubicBezTo>
                  <a:pt x="153" y="0"/>
                  <a:pt x="163" y="11"/>
                  <a:pt x="163" y="11"/>
                </a:cubicBezTo>
                <a:close/>
              </a:path>
            </a:pathLst>
          </a:custGeom>
          <a:solidFill>
            <a:schemeClr val="tx1"/>
          </a:solidFill>
          <a:ln>
            <a:noFill/>
          </a:ln>
          <a:extLst/>
        </p:spPr>
        <p:txBody>
          <a:bodyPr lIns="33750" rIns="0" anchor="ctr"/>
          <a:lstStyle/>
          <a:p>
            <a:pPr defTabSz="857250">
              <a:defRPr/>
            </a:pPr>
            <a:r>
              <a:rPr lang="sv-SE" sz="1125" b="1" dirty="0">
                <a:solidFill>
                  <a:srgbClr val="FFFFFF"/>
                </a:solidFill>
                <a:latin typeface="Ericsson Hilda"/>
                <a:ea typeface="ＭＳ Ｐゴシック" pitchFamily="34" charset="-128"/>
              </a:rPr>
              <a:t>Create</a:t>
            </a:r>
          </a:p>
        </p:txBody>
      </p:sp>
      <p:sp>
        <p:nvSpPr>
          <p:cNvPr id="33" name="Freeform 23">
            <a:extLst>
              <a:ext uri="{FF2B5EF4-FFF2-40B4-BE49-F238E27FC236}">
                <a16:creationId xmlns:a16="http://schemas.microsoft.com/office/drawing/2014/main" id="{0953309C-DA77-4A31-B9AD-7500ECCEACEA}"/>
              </a:ext>
            </a:extLst>
          </p:cNvPr>
          <p:cNvSpPr>
            <a:spLocks noChangeAspect="1"/>
          </p:cNvSpPr>
          <p:nvPr/>
        </p:nvSpPr>
        <p:spPr bwMode="auto">
          <a:xfrm>
            <a:off x="6276976" y="5592763"/>
            <a:ext cx="709613" cy="584200"/>
          </a:xfrm>
          <a:custGeom>
            <a:avLst/>
            <a:gdLst>
              <a:gd name="T0" fmla="*/ 2147483647 w 259"/>
              <a:gd name="T1" fmla="*/ 2147483647 h 212"/>
              <a:gd name="T2" fmla="*/ 2147483647 w 259"/>
              <a:gd name="T3" fmla="*/ 2147483647 h 212"/>
              <a:gd name="T4" fmla="*/ 2147483647 w 259"/>
              <a:gd name="T5" fmla="*/ 2147483647 h 212"/>
              <a:gd name="T6" fmla="*/ 2147483647 w 259"/>
              <a:gd name="T7" fmla="*/ 2147483647 h 212"/>
              <a:gd name="T8" fmla="*/ 2147483647 w 259"/>
              <a:gd name="T9" fmla="*/ 2147483647 h 212"/>
              <a:gd name="T10" fmla="*/ 2147483647 w 259"/>
              <a:gd name="T11" fmla="*/ 2147483647 h 212"/>
              <a:gd name="T12" fmla="*/ 0 w 259"/>
              <a:gd name="T13" fmla="*/ 2147483647 h 212"/>
              <a:gd name="T14" fmla="*/ 0 w 259"/>
              <a:gd name="T15" fmla="*/ 2147483647 h 212"/>
              <a:gd name="T16" fmla="*/ 2147483647 w 259"/>
              <a:gd name="T17" fmla="*/ 0 h 212"/>
              <a:gd name="T18" fmla="*/ 2147483647 w 259"/>
              <a:gd name="T19" fmla="*/ 0 h 212"/>
              <a:gd name="T20" fmla="*/ 2147483647 w 259"/>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212"/>
              <a:gd name="T35" fmla="*/ 259 w 259"/>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212">
                <a:moveTo>
                  <a:pt x="163" y="11"/>
                </a:moveTo>
                <a:cubicBezTo>
                  <a:pt x="248" y="95"/>
                  <a:pt x="248" y="95"/>
                  <a:pt x="248" y="95"/>
                </a:cubicBezTo>
                <a:cubicBezTo>
                  <a:pt x="248" y="95"/>
                  <a:pt x="259" y="105"/>
                  <a:pt x="248" y="117"/>
                </a:cubicBezTo>
                <a:cubicBezTo>
                  <a:pt x="236" y="128"/>
                  <a:pt x="163" y="201"/>
                  <a:pt x="163" y="201"/>
                </a:cubicBezTo>
                <a:cubicBezTo>
                  <a:pt x="163" y="201"/>
                  <a:pt x="152" y="212"/>
                  <a:pt x="136" y="212"/>
                </a:cubicBezTo>
                <a:cubicBezTo>
                  <a:pt x="136" y="212"/>
                  <a:pt x="21" y="212"/>
                  <a:pt x="21" y="212"/>
                </a:cubicBezTo>
                <a:cubicBezTo>
                  <a:pt x="9" y="212"/>
                  <a:pt x="0" y="202"/>
                  <a:pt x="0" y="190"/>
                </a:cubicBezTo>
                <a:cubicBezTo>
                  <a:pt x="0" y="22"/>
                  <a:pt x="0" y="22"/>
                  <a:pt x="0" y="22"/>
                </a:cubicBezTo>
                <a:cubicBezTo>
                  <a:pt x="0" y="10"/>
                  <a:pt x="9" y="0"/>
                  <a:pt x="21" y="0"/>
                </a:cubicBezTo>
                <a:cubicBezTo>
                  <a:pt x="21" y="0"/>
                  <a:pt x="136" y="0"/>
                  <a:pt x="136" y="0"/>
                </a:cubicBezTo>
                <a:cubicBezTo>
                  <a:pt x="153" y="0"/>
                  <a:pt x="163" y="11"/>
                  <a:pt x="163" y="11"/>
                </a:cubicBezTo>
                <a:close/>
              </a:path>
            </a:pathLst>
          </a:custGeom>
          <a:solidFill>
            <a:schemeClr val="tx1"/>
          </a:solidFill>
          <a:ln>
            <a:noFill/>
          </a:ln>
          <a:extLst/>
        </p:spPr>
        <p:txBody>
          <a:bodyPr lIns="33750" rIns="0" anchor="ctr"/>
          <a:lstStyle/>
          <a:p>
            <a:pPr defTabSz="857250">
              <a:defRPr/>
            </a:pPr>
            <a:r>
              <a:rPr lang="sv-SE" sz="1125" b="1">
                <a:solidFill>
                  <a:srgbClr val="FFFFFF"/>
                </a:solidFill>
                <a:latin typeface="Ericsson Hilda"/>
                <a:ea typeface="ＭＳ Ｐゴシック" pitchFamily="34" charset="-128"/>
              </a:rPr>
              <a:t>Review</a:t>
            </a:r>
          </a:p>
        </p:txBody>
      </p:sp>
      <p:sp>
        <p:nvSpPr>
          <p:cNvPr id="34" name="Freeform 23">
            <a:extLst>
              <a:ext uri="{FF2B5EF4-FFF2-40B4-BE49-F238E27FC236}">
                <a16:creationId xmlns:a16="http://schemas.microsoft.com/office/drawing/2014/main" id="{7E62D942-38F1-485F-86DD-54A62B7E0683}"/>
              </a:ext>
            </a:extLst>
          </p:cNvPr>
          <p:cNvSpPr>
            <a:spLocks noChangeAspect="1"/>
          </p:cNvSpPr>
          <p:nvPr/>
        </p:nvSpPr>
        <p:spPr bwMode="auto">
          <a:xfrm>
            <a:off x="7035801" y="5592763"/>
            <a:ext cx="708025" cy="584200"/>
          </a:xfrm>
          <a:custGeom>
            <a:avLst/>
            <a:gdLst>
              <a:gd name="T0" fmla="*/ 2147483647 w 259"/>
              <a:gd name="T1" fmla="*/ 2147483647 h 212"/>
              <a:gd name="T2" fmla="*/ 2147483647 w 259"/>
              <a:gd name="T3" fmla="*/ 2147483647 h 212"/>
              <a:gd name="T4" fmla="*/ 2147483647 w 259"/>
              <a:gd name="T5" fmla="*/ 2147483647 h 212"/>
              <a:gd name="T6" fmla="*/ 2147483647 w 259"/>
              <a:gd name="T7" fmla="*/ 2147483647 h 212"/>
              <a:gd name="T8" fmla="*/ 2147483647 w 259"/>
              <a:gd name="T9" fmla="*/ 2147483647 h 212"/>
              <a:gd name="T10" fmla="*/ 2147483647 w 259"/>
              <a:gd name="T11" fmla="*/ 2147483647 h 212"/>
              <a:gd name="T12" fmla="*/ 0 w 259"/>
              <a:gd name="T13" fmla="*/ 2147483647 h 212"/>
              <a:gd name="T14" fmla="*/ 0 w 259"/>
              <a:gd name="T15" fmla="*/ 2147483647 h 212"/>
              <a:gd name="T16" fmla="*/ 2147483647 w 259"/>
              <a:gd name="T17" fmla="*/ 0 h 212"/>
              <a:gd name="T18" fmla="*/ 2147483647 w 259"/>
              <a:gd name="T19" fmla="*/ 0 h 212"/>
              <a:gd name="T20" fmla="*/ 2147483647 w 259"/>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212"/>
              <a:gd name="T35" fmla="*/ 259 w 259"/>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212">
                <a:moveTo>
                  <a:pt x="163" y="11"/>
                </a:moveTo>
                <a:cubicBezTo>
                  <a:pt x="248" y="95"/>
                  <a:pt x="248" y="95"/>
                  <a:pt x="248" y="95"/>
                </a:cubicBezTo>
                <a:cubicBezTo>
                  <a:pt x="248" y="95"/>
                  <a:pt x="259" y="105"/>
                  <a:pt x="248" y="117"/>
                </a:cubicBezTo>
                <a:cubicBezTo>
                  <a:pt x="236" y="128"/>
                  <a:pt x="163" y="201"/>
                  <a:pt x="163" y="201"/>
                </a:cubicBezTo>
                <a:cubicBezTo>
                  <a:pt x="163" y="201"/>
                  <a:pt x="152" y="212"/>
                  <a:pt x="136" y="212"/>
                </a:cubicBezTo>
                <a:cubicBezTo>
                  <a:pt x="136" y="212"/>
                  <a:pt x="21" y="212"/>
                  <a:pt x="21" y="212"/>
                </a:cubicBezTo>
                <a:cubicBezTo>
                  <a:pt x="9" y="212"/>
                  <a:pt x="0" y="202"/>
                  <a:pt x="0" y="190"/>
                </a:cubicBezTo>
                <a:cubicBezTo>
                  <a:pt x="0" y="22"/>
                  <a:pt x="0" y="22"/>
                  <a:pt x="0" y="22"/>
                </a:cubicBezTo>
                <a:cubicBezTo>
                  <a:pt x="0" y="10"/>
                  <a:pt x="9" y="0"/>
                  <a:pt x="21" y="0"/>
                </a:cubicBezTo>
                <a:cubicBezTo>
                  <a:pt x="21" y="0"/>
                  <a:pt x="136" y="0"/>
                  <a:pt x="136" y="0"/>
                </a:cubicBezTo>
                <a:cubicBezTo>
                  <a:pt x="153" y="0"/>
                  <a:pt x="163" y="11"/>
                  <a:pt x="163" y="11"/>
                </a:cubicBezTo>
                <a:close/>
              </a:path>
            </a:pathLst>
          </a:custGeom>
          <a:solidFill>
            <a:schemeClr val="tx1"/>
          </a:solidFill>
          <a:ln>
            <a:noFill/>
          </a:ln>
          <a:extLst/>
        </p:spPr>
        <p:txBody>
          <a:bodyPr lIns="33750" rIns="0" anchor="ctr"/>
          <a:lstStyle/>
          <a:p>
            <a:pPr defTabSz="857250">
              <a:defRPr/>
            </a:pPr>
            <a:r>
              <a:rPr lang="sv-SE" sz="1125" b="1" dirty="0">
                <a:solidFill>
                  <a:srgbClr val="FFFFFF"/>
                </a:solidFill>
                <a:latin typeface="Ericsson Hilda"/>
                <a:ea typeface="ＭＳ Ｐゴシック" pitchFamily="34" charset="-128"/>
              </a:rPr>
              <a:t>Propose</a:t>
            </a:r>
          </a:p>
        </p:txBody>
      </p:sp>
      <p:sp>
        <p:nvSpPr>
          <p:cNvPr id="36" name="Freeform 4">
            <a:extLst>
              <a:ext uri="{FF2B5EF4-FFF2-40B4-BE49-F238E27FC236}">
                <a16:creationId xmlns:a16="http://schemas.microsoft.com/office/drawing/2014/main" id="{9EEA3B89-7362-4870-A632-03AC31EE18EE}"/>
              </a:ext>
            </a:extLst>
          </p:cNvPr>
          <p:cNvSpPr>
            <a:spLocks noChangeAspect="1" noEditPoints="1"/>
          </p:cNvSpPr>
          <p:nvPr/>
        </p:nvSpPr>
        <p:spPr bwMode="auto">
          <a:xfrm>
            <a:off x="6243638" y="1227139"/>
            <a:ext cx="1592262" cy="1495425"/>
          </a:xfrm>
          <a:custGeom>
            <a:avLst/>
            <a:gdLst>
              <a:gd name="T0" fmla="*/ 2147483647 w 1020"/>
              <a:gd name="T1" fmla="*/ 2147483647 h 1018"/>
              <a:gd name="T2" fmla="*/ 2147483647 w 1020"/>
              <a:gd name="T3" fmla="*/ 2147483647 h 1018"/>
              <a:gd name="T4" fmla="*/ 2147483647 w 1020"/>
              <a:gd name="T5" fmla="*/ 2147483647 h 1018"/>
              <a:gd name="T6" fmla="*/ 2147483647 w 1020"/>
              <a:gd name="T7" fmla="*/ 2147483647 h 1018"/>
              <a:gd name="T8" fmla="*/ 2147483647 w 1020"/>
              <a:gd name="T9" fmla="*/ 2147483647 h 1018"/>
              <a:gd name="T10" fmla="*/ 2147483647 w 1020"/>
              <a:gd name="T11" fmla="*/ 2147483647 h 1018"/>
              <a:gd name="T12" fmla="*/ 2147483647 w 1020"/>
              <a:gd name="T13" fmla="*/ 2147483647 h 1018"/>
              <a:gd name="T14" fmla="*/ 2147483647 w 1020"/>
              <a:gd name="T15" fmla="*/ 2147483647 h 1018"/>
              <a:gd name="T16" fmla="*/ 2147483647 w 1020"/>
              <a:gd name="T17" fmla="*/ 2147483647 h 1018"/>
              <a:gd name="T18" fmla="*/ 2147483647 w 1020"/>
              <a:gd name="T19" fmla="*/ 2147483647 h 1018"/>
              <a:gd name="T20" fmla="*/ 2147483647 w 1020"/>
              <a:gd name="T21" fmla="*/ 2147483647 h 1018"/>
              <a:gd name="T22" fmla="*/ 2147483647 w 1020"/>
              <a:gd name="T23" fmla="*/ 2147483647 h 1018"/>
              <a:gd name="T24" fmla="*/ 2147483647 w 1020"/>
              <a:gd name="T25" fmla="*/ 2147483647 h 1018"/>
              <a:gd name="T26" fmla="*/ 2147483647 w 1020"/>
              <a:gd name="T27" fmla="*/ 2147483647 h 1018"/>
              <a:gd name="T28" fmla="*/ 2147483647 w 1020"/>
              <a:gd name="T29" fmla="*/ 2147483647 h 1018"/>
              <a:gd name="T30" fmla="*/ 2147483647 w 1020"/>
              <a:gd name="T31" fmla="*/ 2147483647 h 1018"/>
              <a:gd name="T32" fmla="*/ 2147483647 w 1020"/>
              <a:gd name="T33" fmla="*/ 0 h 1018"/>
              <a:gd name="T34" fmla="*/ 2147483647 w 1020"/>
              <a:gd name="T35" fmla="*/ 2147483647 h 1018"/>
              <a:gd name="T36" fmla="*/ 2147483647 w 1020"/>
              <a:gd name="T37" fmla="*/ 2147483647 h 1018"/>
              <a:gd name="T38" fmla="*/ 2147483647 w 1020"/>
              <a:gd name="T39" fmla="*/ 2147483647 h 1018"/>
              <a:gd name="T40" fmla="*/ 2147483647 w 1020"/>
              <a:gd name="T41" fmla="*/ 2147483647 h 1018"/>
              <a:gd name="T42" fmla="*/ 2147483647 w 1020"/>
              <a:gd name="T43" fmla="*/ 2147483647 h 1018"/>
              <a:gd name="T44" fmla="*/ 2147483647 w 1020"/>
              <a:gd name="T45" fmla="*/ 2147483647 h 1018"/>
              <a:gd name="T46" fmla="*/ 2147483647 w 1020"/>
              <a:gd name="T47" fmla="*/ 2147483647 h 1018"/>
              <a:gd name="T48" fmla="*/ 2147483647 w 1020"/>
              <a:gd name="T49" fmla="*/ 2147483647 h 1018"/>
              <a:gd name="T50" fmla="*/ 2147483647 w 1020"/>
              <a:gd name="T51" fmla="*/ 2147483647 h 1018"/>
              <a:gd name="T52" fmla="*/ 2147483647 w 1020"/>
              <a:gd name="T53" fmla="*/ 2147483647 h 1018"/>
              <a:gd name="T54" fmla="*/ 2147483647 w 1020"/>
              <a:gd name="T55" fmla="*/ 2147483647 h 1018"/>
              <a:gd name="T56" fmla="*/ 2147483647 w 1020"/>
              <a:gd name="T57" fmla="*/ 2147483647 h 1018"/>
              <a:gd name="T58" fmla="*/ 2147483647 w 1020"/>
              <a:gd name="T59" fmla="*/ 2147483647 h 1018"/>
              <a:gd name="T60" fmla="*/ 2147483647 w 1020"/>
              <a:gd name="T61" fmla="*/ 2147483647 h 1018"/>
              <a:gd name="T62" fmla="*/ 2147483647 w 1020"/>
              <a:gd name="T63" fmla="*/ 2147483647 h 1018"/>
              <a:gd name="T64" fmla="*/ 2147483647 w 1020"/>
              <a:gd name="T65" fmla="*/ 2147483647 h 1018"/>
              <a:gd name="T66" fmla="*/ 2147483647 w 1020"/>
              <a:gd name="T67" fmla="*/ 2147483647 h 1018"/>
              <a:gd name="T68" fmla="*/ 2147483647 w 1020"/>
              <a:gd name="T69" fmla="*/ 2147483647 h 1018"/>
              <a:gd name="T70" fmla="*/ 2147483647 w 1020"/>
              <a:gd name="T71" fmla="*/ 2147483647 h 1018"/>
              <a:gd name="T72" fmla="*/ 2147483647 w 1020"/>
              <a:gd name="T73" fmla="*/ 2147483647 h 1018"/>
              <a:gd name="T74" fmla="*/ 2147483647 w 1020"/>
              <a:gd name="T75" fmla="*/ 2147483647 h 1018"/>
              <a:gd name="T76" fmla="*/ 2147483647 w 1020"/>
              <a:gd name="T77" fmla="*/ 2147483647 h 1018"/>
              <a:gd name="T78" fmla="*/ 2147483647 w 1020"/>
              <a:gd name="T79" fmla="*/ 2147483647 h 1018"/>
              <a:gd name="T80" fmla="*/ 2147483647 w 1020"/>
              <a:gd name="T81" fmla="*/ 2147483647 h 1018"/>
              <a:gd name="T82" fmla="*/ 2147483647 w 1020"/>
              <a:gd name="T83" fmla="*/ 2147483647 h 1018"/>
              <a:gd name="T84" fmla="*/ 2147483647 w 1020"/>
              <a:gd name="T85" fmla="*/ 2147483647 h 1018"/>
              <a:gd name="T86" fmla="*/ 2147483647 w 1020"/>
              <a:gd name="T87" fmla="*/ 2147483647 h 1018"/>
              <a:gd name="T88" fmla="*/ 2147483647 w 1020"/>
              <a:gd name="T89" fmla="*/ 0 h 1018"/>
              <a:gd name="T90" fmla="*/ 0 w 1020"/>
              <a:gd name="T91" fmla="*/ 2147483647 h 1018"/>
              <a:gd name="T92" fmla="*/ 2147483647 w 1020"/>
              <a:gd name="T93" fmla="*/ 2147483647 h 1018"/>
              <a:gd name="T94" fmla="*/ 2147483647 w 1020"/>
              <a:gd name="T95" fmla="*/ 2147483647 h 1018"/>
              <a:gd name="T96" fmla="*/ 2147483647 w 1020"/>
              <a:gd name="T97" fmla="*/ 2147483647 h 10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0" h="1018">
                <a:moveTo>
                  <a:pt x="823" y="806"/>
                </a:moveTo>
                <a:cubicBezTo>
                  <a:pt x="812" y="800"/>
                  <a:pt x="805" y="789"/>
                  <a:pt x="803" y="776"/>
                </a:cubicBezTo>
                <a:cubicBezTo>
                  <a:pt x="802" y="768"/>
                  <a:pt x="798" y="740"/>
                  <a:pt x="793" y="709"/>
                </a:cubicBezTo>
                <a:cubicBezTo>
                  <a:pt x="730" y="798"/>
                  <a:pt x="627" y="855"/>
                  <a:pt x="510" y="855"/>
                </a:cubicBezTo>
                <a:cubicBezTo>
                  <a:pt x="380" y="855"/>
                  <a:pt x="266" y="783"/>
                  <a:pt x="207" y="677"/>
                </a:cubicBezTo>
                <a:cubicBezTo>
                  <a:pt x="172" y="663"/>
                  <a:pt x="134" y="649"/>
                  <a:pt x="125" y="645"/>
                </a:cubicBezTo>
                <a:cubicBezTo>
                  <a:pt x="117" y="642"/>
                  <a:pt x="110" y="642"/>
                  <a:pt x="103" y="646"/>
                </a:cubicBezTo>
                <a:cubicBezTo>
                  <a:pt x="96" y="650"/>
                  <a:pt x="93" y="656"/>
                  <a:pt x="91" y="665"/>
                </a:cubicBezTo>
                <a:cubicBezTo>
                  <a:pt x="90" y="676"/>
                  <a:pt x="81" y="733"/>
                  <a:pt x="75" y="775"/>
                </a:cubicBezTo>
                <a:cubicBezTo>
                  <a:pt x="164" y="920"/>
                  <a:pt x="326" y="1018"/>
                  <a:pt x="510" y="1018"/>
                </a:cubicBezTo>
                <a:cubicBezTo>
                  <a:pt x="689" y="1018"/>
                  <a:pt x="846" y="926"/>
                  <a:pt x="937" y="787"/>
                </a:cubicBezTo>
                <a:cubicBezTo>
                  <a:pt x="940" y="783"/>
                  <a:pt x="943" y="778"/>
                  <a:pt x="946" y="774"/>
                </a:cubicBezTo>
                <a:cubicBezTo>
                  <a:pt x="909" y="788"/>
                  <a:pt x="867" y="805"/>
                  <a:pt x="858" y="808"/>
                </a:cubicBezTo>
                <a:cubicBezTo>
                  <a:pt x="845" y="813"/>
                  <a:pt x="833" y="812"/>
                  <a:pt x="823" y="806"/>
                </a:cubicBezTo>
                <a:close/>
                <a:moveTo>
                  <a:pt x="1020" y="509"/>
                </a:moveTo>
                <a:cubicBezTo>
                  <a:pt x="1020" y="411"/>
                  <a:pt x="992" y="319"/>
                  <a:pt x="944" y="241"/>
                </a:cubicBezTo>
                <a:cubicBezTo>
                  <a:pt x="855" y="100"/>
                  <a:pt x="700" y="5"/>
                  <a:pt x="522" y="0"/>
                </a:cubicBezTo>
                <a:cubicBezTo>
                  <a:pt x="553" y="25"/>
                  <a:pt x="586" y="52"/>
                  <a:pt x="593" y="57"/>
                </a:cubicBezTo>
                <a:cubicBezTo>
                  <a:pt x="604" y="66"/>
                  <a:pt x="609" y="77"/>
                  <a:pt x="609" y="89"/>
                </a:cubicBezTo>
                <a:cubicBezTo>
                  <a:pt x="609" y="102"/>
                  <a:pt x="604" y="112"/>
                  <a:pt x="593" y="121"/>
                </a:cubicBezTo>
                <a:cubicBezTo>
                  <a:pt x="587" y="126"/>
                  <a:pt x="564" y="144"/>
                  <a:pt x="539" y="164"/>
                </a:cubicBezTo>
                <a:cubicBezTo>
                  <a:pt x="717" y="179"/>
                  <a:pt x="857" y="327"/>
                  <a:pt x="857" y="509"/>
                </a:cubicBezTo>
                <a:cubicBezTo>
                  <a:pt x="857" y="575"/>
                  <a:pt x="839" y="637"/>
                  <a:pt x="806" y="689"/>
                </a:cubicBezTo>
                <a:cubicBezTo>
                  <a:pt x="812" y="726"/>
                  <a:pt x="817" y="764"/>
                  <a:pt x="819" y="773"/>
                </a:cubicBezTo>
                <a:cubicBezTo>
                  <a:pt x="820" y="782"/>
                  <a:pt x="824" y="788"/>
                  <a:pt x="831" y="792"/>
                </a:cubicBezTo>
                <a:cubicBezTo>
                  <a:pt x="837" y="796"/>
                  <a:pt x="845" y="796"/>
                  <a:pt x="853" y="793"/>
                </a:cubicBezTo>
                <a:cubicBezTo>
                  <a:pt x="863" y="789"/>
                  <a:pt x="919" y="767"/>
                  <a:pt x="959" y="751"/>
                </a:cubicBezTo>
                <a:cubicBezTo>
                  <a:pt x="969" y="733"/>
                  <a:pt x="978" y="713"/>
                  <a:pt x="986" y="693"/>
                </a:cubicBezTo>
                <a:cubicBezTo>
                  <a:pt x="986" y="693"/>
                  <a:pt x="986" y="693"/>
                  <a:pt x="986" y="693"/>
                </a:cubicBezTo>
                <a:cubicBezTo>
                  <a:pt x="993" y="673"/>
                  <a:pt x="999" y="654"/>
                  <a:pt x="1004" y="634"/>
                </a:cubicBezTo>
                <a:cubicBezTo>
                  <a:pt x="1004" y="634"/>
                  <a:pt x="1004" y="634"/>
                  <a:pt x="1004" y="634"/>
                </a:cubicBezTo>
                <a:cubicBezTo>
                  <a:pt x="1004" y="633"/>
                  <a:pt x="1005" y="632"/>
                  <a:pt x="1005" y="631"/>
                </a:cubicBezTo>
                <a:cubicBezTo>
                  <a:pt x="1005" y="630"/>
                  <a:pt x="1006" y="629"/>
                  <a:pt x="1006" y="627"/>
                </a:cubicBezTo>
                <a:cubicBezTo>
                  <a:pt x="1006" y="627"/>
                  <a:pt x="1006" y="627"/>
                  <a:pt x="1006" y="627"/>
                </a:cubicBezTo>
                <a:cubicBezTo>
                  <a:pt x="1015" y="589"/>
                  <a:pt x="1020" y="550"/>
                  <a:pt x="1020" y="509"/>
                </a:cubicBezTo>
                <a:close/>
                <a:moveTo>
                  <a:pt x="95" y="632"/>
                </a:moveTo>
                <a:cubicBezTo>
                  <a:pt x="106" y="626"/>
                  <a:pt x="118" y="625"/>
                  <a:pt x="131" y="630"/>
                </a:cubicBezTo>
                <a:cubicBezTo>
                  <a:pt x="139" y="633"/>
                  <a:pt x="166" y="644"/>
                  <a:pt x="195" y="656"/>
                </a:cubicBezTo>
                <a:cubicBezTo>
                  <a:pt x="174" y="611"/>
                  <a:pt x="163" y="561"/>
                  <a:pt x="163" y="509"/>
                </a:cubicBezTo>
                <a:cubicBezTo>
                  <a:pt x="163" y="318"/>
                  <a:pt x="318" y="163"/>
                  <a:pt x="510" y="163"/>
                </a:cubicBezTo>
                <a:cubicBezTo>
                  <a:pt x="511" y="163"/>
                  <a:pt x="513" y="163"/>
                  <a:pt x="514" y="163"/>
                </a:cubicBezTo>
                <a:cubicBezTo>
                  <a:pt x="544" y="140"/>
                  <a:pt x="576" y="115"/>
                  <a:pt x="583" y="109"/>
                </a:cubicBezTo>
                <a:cubicBezTo>
                  <a:pt x="590" y="103"/>
                  <a:pt x="593" y="97"/>
                  <a:pt x="593" y="89"/>
                </a:cubicBezTo>
                <a:cubicBezTo>
                  <a:pt x="593" y="81"/>
                  <a:pt x="590" y="75"/>
                  <a:pt x="583" y="70"/>
                </a:cubicBezTo>
                <a:cubicBezTo>
                  <a:pt x="574" y="62"/>
                  <a:pt x="530" y="27"/>
                  <a:pt x="497" y="0"/>
                </a:cubicBezTo>
                <a:cubicBezTo>
                  <a:pt x="221" y="8"/>
                  <a:pt x="0" y="233"/>
                  <a:pt x="0" y="509"/>
                </a:cubicBezTo>
                <a:cubicBezTo>
                  <a:pt x="0" y="597"/>
                  <a:pt x="22" y="680"/>
                  <a:pt x="62" y="752"/>
                </a:cubicBezTo>
                <a:cubicBezTo>
                  <a:pt x="68" y="714"/>
                  <a:pt x="74" y="671"/>
                  <a:pt x="76" y="662"/>
                </a:cubicBezTo>
                <a:cubicBezTo>
                  <a:pt x="78" y="649"/>
                  <a:pt x="84" y="638"/>
                  <a:pt x="95" y="632"/>
                </a:cubicBezTo>
                <a:close/>
              </a:path>
            </a:pathLst>
          </a:custGeom>
          <a:solidFill>
            <a:srgbClr val="3D5786"/>
          </a:solidFill>
          <a:ln>
            <a:noFill/>
          </a:ln>
          <a:extLst/>
        </p:spPr>
        <p:txBody>
          <a:bodyPr/>
          <a:lstStyle/>
          <a:p>
            <a:pPr defTabSz="857250">
              <a:defRPr/>
            </a:pPr>
            <a:endParaRPr lang="en-US" sz="1688">
              <a:solidFill>
                <a:srgbClr val="053971"/>
              </a:solidFill>
              <a:latin typeface="Ericsson Hilda"/>
            </a:endParaRPr>
          </a:p>
        </p:txBody>
      </p:sp>
      <p:sp>
        <p:nvSpPr>
          <p:cNvPr id="55317" name="TextBox 62">
            <a:extLst>
              <a:ext uri="{FF2B5EF4-FFF2-40B4-BE49-F238E27FC236}">
                <a16:creationId xmlns:a16="http://schemas.microsoft.com/office/drawing/2014/main" id="{1D647EAC-DC5A-4B72-850B-7C954397D80C}"/>
              </a:ext>
            </a:extLst>
          </p:cNvPr>
          <p:cNvSpPr txBox="1">
            <a:spLocks noChangeArrowheads="1"/>
          </p:cNvSpPr>
          <p:nvPr/>
        </p:nvSpPr>
        <p:spPr bwMode="auto">
          <a:xfrm>
            <a:off x="6511925" y="1636714"/>
            <a:ext cx="9906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57250">
              <a:defRPr>
                <a:solidFill>
                  <a:schemeClr val="tx1"/>
                </a:solidFill>
                <a:latin typeface="Ericsson Hilda" panose="00000500000000000000" pitchFamily="2" charset="0"/>
              </a:defRPr>
            </a:lvl1pPr>
            <a:lvl2pPr marL="742950" indent="-285750" defTabSz="857250">
              <a:defRPr>
                <a:solidFill>
                  <a:schemeClr val="tx1"/>
                </a:solidFill>
                <a:latin typeface="Ericsson Hilda" panose="00000500000000000000" pitchFamily="2" charset="0"/>
              </a:defRPr>
            </a:lvl2pPr>
            <a:lvl3pPr marL="1143000" indent="-228600" defTabSz="857250">
              <a:defRPr>
                <a:solidFill>
                  <a:schemeClr val="tx1"/>
                </a:solidFill>
                <a:latin typeface="Ericsson Hilda" panose="00000500000000000000" pitchFamily="2" charset="0"/>
              </a:defRPr>
            </a:lvl3pPr>
            <a:lvl4pPr marL="1600200" indent="-228600" defTabSz="857250">
              <a:defRPr>
                <a:solidFill>
                  <a:schemeClr val="tx1"/>
                </a:solidFill>
                <a:latin typeface="Ericsson Hilda" panose="00000500000000000000" pitchFamily="2" charset="0"/>
              </a:defRPr>
            </a:lvl4pPr>
            <a:lvl5pPr marL="2057400" indent="-228600" defTabSz="857250">
              <a:defRPr>
                <a:solidFill>
                  <a:schemeClr val="tx1"/>
                </a:solidFill>
                <a:latin typeface="Ericsson Hilda" panose="00000500000000000000" pitchFamily="2" charset="0"/>
              </a:defRPr>
            </a:lvl5pPr>
            <a:lvl6pPr marL="2514600" indent="-228600" defTabSz="857250" eaLnBrk="0" fontAlgn="base" hangingPunct="0">
              <a:spcBef>
                <a:spcPct val="0"/>
              </a:spcBef>
              <a:spcAft>
                <a:spcPct val="0"/>
              </a:spcAft>
              <a:defRPr>
                <a:solidFill>
                  <a:schemeClr val="tx1"/>
                </a:solidFill>
                <a:latin typeface="Ericsson Hilda" panose="00000500000000000000" pitchFamily="2" charset="0"/>
              </a:defRPr>
            </a:lvl6pPr>
            <a:lvl7pPr marL="2971800" indent="-228600" defTabSz="857250" eaLnBrk="0" fontAlgn="base" hangingPunct="0">
              <a:spcBef>
                <a:spcPct val="0"/>
              </a:spcBef>
              <a:spcAft>
                <a:spcPct val="0"/>
              </a:spcAft>
              <a:defRPr>
                <a:solidFill>
                  <a:schemeClr val="tx1"/>
                </a:solidFill>
                <a:latin typeface="Ericsson Hilda" panose="00000500000000000000" pitchFamily="2" charset="0"/>
              </a:defRPr>
            </a:lvl7pPr>
            <a:lvl8pPr marL="3429000" indent="-228600" defTabSz="857250" eaLnBrk="0" fontAlgn="base" hangingPunct="0">
              <a:spcBef>
                <a:spcPct val="0"/>
              </a:spcBef>
              <a:spcAft>
                <a:spcPct val="0"/>
              </a:spcAft>
              <a:defRPr>
                <a:solidFill>
                  <a:schemeClr val="tx1"/>
                </a:solidFill>
                <a:latin typeface="Ericsson Hilda" panose="00000500000000000000" pitchFamily="2" charset="0"/>
              </a:defRPr>
            </a:lvl8pPr>
            <a:lvl9pPr marL="3886200" indent="-228600" defTabSz="857250" eaLnBrk="0" fontAlgn="base" hangingPunct="0">
              <a:spcBef>
                <a:spcPct val="0"/>
              </a:spcBef>
              <a:spcAft>
                <a:spcPct val="0"/>
              </a:spcAft>
              <a:defRPr>
                <a:solidFill>
                  <a:schemeClr val="tx1"/>
                </a:solidFill>
                <a:latin typeface="Ericsson Hilda" panose="00000500000000000000" pitchFamily="2" charset="0"/>
              </a:defRPr>
            </a:lvl9pPr>
          </a:lstStyle>
          <a:p>
            <a:pPr algn="ctr" fontAlgn="base">
              <a:spcBef>
                <a:spcPct val="50000"/>
              </a:spcBef>
              <a:spcAft>
                <a:spcPct val="0"/>
              </a:spcAft>
            </a:pPr>
            <a:r>
              <a:rPr lang="en-US" altLang="en-US" sz="1000" b="1">
                <a:solidFill>
                  <a:srgbClr val="053971"/>
                </a:solidFill>
                <a:latin typeface="Arial" panose="020B0604020202020204" pitchFamily="34" charset="0"/>
                <a:cs typeface="Arial" panose="020B0604020202020204" pitchFamily="34" charset="0"/>
              </a:rPr>
              <a:t>Performance reports to be shared by GPM’s</a:t>
            </a:r>
          </a:p>
        </p:txBody>
      </p:sp>
      <p:sp>
        <p:nvSpPr>
          <p:cNvPr id="48" name="Flowchart: Decision 29">
            <a:extLst>
              <a:ext uri="{FF2B5EF4-FFF2-40B4-BE49-F238E27FC236}">
                <a16:creationId xmlns:a16="http://schemas.microsoft.com/office/drawing/2014/main" id="{32DD9E42-9DD9-42F9-A8D6-EB7EB325EB79}"/>
              </a:ext>
            </a:extLst>
          </p:cNvPr>
          <p:cNvSpPr>
            <a:spLocks noChangeArrowheads="1"/>
          </p:cNvSpPr>
          <p:nvPr/>
        </p:nvSpPr>
        <p:spPr bwMode="auto">
          <a:xfrm>
            <a:off x="7881938" y="5648325"/>
            <a:ext cx="374650" cy="414338"/>
          </a:xfrm>
          <a:prstGeom prst="flowChartDecision">
            <a:avLst/>
          </a:prstGeom>
          <a:solidFill>
            <a:schemeClr val="accent4">
              <a:lumMod val="60000"/>
              <a:lumOff val="40000"/>
            </a:schemeClr>
          </a:solidFill>
          <a:ln>
            <a:noFill/>
          </a:ln>
        </p:spPr>
        <p:txBody>
          <a:bodyPr wrap="none" lIns="67500" rIns="67500" anchor="ctr"/>
          <a:lstStyle/>
          <a:p>
            <a:pPr algn="ctr" defTabSz="857250">
              <a:lnSpc>
                <a:spcPts val="1125"/>
              </a:lnSpc>
              <a:defRPr/>
            </a:pPr>
            <a:endParaRPr lang="en-US" sz="1688" dirty="0">
              <a:solidFill>
                <a:srgbClr val="FFFFFF"/>
              </a:solidFill>
              <a:latin typeface="Ericsson Hilda"/>
            </a:endParaRPr>
          </a:p>
        </p:txBody>
      </p:sp>
      <p:sp>
        <p:nvSpPr>
          <p:cNvPr id="49" name="Freeform 23">
            <a:extLst>
              <a:ext uri="{FF2B5EF4-FFF2-40B4-BE49-F238E27FC236}">
                <a16:creationId xmlns:a16="http://schemas.microsoft.com/office/drawing/2014/main" id="{29E31A29-7286-4F34-A9E7-247287CD6749}"/>
              </a:ext>
            </a:extLst>
          </p:cNvPr>
          <p:cNvSpPr>
            <a:spLocks noChangeAspect="1"/>
          </p:cNvSpPr>
          <p:nvPr/>
        </p:nvSpPr>
        <p:spPr bwMode="auto">
          <a:xfrm>
            <a:off x="8401050" y="5507038"/>
            <a:ext cx="661988" cy="584200"/>
          </a:xfrm>
          <a:custGeom>
            <a:avLst/>
            <a:gdLst>
              <a:gd name="T0" fmla="*/ 2147483647 w 259"/>
              <a:gd name="T1" fmla="*/ 2147483647 h 212"/>
              <a:gd name="T2" fmla="*/ 2147483647 w 259"/>
              <a:gd name="T3" fmla="*/ 2147483647 h 212"/>
              <a:gd name="T4" fmla="*/ 2147483647 w 259"/>
              <a:gd name="T5" fmla="*/ 2147483647 h 212"/>
              <a:gd name="T6" fmla="*/ 2147483647 w 259"/>
              <a:gd name="T7" fmla="*/ 2147483647 h 212"/>
              <a:gd name="T8" fmla="*/ 2147483647 w 259"/>
              <a:gd name="T9" fmla="*/ 2147483647 h 212"/>
              <a:gd name="T10" fmla="*/ 2147483647 w 259"/>
              <a:gd name="T11" fmla="*/ 2147483647 h 212"/>
              <a:gd name="T12" fmla="*/ 0 w 259"/>
              <a:gd name="T13" fmla="*/ 2147483647 h 212"/>
              <a:gd name="T14" fmla="*/ 0 w 259"/>
              <a:gd name="T15" fmla="*/ 2147483647 h 212"/>
              <a:gd name="T16" fmla="*/ 2147483647 w 259"/>
              <a:gd name="T17" fmla="*/ 0 h 212"/>
              <a:gd name="T18" fmla="*/ 2147483647 w 259"/>
              <a:gd name="T19" fmla="*/ 0 h 212"/>
              <a:gd name="T20" fmla="*/ 2147483647 w 259"/>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212"/>
              <a:gd name="T35" fmla="*/ 259 w 259"/>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212">
                <a:moveTo>
                  <a:pt x="163" y="11"/>
                </a:moveTo>
                <a:cubicBezTo>
                  <a:pt x="248" y="95"/>
                  <a:pt x="248" y="95"/>
                  <a:pt x="248" y="95"/>
                </a:cubicBezTo>
                <a:cubicBezTo>
                  <a:pt x="248" y="95"/>
                  <a:pt x="259" y="105"/>
                  <a:pt x="248" y="117"/>
                </a:cubicBezTo>
                <a:cubicBezTo>
                  <a:pt x="236" y="128"/>
                  <a:pt x="163" y="201"/>
                  <a:pt x="163" y="201"/>
                </a:cubicBezTo>
                <a:cubicBezTo>
                  <a:pt x="163" y="201"/>
                  <a:pt x="152" y="212"/>
                  <a:pt x="136" y="212"/>
                </a:cubicBezTo>
                <a:cubicBezTo>
                  <a:pt x="136" y="212"/>
                  <a:pt x="21" y="212"/>
                  <a:pt x="21" y="212"/>
                </a:cubicBezTo>
                <a:cubicBezTo>
                  <a:pt x="9" y="212"/>
                  <a:pt x="0" y="202"/>
                  <a:pt x="0" y="190"/>
                </a:cubicBezTo>
                <a:cubicBezTo>
                  <a:pt x="0" y="22"/>
                  <a:pt x="0" y="22"/>
                  <a:pt x="0" y="22"/>
                </a:cubicBezTo>
                <a:cubicBezTo>
                  <a:pt x="0" y="10"/>
                  <a:pt x="9" y="0"/>
                  <a:pt x="21" y="0"/>
                </a:cubicBezTo>
                <a:cubicBezTo>
                  <a:pt x="21" y="0"/>
                  <a:pt x="136" y="0"/>
                  <a:pt x="136" y="0"/>
                </a:cubicBezTo>
                <a:cubicBezTo>
                  <a:pt x="153" y="0"/>
                  <a:pt x="163" y="11"/>
                  <a:pt x="163" y="11"/>
                </a:cubicBezTo>
                <a:close/>
              </a:path>
            </a:pathLst>
          </a:custGeom>
          <a:solidFill>
            <a:schemeClr val="tx1"/>
          </a:solidFill>
          <a:ln>
            <a:noFill/>
          </a:ln>
          <a:extLst/>
        </p:spPr>
        <p:txBody>
          <a:bodyPr lIns="33750" rIns="0" anchor="ctr"/>
          <a:lstStyle/>
          <a:p>
            <a:pPr defTabSz="857250">
              <a:defRPr/>
            </a:pPr>
            <a:r>
              <a:rPr lang="sv-SE" sz="1125" b="1" dirty="0">
                <a:solidFill>
                  <a:srgbClr val="FFFFFF"/>
                </a:solidFill>
                <a:latin typeface="Ericsson Hilda"/>
                <a:ea typeface="ＭＳ Ｐゴシック" pitchFamily="34" charset="-128"/>
              </a:rPr>
              <a:t>Execute</a:t>
            </a:r>
          </a:p>
        </p:txBody>
      </p:sp>
      <p:sp>
        <p:nvSpPr>
          <p:cNvPr id="51" name="Title 2">
            <a:extLst>
              <a:ext uri="{FF2B5EF4-FFF2-40B4-BE49-F238E27FC236}">
                <a16:creationId xmlns:a16="http://schemas.microsoft.com/office/drawing/2014/main" id="{3C90E47E-33A0-4B2C-8C36-A57DF63BC5B8}"/>
              </a:ext>
            </a:extLst>
          </p:cNvPr>
          <p:cNvSpPr>
            <a:spLocks noGrp="1"/>
          </p:cNvSpPr>
          <p:nvPr>
            <p:ph type="title"/>
          </p:nvPr>
        </p:nvSpPr>
        <p:spPr>
          <a:xfrm>
            <a:off x="487364" y="-322263"/>
            <a:ext cx="9344025" cy="723901"/>
          </a:xfrm>
        </p:spPr>
        <p:txBody>
          <a:bodyPr/>
          <a:lstStyle/>
          <a:p>
            <a:pPr eaLnBrk="1" hangingPunct="1">
              <a:spcBef>
                <a:spcPts val="281"/>
              </a:spcBef>
              <a:defRPr/>
            </a:pPr>
            <a:r>
              <a:rPr lang="en-US" altLang="en-US" sz="4000" dirty="0">
                <a:solidFill>
                  <a:schemeClr val="bg1"/>
                </a:solidFill>
                <a:latin typeface="Ericsson Hilda" panose="00000500000000000000" pitchFamily="2" charset="0"/>
                <a:ea typeface="MS PGothic" charset="-128"/>
              </a:rPr>
              <a:t/>
            </a:r>
            <a:br>
              <a:rPr lang="en-US" altLang="en-US" sz="4000" dirty="0">
                <a:solidFill>
                  <a:schemeClr val="bg1"/>
                </a:solidFill>
                <a:latin typeface="Ericsson Hilda" panose="00000500000000000000" pitchFamily="2" charset="0"/>
                <a:ea typeface="MS PGothic" charset="-128"/>
              </a:rPr>
            </a:br>
            <a:r>
              <a:rPr lang="en-CA" altLang="en-US" sz="4000" dirty="0">
                <a:solidFill>
                  <a:srgbClr val="1EB8DA"/>
                </a:solidFill>
                <a:latin typeface="Ericsson Hilda" panose="00000500000000000000" pitchFamily="2" charset="0"/>
                <a:ea typeface="MS PGothic" charset="-128"/>
              </a:rPr>
              <a:t>SDOD tools schematic view </a:t>
            </a:r>
            <a:endParaRPr lang="en-US" altLang="en-US" sz="1400" dirty="0">
              <a:solidFill>
                <a:srgbClr val="1EB8DA"/>
              </a:solidFill>
              <a:latin typeface="Ericsson Hilda" panose="00000500000000000000" pitchFamily="2" charset="0"/>
              <a:ea typeface="MS PGothic" charset="-128"/>
            </a:endParaRPr>
          </a:p>
        </p:txBody>
      </p:sp>
      <p:sp>
        <p:nvSpPr>
          <p:cNvPr id="52" name="Rectangle 76">
            <a:extLst>
              <a:ext uri="{FF2B5EF4-FFF2-40B4-BE49-F238E27FC236}">
                <a16:creationId xmlns:a16="http://schemas.microsoft.com/office/drawing/2014/main" id="{9F414A8E-1EFC-473C-8EBF-B17A03D703C2}"/>
              </a:ext>
            </a:extLst>
          </p:cNvPr>
          <p:cNvSpPr>
            <a:spLocks noChangeArrowheads="1"/>
          </p:cNvSpPr>
          <p:nvPr/>
        </p:nvSpPr>
        <p:spPr bwMode="auto">
          <a:xfrm>
            <a:off x="8462963" y="2771775"/>
            <a:ext cx="349250" cy="222250"/>
          </a:xfrm>
          <a:prstGeom prst="rect">
            <a:avLst/>
          </a:prstGeom>
          <a:solidFill>
            <a:srgbClr val="BED682"/>
          </a:solidFill>
          <a:ln w="12700" algn="ctr">
            <a:solidFill>
              <a:schemeClr val="tx1"/>
            </a:solidFill>
            <a:round/>
            <a:headEnd/>
            <a:tailEnd/>
          </a:ln>
        </p:spPr>
        <p:txBody>
          <a:bodyPr wrap="none" lIns="67500" rIns="67500"/>
          <a:lstStyle/>
          <a:p>
            <a:pPr defTabSz="857250">
              <a:spcBef>
                <a:spcPct val="50000"/>
              </a:spcBef>
              <a:defRPr/>
            </a:pPr>
            <a:endParaRPr lang="en-US" sz="1688">
              <a:solidFill>
                <a:srgbClr val="FFFFFF"/>
              </a:solidFill>
              <a:latin typeface="Ericsson Hilda"/>
            </a:endParaRPr>
          </a:p>
        </p:txBody>
      </p:sp>
      <p:sp>
        <p:nvSpPr>
          <p:cNvPr id="54" name="Freeform 14">
            <a:extLst>
              <a:ext uri="{FF2B5EF4-FFF2-40B4-BE49-F238E27FC236}">
                <a16:creationId xmlns:a16="http://schemas.microsoft.com/office/drawing/2014/main" id="{380D6E69-9BC3-421F-8BD4-BCF5927CD78D}"/>
              </a:ext>
            </a:extLst>
          </p:cNvPr>
          <p:cNvSpPr>
            <a:spLocks noChangeAspect="1"/>
          </p:cNvSpPr>
          <p:nvPr/>
        </p:nvSpPr>
        <p:spPr bwMode="auto">
          <a:xfrm>
            <a:off x="8318500" y="1878014"/>
            <a:ext cx="3538538" cy="1450975"/>
          </a:xfrm>
          <a:custGeom>
            <a:avLst/>
            <a:gdLst>
              <a:gd name="T0" fmla="*/ 2147483647 w 1143"/>
              <a:gd name="T1" fmla="*/ 2147483647 h 439"/>
              <a:gd name="T2" fmla="*/ 2147483647 w 1143"/>
              <a:gd name="T3" fmla="*/ 2147483647 h 439"/>
              <a:gd name="T4" fmla="*/ 2147483647 w 1143"/>
              <a:gd name="T5" fmla="*/ 0 h 439"/>
              <a:gd name="T6" fmla="*/ 2147483647 w 1143"/>
              <a:gd name="T7" fmla="*/ 0 h 439"/>
              <a:gd name="T8" fmla="*/ 0 w 1143"/>
              <a:gd name="T9" fmla="*/ 2147483647 h 439"/>
              <a:gd name="T10" fmla="*/ 0 w 1143"/>
              <a:gd name="T11" fmla="*/ 2147483647 h 439"/>
              <a:gd name="T12" fmla="*/ 2147483647 w 1143"/>
              <a:gd name="T13" fmla="*/ 2147483647 h 439"/>
              <a:gd name="T14" fmla="*/ 2147483647 w 1143"/>
              <a:gd name="T15" fmla="*/ 2147483647 h 439"/>
              <a:gd name="T16" fmla="*/ 2147483647 w 1143"/>
              <a:gd name="T17" fmla="*/ 2147483647 h 439"/>
              <a:gd name="T18" fmla="*/ 2147483647 w 1143"/>
              <a:gd name="T19" fmla="*/ 2147483647 h 439"/>
              <a:gd name="T20" fmla="*/ 2147483647 w 1143"/>
              <a:gd name="T21" fmla="*/ 2147483647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43"/>
              <a:gd name="T34" fmla="*/ 0 h 439"/>
              <a:gd name="T35" fmla="*/ 1143 w 1143"/>
              <a:gd name="T36" fmla="*/ 439 h 4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43" h="439">
                <a:moveTo>
                  <a:pt x="1132" y="197"/>
                </a:moveTo>
                <a:cubicBezTo>
                  <a:pt x="1047" y="21"/>
                  <a:pt x="1047" y="21"/>
                  <a:pt x="1047" y="21"/>
                </a:cubicBezTo>
                <a:cubicBezTo>
                  <a:pt x="1047" y="21"/>
                  <a:pt x="1037" y="0"/>
                  <a:pt x="1021" y="0"/>
                </a:cubicBezTo>
                <a:cubicBezTo>
                  <a:pt x="1018" y="0"/>
                  <a:pt x="21" y="0"/>
                  <a:pt x="21" y="0"/>
                </a:cubicBezTo>
                <a:cubicBezTo>
                  <a:pt x="9" y="0"/>
                  <a:pt x="0" y="9"/>
                  <a:pt x="0" y="21"/>
                </a:cubicBezTo>
                <a:cubicBezTo>
                  <a:pt x="0" y="418"/>
                  <a:pt x="0" y="418"/>
                  <a:pt x="0" y="418"/>
                </a:cubicBezTo>
                <a:cubicBezTo>
                  <a:pt x="0" y="430"/>
                  <a:pt x="9" y="439"/>
                  <a:pt x="21" y="439"/>
                </a:cubicBezTo>
                <a:cubicBezTo>
                  <a:pt x="21" y="439"/>
                  <a:pt x="1019" y="439"/>
                  <a:pt x="1021" y="439"/>
                </a:cubicBezTo>
                <a:cubicBezTo>
                  <a:pt x="1036" y="439"/>
                  <a:pt x="1047" y="418"/>
                  <a:pt x="1047" y="418"/>
                </a:cubicBezTo>
                <a:cubicBezTo>
                  <a:pt x="1047" y="418"/>
                  <a:pt x="1120" y="266"/>
                  <a:pt x="1132" y="242"/>
                </a:cubicBezTo>
                <a:cubicBezTo>
                  <a:pt x="1143" y="218"/>
                  <a:pt x="1132" y="197"/>
                  <a:pt x="1132" y="197"/>
                </a:cubicBezTo>
                <a:close/>
              </a:path>
            </a:pathLst>
          </a:custGeom>
          <a:solidFill>
            <a:schemeClr val="bg1"/>
          </a:solidFill>
          <a:ln>
            <a:noFill/>
          </a:ln>
          <a:extLst/>
        </p:spPr>
        <p:txBody>
          <a:bodyPr anchor="ctr"/>
          <a:lstStyle/>
          <a:p>
            <a:pPr defTabSz="857250">
              <a:defRPr/>
            </a:pPr>
            <a:endParaRPr lang="en-US" sz="1688">
              <a:solidFill>
                <a:srgbClr val="181818"/>
              </a:solidFill>
              <a:latin typeface="Ericsson Hilda"/>
            </a:endParaRPr>
          </a:p>
        </p:txBody>
      </p:sp>
      <p:sp>
        <p:nvSpPr>
          <p:cNvPr id="55323" name="TextBox 62">
            <a:extLst>
              <a:ext uri="{FF2B5EF4-FFF2-40B4-BE49-F238E27FC236}">
                <a16:creationId xmlns:a16="http://schemas.microsoft.com/office/drawing/2014/main" id="{E9C0DDF2-543A-4184-AE5B-185CACFD8B5C}"/>
              </a:ext>
            </a:extLst>
          </p:cNvPr>
          <p:cNvSpPr txBox="1">
            <a:spLocks noChangeArrowheads="1"/>
          </p:cNvSpPr>
          <p:nvPr/>
        </p:nvSpPr>
        <p:spPr bwMode="auto">
          <a:xfrm>
            <a:off x="8388351" y="1263650"/>
            <a:ext cx="1336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57250">
              <a:defRPr>
                <a:solidFill>
                  <a:schemeClr val="tx1"/>
                </a:solidFill>
                <a:latin typeface="Ericsson Hilda" panose="00000500000000000000" pitchFamily="2" charset="0"/>
              </a:defRPr>
            </a:lvl1pPr>
            <a:lvl2pPr marL="742950" indent="-285750" defTabSz="857250">
              <a:defRPr>
                <a:solidFill>
                  <a:schemeClr val="tx1"/>
                </a:solidFill>
                <a:latin typeface="Ericsson Hilda" panose="00000500000000000000" pitchFamily="2" charset="0"/>
              </a:defRPr>
            </a:lvl2pPr>
            <a:lvl3pPr marL="1143000" indent="-228600" defTabSz="857250">
              <a:defRPr>
                <a:solidFill>
                  <a:schemeClr val="tx1"/>
                </a:solidFill>
                <a:latin typeface="Ericsson Hilda" panose="00000500000000000000" pitchFamily="2" charset="0"/>
              </a:defRPr>
            </a:lvl3pPr>
            <a:lvl4pPr marL="1600200" indent="-228600" defTabSz="857250">
              <a:defRPr>
                <a:solidFill>
                  <a:schemeClr val="tx1"/>
                </a:solidFill>
                <a:latin typeface="Ericsson Hilda" panose="00000500000000000000" pitchFamily="2" charset="0"/>
              </a:defRPr>
            </a:lvl4pPr>
            <a:lvl5pPr marL="2057400" indent="-228600" defTabSz="857250">
              <a:defRPr>
                <a:solidFill>
                  <a:schemeClr val="tx1"/>
                </a:solidFill>
                <a:latin typeface="Ericsson Hilda" panose="00000500000000000000" pitchFamily="2" charset="0"/>
              </a:defRPr>
            </a:lvl5pPr>
            <a:lvl6pPr marL="2514600" indent="-228600" defTabSz="857250" eaLnBrk="0" fontAlgn="base" hangingPunct="0">
              <a:spcBef>
                <a:spcPct val="0"/>
              </a:spcBef>
              <a:spcAft>
                <a:spcPct val="0"/>
              </a:spcAft>
              <a:defRPr>
                <a:solidFill>
                  <a:schemeClr val="tx1"/>
                </a:solidFill>
                <a:latin typeface="Ericsson Hilda" panose="00000500000000000000" pitchFamily="2" charset="0"/>
              </a:defRPr>
            </a:lvl6pPr>
            <a:lvl7pPr marL="2971800" indent="-228600" defTabSz="857250" eaLnBrk="0" fontAlgn="base" hangingPunct="0">
              <a:spcBef>
                <a:spcPct val="0"/>
              </a:spcBef>
              <a:spcAft>
                <a:spcPct val="0"/>
              </a:spcAft>
              <a:defRPr>
                <a:solidFill>
                  <a:schemeClr val="tx1"/>
                </a:solidFill>
                <a:latin typeface="Ericsson Hilda" panose="00000500000000000000" pitchFamily="2" charset="0"/>
              </a:defRPr>
            </a:lvl7pPr>
            <a:lvl8pPr marL="3429000" indent="-228600" defTabSz="857250" eaLnBrk="0" fontAlgn="base" hangingPunct="0">
              <a:spcBef>
                <a:spcPct val="0"/>
              </a:spcBef>
              <a:spcAft>
                <a:spcPct val="0"/>
              </a:spcAft>
              <a:defRPr>
                <a:solidFill>
                  <a:schemeClr val="tx1"/>
                </a:solidFill>
                <a:latin typeface="Ericsson Hilda" panose="00000500000000000000" pitchFamily="2" charset="0"/>
              </a:defRPr>
            </a:lvl8pPr>
            <a:lvl9pPr marL="3886200" indent="-228600" defTabSz="857250" eaLnBrk="0" fontAlgn="base" hangingPunct="0">
              <a:spcBef>
                <a:spcPct val="0"/>
              </a:spcBef>
              <a:spcAft>
                <a:spcPct val="0"/>
              </a:spcAft>
              <a:defRPr>
                <a:solidFill>
                  <a:schemeClr val="tx1"/>
                </a:solidFill>
                <a:latin typeface="Ericsson Hilda" panose="00000500000000000000" pitchFamily="2" charset="0"/>
              </a:defRPr>
            </a:lvl9pPr>
          </a:lstStyle>
          <a:p>
            <a:pPr fontAlgn="base">
              <a:spcBef>
                <a:spcPct val="50000"/>
              </a:spcBef>
              <a:spcAft>
                <a:spcPct val="0"/>
              </a:spcAft>
            </a:pPr>
            <a:r>
              <a:rPr lang="en-US" altLang="en-US" sz="1500" b="1">
                <a:solidFill>
                  <a:srgbClr val="181818"/>
                </a:solidFill>
                <a:latin typeface="Ericsson Capital TT" panose="02000503000000020004" pitchFamily="2" charset="0"/>
                <a:ea typeface="Ericsson Capital TT" panose="02000503000000020004" pitchFamily="2" charset="0"/>
                <a:cs typeface="Ericsson Capital TT" panose="02000503000000020004" pitchFamily="2" charset="0"/>
              </a:rPr>
              <a:t>SAP/ONE</a:t>
            </a:r>
          </a:p>
        </p:txBody>
      </p:sp>
      <p:sp>
        <p:nvSpPr>
          <p:cNvPr id="56" name="Freeform 7">
            <a:extLst>
              <a:ext uri="{FF2B5EF4-FFF2-40B4-BE49-F238E27FC236}">
                <a16:creationId xmlns:a16="http://schemas.microsoft.com/office/drawing/2014/main" id="{8E368847-0589-425A-B6AD-63B193220757}"/>
              </a:ext>
            </a:extLst>
          </p:cNvPr>
          <p:cNvSpPr>
            <a:spLocks noChangeAspect="1"/>
          </p:cNvSpPr>
          <p:nvPr/>
        </p:nvSpPr>
        <p:spPr bwMode="auto">
          <a:xfrm>
            <a:off x="8361364" y="1614488"/>
            <a:ext cx="3432175" cy="977900"/>
          </a:xfrm>
          <a:custGeom>
            <a:avLst/>
            <a:gdLst>
              <a:gd name="T0" fmla="*/ 2147483647 w 723"/>
              <a:gd name="T1" fmla="*/ 2147483647 h 211"/>
              <a:gd name="T2" fmla="*/ 2147483647 w 723"/>
              <a:gd name="T3" fmla="*/ 2147483647 h 211"/>
              <a:gd name="T4" fmla="*/ 2147483647 w 723"/>
              <a:gd name="T5" fmla="*/ 2147483647 h 211"/>
              <a:gd name="T6" fmla="*/ 2147483647 w 723"/>
              <a:gd name="T7" fmla="*/ 2147483647 h 211"/>
              <a:gd name="T8" fmla="*/ 2147483647 w 723"/>
              <a:gd name="T9" fmla="*/ 2147483647 h 211"/>
              <a:gd name="T10" fmla="*/ 2147483647 w 723"/>
              <a:gd name="T11" fmla="*/ 2147483647 h 211"/>
              <a:gd name="T12" fmla="*/ 0 w 723"/>
              <a:gd name="T13" fmla="*/ 2147483647 h 211"/>
              <a:gd name="T14" fmla="*/ 0 w 723"/>
              <a:gd name="T15" fmla="*/ 2147483647 h 211"/>
              <a:gd name="T16" fmla="*/ 2147483647 w 723"/>
              <a:gd name="T17" fmla="*/ 0 h 211"/>
              <a:gd name="T18" fmla="*/ 2147483647 w 723"/>
              <a:gd name="T19" fmla="*/ 0 h 211"/>
              <a:gd name="T20" fmla="*/ 2147483647 w 723"/>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3"/>
              <a:gd name="T34" fmla="*/ 0 h 211"/>
              <a:gd name="T35" fmla="*/ 723 w 723"/>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3" h="211">
                <a:moveTo>
                  <a:pt x="627" y="10"/>
                </a:moveTo>
                <a:cubicBezTo>
                  <a:pt x="712" y="95"/>
                  <a:pt x="712" y="95"/>
                  <a:pt x="712" y="95"/>
                </a:cubicBezTo>
                <a:cubicBezTo>
                  <a:pt x="712" y="95"/>
                  <a:pt x="723" y="105"/>
                  <a:pt x="712" y="116"/>
                </a:cubicBezTo>
                <a:cubicBezTo>
                  <a:pt x="700" y="128"/>
                  <a:pt x="627" y="201"/>
                  <a:pt x="627" y="201"/>
                </a:cubicBezTo>
                <a:cubicBezTo>
                  <a:pt x="627" y="201"/>
                  <a:pt x="616" y="211"/>
                  <a:pt x="601" y="211"/>
                </a:cubicBezTo>
                <a:cubicBezTo>
                  <a:pt x="594" y="211"/>
                  <a:pt x="21" y="211"/>
                  <a:pt x="21" y="211"/>
                </a:cubicBezTo>
                <a:cubicBezTo>
                  <a:pt x="9" y="211"/>
                  <a:pt x="0" y="202"/>
                  <a:pt x="0" y="190"/>
                </a:cubicBezTo>
                <a:cubicBezTo>
                  <a:pt x="0" y="21"/>
                  <a:pt x="0" y="21"/>
                  <a:pt x="0" y="21"/>
                </a:cubicBezTo>
                <a:cubicBezTo>
                  <a:pt x="0" y="9"/>
                  <a:pt x="9" y="0"/>
                  <a:pt x="21" y="0"/>
                </a:cubicBezTo>
                <a:cubicBezTo>
                  <a:pt x="21" y="0"/>
                  <a:pt x="594" y="0"/>
                  <a:pt x="601" y="0"/>
                </a:cubicBezTo>
                <a:cubicBezTo>
                  <a:pt x="617" y="0"/>
                  <a:pt x="627" y="10"/>
                  <a:pt x="627" y="10"/>
                </a:cubicBezTo>
                <a:close/>
              </a:path>
            </a:pathLst>
          </a:custGeom>
          <a:solidFill>
            <a:schemeClr val="bg1">
              <a:lumMod val="50000"/>
            </a:schemeClr>
          </a:solidFill>
          <a:ln>
            <a:noFill/>
          </a:ln>
          <a:extLst/>
        </p:spPr>
        <p:txBody>
          <a:bodyPr/>
          <a:lstStyle/>
          <a:p>
            <a:pPr defTabSz="857250">
              <a:defRPr/>
            </a:pPr>
            <a:r>
              <a:rPr lang="sv-SE" sz="1313" b="1" dirty="0">
                <a:solidFill>
                  <a:srgbClr val="FFFFFF"/>
                </a:solidFill>
                <a:latin typeface="Ericsson Hilda"/>
                <a:ea typeface="ＭＳ Ｐゴシック" pitchFamily="34" charset="-128"/>
              </a:rPr>
              <a:t>process (PFM)</a:t>
            </a:r>
            <a:endParaRPr lang="sv-SE" sz="1313" b="1" dirty="0">
              <a:solidFill>
                <a:srgbClr val="181818"/>
              </a:solidFill>
              <a:latin typeface="Ericsson Hilda"/>
              <a:ea typeface="ＭＳ Ｐゴシック" pitchFamily="34" charset="-128"/>
            </a:endParaRPr>
          </a:p>
        </p:txBody>
      </p:sp>
      <p:sp>
        <p:nvSpPr>
          <p:cNvPr id="57" name="Freeform 23">
            <a:extLst>
              <a:ext uri="{FF2B5EF4-FFF2-40B4-BE49-F238E27FC236}">
                <a16:creationId xmlns:a16="http://schemas.microsoft.com/office/drawing/2014/main" id="{F9CA8518-8B49-4F74-8018-754DEAA1CCEB}"/>
              </a:ext>
            </a:extLst>
          </p:cNvPr>
          <p:cNvSpPr>
            <a:spLocks noChangeAspect="1"/>
          </p:cNvSpPr>
          <p:nvPr/>
        </p:nvSpPr>
        <p:spPr bwMode="auto">
          <a:xfrm>
            <a:off x="8562976" y="1841500"/>
            <a:ext cx="709613" cy="584200"/>
          </a:xfrm>
          <a:custGeom>
            <a:avLst/>
            <a:gdLst>
              <a:gd name="T0" fmla="*/ 2147483647 w 259"/>
              <a:gd name="T1" fmla="*/ 2147483647 h 212"/>
              <a:gd name="T2" fmla="*/ 2147483647 w 259"/>
              <a:gd name="T3" fmla="*/ 2147483647 h 212"/>
              <a:gd name="T4" fmla="*/ 2147483647 w 259"/>
              <a:gd name="T5" fmla="*/ 2147483647 h 212"/>
              <a:gd name="T6" fmla="*/ 2147483647 w 259"/>
              <a:gd name="T7" fmla="*/ 2147483647 h 212"/>
              <a:gd name="T8" fmla="*/ 2147483647 w 259"/>
              <a:gd name="T9" fmla="*/ 2147483647 h 212"/>
              <a:gd name="T10" fmla="*/ 2147483647 w 259"/>
              <a:gd name="T11" fmla="*/ 2147483647 h 212"/>
              <a:gd name="T12" fmla="*/ 0 w 259"/>
              <a:gd name="T13" fmla="*/ 2147483647 h 212"/>
              <a:gd name="T14" fmla="*/ 0 w 259"/>
              <a:gd name="T15" fmla="*/ 2147483647 h 212"/>
              <a:gd name="T16" fmla="*/ 2147483647 w 259"/>
              <a:gd name="T17" fmla="*/ 0 h 212"/>
              <a:gd name="T18" fmla="*/ 2147483647 w 259"/>
              <a:gd name="T19" fmla="*/ 0 h 212"/>
              <a:gd name="T20" fmla="*/ 2147483647 w 259"/>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212"/>
              <a:gd name="T35" fmla="*/ 259 w 259"/>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212">
                <a:moveTo>
                  <a:pt x="163" y="11"/>
                </a:moveTo>
                <a:cubicBezTo>
                  <a:pt x="248" y="95"/>
                  <a:pt x="248" y="95"/>
                  <a:pt x="248" y="95"/>
                </a:cubicBezTo>
                <a:cubicBezTo>
                  <a:pt x="248" y="95"/>
                  <a:pt x="259" y="105"/>
                  <a:pt x="248" y="117"/>
                </a:cubicBezTo>
                <a:cubicBezTo>
                  <a:pt x="236" y="128"/>
                  <a:pt x="163" y="201"/>
                  <a:pt x="163" y="201"/>
                </a:cubicBezTo>
                <a:cubicBezTo>
                  <a:pt x="163" y="201"/>
                  <a:pt x="152" y="212"/>
                  <a:pt x="136" y="212"/>
                </a:cubicBezTo>
                <a:cubicBezTo>
                  <a:pt x="136" y="212"/>
                  <a:pt x="21" y="212"/>
                  <a:pt x="21" y="212"/>
                </a:cubicBezTo>
                <a:cubicBezTo>
                  <a:pt x="9" y="212"/>
                  <a:pt x="0" y="202"/>
                  <a:pt x="0" y="190"/>
                </a:cubicBezTo>
                <a:cubicBezTo>
                  <a:pt x="0" y="22"/>
                  <a:pt x="0" y="22"/>
                  <a:pt x="0" y="22"/>
                </a:cubicBezTo>
                <a:cubicBezTo>
                  <a:pt x="0" y="10"/>
                  <a:pt x="9" y="0"/>
                  <a:pt x="21" y="0"/>
                </a:cubicBezTo>
                <a:cubicBezTo>
                  <a:pt x="21" y="0"/>
                  <a:pt x="136" y="0"/>
                  <a:pt x="136" y="0"/>
                </a:cubicBezTo>
                <a:cubicBezTo>
                  <a:pt x="153" y="0"/>
                  <a:pt x="163" y="11"/>
                  <a:pt x="163" y="11"/>
                </a:cubicBezTo>
                <a:close/>
              </a:path>
            </a:pathLst>
          </a:custGeom>
          <a:solidFill>
            <a:schemeClr val="tx1"/>
          </a:solidFill>
          <a:ln>
            <a:noFill/>
          </a:ln>
          <a:extLst/>
        </p:spPr>
        <p:txBody>
          <a:bodyPr lIns="33750" rIns="0" anchor="ctr"/>
          <a:lstStyle/>
          <a:p>
            <a:pPr defTabSz="857250">
              <a:defRPr/>
            </a:pPr>
            <a:r>
              <a:rPr lang="sv-SE" sz="1125" b="1" dirty="0">
                <a:solidFill>
                  <a:srgbClr val="FFFFFF"/>
                </a:solidFill>
                <a:latin typeface="Ericsson Hilda"/>
                <a:ea typeface="ＭＳ Ｐゴシック" pitchFamily="34" charset="-128"/>
              </a:rPr>
              <a:t>Create</a:t>
            </a:r>
          </a:p>
        </p:txBody>
      </p:sp>
      <p:sp>
        <p:nvSpPr>
          <p:cNvPr id="58" name="Freeform 23">
            <a:extLst>
              <a:ext uri="{FF2B5EF4-FFF2-40B4-BE49-F238E27FC236}">
                <a16:creationId xmlns:a16="http://schemas.microsoft.com/office/drawing/2014/main" id="{AC676528-3BC0-4F2D-B48C-7ACC40DE6E41}"/>
              </a:ext>
            </a:extLst>
          </p:cNvPr>
          <p:cNvSpPr>
            <a:spLocks noChangeAspect="1"/>
          </p:cNvSpPr>
          <p:nvPr/>
        </p:nvSpPr>
        <p:spPr bwMode="auto">
          <a:xfrm>
            <a:off x="9242426" y="1841500"/>
            <a:ext cx="709613" cy="584200"/>
          </a:xfrm>
          <a:custGeom>
            <a:avLst/>
            <a:gdLst>
              <a:gd name="T0" fmla="*/ 2147483647 w 259"/>
              <a:gd name="T1" fmla="*/ 2147483647 h 212"/>
              <a:gd name="T2" fmla="*/ 2147483647 w 259"/>
              <a:gd name="T3" fmla="*/ 2147483647 h 212"/>
              <a:gd name="T4" fmla="*/ 2147483647 w 259"/>
              <a:gd name="T5" fmla="*/ 2147483647 h 212"/>
              <a:gd name="T6" fmla="*/ 2147483647 w 259"/>
              <a:gd name="T7" fmla="*/ 2147483647 h 212"/>
              <a:gd name="T8" fmla="*/ 2147483647 w 259"/>
              <a:gd name="T9" fmla="*/ 2147483647 h 212"/>
              <a:gd name="T10" fmla="*/ 2147483647 w 259"/>
              <a:gd name="T11" fmla="*/ 2147483647 h 212"/>
              <a:gd name="T12" fmla="*/ 0 w 259"/>
              <a:gd name="T13" fmla="*/ 2147483647 h 212"/>
              <a:gd name="T14" fmla="*/ 0 w 259"/>
              <a:gd name="T15" fmla="*/ 2147483647 h 212"/>
              <a:gd name="T16" fmla="*/ 2147483647 w 259"/>
              <a:gd name="T17" fmla="*/ 0 h 212"/>
              <a:gd name="T18" fmla="*/ 2147483647 w 259"/>
              <a:gd name="T19" fmla="*/ 0 h 212"/>
              <a:gd name="T20" fmla="*/ 2147483647 w 259"/>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212"/>
              <a:gd name="T35" fmla="*/ 259 w 259"/>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212">
                <a:moveTo>
                  <a:pt x="163" y="11"/>
                </a:moveTo>
                <a:cubicBezTo>
                  <a:pt x="248" y="95"/>
                  <a:pt x="248" y="95"/>
                  <a:pt x="248" y="95"/>
                </a:cubicBezTo>
                <a:cubicBezTo>
                  <a:pt x="248" y="95"/>
                  <a:pt x="259" y="105"/>
                  <a:pt x="248" y="117"/>
                </a:cubicBezTo>
                <a:cubicBezTo>
                  <a:pt x="236" y="128"/>
                  <a:pt x="163" y="201"/>
                  <a:pt x="163" y="201"/>
                </a:cubicBezTo>
                <a:cubicBezTo>
                  <a:pt x="163" y="201"/>
                  <a:pt x="152" y="212"/>
                  <a:pt x="136" y="212"/>
                </a:cubicBezTo>
                <a:cubicBezTo>
                  <a:pt x="136" y="212"/>
                  <a:pt x="21" y="212"/>
                  <a:pt x="21" y="212"/>
                </a:cubicBezTo>
                <a:cubicBezTo>
                  <a:pt x="9" y="212"/>
                  <a:pt x="0" y="202"/>
                  <a:pt x="0" y="190"/>
                </a:cubicBezTo>
                <a:cubicBezTo>
                  <a:pt x="0" y="22"/>
                  <a:pt x="0" y="22"/>
                  <a:pt x="0" y="22"/>
                </a:cubicBezTo>
                <a:cubicBezTo>
                  <a:pt x="0" y="10"/>
                  <a:pt x="9" y="0"/>
                  <a:pt x="21" y="0"/>
                </a:cubicBezTo>
                <a:cubicBezTo>
                  <a:pt x="21" y="0"/>
                  <a:pt x="136" y="0"/>
                  <a:pt x="136" y="0"/>
                </a:cubicBezTo>
                <a:cubicBezTo>
                  <a:pt x="153" y="0"/>
                  <a:pt x="163" y="11"/>
                  <a:pt x="163" y="11"/>
                </a:cubicBezTo>
                <a:close/>
              </a:path>
            </a:pathLst>
          </a:custGeom>
          <a:solidFill>
            <a:schemeClr val="tx1"/>
          </a:solidFill>
          <a:ln>
            <a:noFill/>
          </a:ln>
          <a:extLst/>
        </p:spPr>
        <p:txBody>
          <a:bodyPr lIns="33750" rIns="0" anchor="ctr"/>
          <a:lstStyle/>
          <a:p>
            <a:pPr defTabSz="857250">
              <a:defRPr/>
            </a:pPr>
            <a:r>
              <a:rPr lang="sv-SE" sz="1125" b="1" dirty="0">
                <a:solidFill>
                  <a:srgbClr val="FFFFFF"/>
                </a:solidFill>
                <a:latin typeface="Ericsson Hilda"/>
                <a:ea typeface="ＭＳ Ｐゴシック" pitchFamily="34" charset="-128"/>
              </a:rPr>
              <a:t>Analyze</a:t>
            </a:r>
          </a:p>
        </p:txBody>
      </p:sp>
      <p:sp>
        <p:nvSpPr>
          <p:cNvPr id="62" name="Flowchart: Decision 29">
            <a:extLst>
              <a:ext uri="{FF2B5EF4-FFF2-40B4-BE49-F238E27FC236}">
                <a16:creationId xmlns:a16="http://schemas.microsoft.com/office/drawing/2014/main" id="{17772EDB-416A-4E3A-B177-C698E5539CC0}"/>
              </a:ext>
            </a:extLst>
          </p:cNvPr>
          <p:cNvSpPr>
            <a:spLocks noChangeArrowheads="1"/>
          </p:cNvSpPr>
          <p:nvPr/>
        </p:nvSpPr>
        <p:spPr bwMode="auto">
          <a:xfrm>
            <a:off x="10025063" y="1917701"/>
            <a:ext cx="296862" cy="371475"/>
          </a:xfrm>
          <a:prstGeom prst="flowChartDecision">
            <a:avLst/>
          </a:prstGeom>
          <a:solidFill>
            <a:schemeClr val="accent4">
              <a:lumMod val="60000"/>
              <a:lumOff val="40000"/>
            </a:schemeClr>
          </a:solidFill>
          <a:ln>
            <a:noFill/>
          </a:ln>
        </p:spPr>
        <p:txBody>
          <a:bodyPr wrap="none" lIns="67500" rIns="67500" anchor="ctr"/>
          <a:lstStyle/>
          <a:p>
            <a:pPr algn="ctr" defTabSz="857250">
              <a:lnSpc>
                <a:spcPts val="1125"/>
              </a:lnSpc>
              <a:defRPr/>
            </a:pPr>
            <a:endParaRPr lang="en-US" sz="1688" dirty="0">
              <a:solidFill>
                <a:srgbClr val="FFFFFF"/>
              </a:solidFill>
              <a:latin typeface="Ericsson Hilda"/>
            </a:endParaRPr>
          </a:p>
        </p:txBody>
      </p:sp>
      <p:sp>
        <p:nvSpPr>
          <p:cNvPr id="63" name="Freeform 23">
            <a:extLst>
              <a:ext uri="{FF2B5EF4-FFF2-40B4-BE49-F238E27FC236}">
                <a16:creationId xmlns:a16="http://schemas.microsoft.com/office/drawing/2014/main" id="{6FF7A7E8-52EB-495D-885A-46203B21C6A6}"/>
              </a:ext>
            </a:extLst>
          </p:cNvPr>
          <p:cNvSpPr>
            <a:spLocks noChangeAspect="1"/>
          </p:cNvSpPr>
          <p:nvPr/>
        </p:nvSpPr>
        <p:spPr bwMode="auto">
          <a:xfrm>
            <a:off x="10402888" y="1839913"/>
            <a:ext cx="588962" cy="520700"/>
          </a:xfrm>
          <a:custGeom>
            <a:avLst/>
            <a:gdLst>
              <a:gd name="T0" fmla="*/ 2147483647 w 259"/>
              <a:gd name="T1" fmla="*/ 2147483647 h 212"/>
              <a:gd name="T2" fmla="*/ 2147483647 w 259"/>
              <a:gd name="T3" fmla="*/ 2147483647 h 212"/>
              <a:gd name="T4" fmla="*/ 2147483647 w 259"/>
              <a:gd name="T5" fmla="*/ 2147483647 h 212"/>
              <a:gd name="T6" fmla="*/ 2147483647 w 259"/>
              <a:gd name="T7" fmla="*/ 2147483647 h 212"/>
              <a:gd name="T8" fmla="*/ 2147483647 w 259"/>
              <a:gd name="T9" fmla="*/ 2147483647 h 212"/>
              <a:gd name="T10" fmla="*/ 2147483647 w 259"/>
              <a:gd name="T11" fmla="*/ 2147483647 h 212"/>
              <a:gd name="T12" fmla="*/ 0 w 259"/>
              <a:gd name="T13" fmla="*/ 2147483647 h 212"/>
              <a:gd name="T14" fmla="*/ 0 w 259"/>
              <a:gd name="T15" fmla="*/ 2147483647 h 212"/>
              <a:gd name="T16" fmla="*/ 2147483647 w 259"/>
              <a:gd name="T17" fmla="*/ 0 h 212"/>
              <a:gd name="T18" fmla="*/ 2147483647 w 259"/>
              <a:gd name="T19" fmla="*/ 0 h 212"/>
              <a:gd name="T20" fmla="*/ 2147483647 w 259"/>
              <a:gd name="T21" fmla="*/ 2147483647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212"/>
              <a:gd name="T35" fmla="*/ 259 w 259"/>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212">
                <a:moveTo>
                  <a:pt x="163" y="11"/>
                </a:moveTo>
                <a:cubicBezTo>
                  <a:pt x="248" y="95"/>
                  <a:pt x="248" y="95"/>
                  <a:pt x="248" y="95"/>
                </a:cubicBezTo>
                <a:cubicBezTo>
                  <a:pt x="248" y="95"/>
                  <a:pt x="259" y="105"/>
                  <a:pt x="248" y="117"/>
                </a:cubicBezTo>
                <a:cubicBezTo>
                  <a:pt x="236" y="128"/>
                  <a:pt x="163" y="201"/>
                  <a:pt x="163" y="201"/>
                </a:cubicBezTo>
                <a:cubicBezTo>
                  <a:pt x="163" y="201"/>
                  <a:pt x="152" y="212"/>
                  <a:pt x="136" y="212"/>
                </a:cubicBezTo>
                <a:cubicBezTo>
                  <a:pt x="136" y="212"/>
                  <a:pt x="21" y="212"/>
                  <a:pt x="21" y="212"/>
                </a:cubicBezTo>
                <a:cubicBezTo>
                  <a:pt x="9" y="212"/>
                  <a:pt x="0" y="202"/>
                  <a:pt x="0" y="190"/>
                </a:cubicBezTo>
                <a:cubicBezTo>
                  <a:pt x="0" y="22"/>
                  <a:pt x="0" y="22"/>
                  <a:pt x="0" y="22"/>
                </a:cubicBezTo>
                <a:cubicBezTo>
                  <a:pt x="0" y="10"/>
                  <a:pt x="9" y="0"/>
                  <a:pt x="21" y="0"/>
                </a:cubicBezTo>
                <a:cubicBezTo>
                  <a:pt x="21" y="0"/>
                  <a:pt x="136" y="0"/>
                  <a:pt x="136" y="0"/>
                </a:cubicBezTo>
                <a:cubicBezTo>
                  <a:pt x="153" y="0"/>
                  <a:pt x="163" y="11"/>
                  <a:pt x="163" y="11"/>
                </a:cubicBezTo>
                <a:close/>
              </a:path>
            </a:pathLst>
          </a:custGeom>
          <a:solidFill>
            <a:schemeClr val="tx1"/>
          </a:solidFill>
          <a:ln>
            <a:noFill/>
          </a:ln>
          <a:extLst/>
        </p:spPr>
        <p:txBody>
          <a:bodyPr lIns="33750" rIns="0" anchor="ctr"/>
          <a:lstStyle/>
          <a:p>
            <a:pPr defTabSz="857250">
              <a:defRPr/>
            </a:pPr>
            <a:r>
              <a:rPr lang="sv-SE" sz="1125" b="1">
                <a:solidFill>
                  <a:srgbClr val="FFFFFF"/>
                </a:solidFill>
                <a:latin typeface="Ericsson Hilda"/>
                <a:ea typeface="ＭＳ Ｐゴシック" pitchFamily="34" charset="-128"/>
              </a:rPr>
              <a:t>Report</a:t>
            </a:r>
            <a:endParaRPr lang="sv-SE" sz="1125" b="1" dirty="0">
              <a:solidFill>
                <a:srgbClr val="FFFFFF"/>
              </a:solidFill>
              <a:latin typeface="Ericsson Hilda"/>
              <a:ea typeface="ＭＳ Ｐゴシック" pitchFamily="34" charset="-128"/>
            </a:endParaRPr>
          </a:p>
        </p:txBody>
      </p:sp>
      <p:cxnSp>
        <p:nvCxnSpPr>
          <p:cNvPr id="55329" name="Straight Arrow Connector 2">
            <a:extLst>
              <a:ext uri="{FF2B5EF4-FFF2-40B4-BE49-F238E27FC236}">
                <a16:creationId xmlns:a16="http://schemas.microsoft.com/office/drawing/2014/main" id="{9A29EAE3-3D7D-4AF8-8FCD-08677E4F7C77}"/>
              </a:ext>
            </a:extLst>
          </p:cNvPr>
          <p:cNvCxnSpPr>
            <a:cxnSpLocks/>
          </p:cNvCxnSpPr>
          <p:nvPr/>
        </p:nvCxnSpPr>
        <p:spPr bwMode="auto">
          <a:xfrm flipV="1">
            <a:off x="8056563" y="3773489"/>
            <a:ext cx="0" cy="452437"/>
          </a:xfrm>
          <a:prstGeom prst="straightConnector1">
            <a:avLst/>
          </a:prstGeom>
          <a:noFill/>
          <a:ln w="19050" algn="ctr">
            <a:solidFill>
              <a:srgbClr val="92D050"/>
            </a:solidFill>
            <a:round/>
            <a:headEnd/>
            <a:tailEnd type="triangle" w="med" len="med"/>
          </a:ln>
          <a:extLst>
            <a:ext uri="{909E8E84-426E-40DD-AFC4-6F175D3DCCD1}">
              <a14:hiddenFill xmlns:a14="http://schemas.microsoft.com/office/drawing/2010/main">
                <a:noFill/>
              </a14:hiddenFill>
            </a:ext>
          </a:extLst>
        </p:spPr>
      </p:cxnSp>
      <p:sp>
        <p:nvSpPr>
          <p:cNvPr id="60" name="Flowchart: Decision 69">
            <a:extLst>
              <a:ext uri="{FF2B5EF4-FFF2-40B4-BE49-F238E27FC236}">
                <a16:creationId xmlns:a16="http://schemas.microsoft.com/office/drawing/2014/main" id="{E41332D6-BEE2-4342-8F4E-38F0CAA6183E}"/>
              </a:ext>
            </a:extLst>
          </p:cNvPr>
          <p:cNvSpPr>
            <a:spLocks noChangeArrowheads="1"/>
          </p:cNvSpPr>
          <p:nvPr/>
        </p:nvSpPr>
        <p:spPr bwMode="auto">
          <a:xfrm>
            <a:off x="7732714" y="3832226"/>
            <a:ext cx="655637" cy="595313"/>
          </a:xfrm>
          <a:prstGeom prst="flowChartDecision">
            <a:avLst/>
          </a:prstGeom>
          <a:solidFill>
            <a:srgbClr val="3D5786"/>
          </a:solidFill>
          <a:ln>
            <a:noFill/>
          </a:ln>
          <a:extLst/>
        </p:spPr>
        <p:txBody>
          <a:bodyPr wrap="none" lIns="67500" rIns="67500" anchor="ctr"/>
          <a:lstStyle/>
          <a:p>
            <a:pPr algn="ctr" defTabSz="857250">
              <a:lnSpc>
                <a:spcPts val="1125"/>
              </a:lnSpc>
              <a:defRPr/>
            </a:pPr>
            <a:r>
              <a:rPr lang="en-US" sz="1125" dirty="0">
                <a:solidFill>
                  <a:srgbClr val="FFFFFF"/>
                </a:solidFill>
                <a:latin typeface="Ericsson Hilda"/>
              </a:rPr>
              <a:t>Qualify?</a:t>
            </a:r>
            <a:endParaRPr lang="en-US" sz="1688" dirty="0">
              <a:solidFill>
                <a:srgbClr val="FFFFFF"/>
              </a:solidFill>
              <a:latin typeface="Ericsson Hilda"/>
            </a:endParaRPr>
          </a:p>
        </p:txBody>
      </p:sp>
      <p:sp>
        <p:nvSpPr>
          <p:cNvPr id="61" name="TextBox 44">
            <a:extLst>
              <a:ext uri="{FF2B5EF4-FFF2-40B4-BE49-F238E27FC236}">
                <a16:creationId xmlns:a16="http://schemas.microsoft.com/office/drawing/2014/main" id="{50ADCAF5-420B-434F-BE6E-095146FCC862}"/>
              </a:ext>
            </a:extLst>
          </p:cNvPr>
          <p:cNvSpPr txBox="1">
            <a:spLocks noChangeArrowheads="1"/>
          </p:cNvSpPr>
          <p:nvPr/>
        </p:nvSpPr>
        <p:spPr bwMode="auto">
          <a:xfrm>
            <a:off x="8069264" y="3562351"/>
            <a:ext cx="280987"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b="1" dirty="0">
                <a:solidFill>
                  <a:srgbClr val="053971"/>
                </a:solidFill>
              </a:rPr>
              <a:t>Y</a:t>
            </a:r>
          </a:p>
        </p:txBody>
      </p:sp>
      <p:sp>
        <p:nvSpPr>
          <p:cNvPr id="43" name="Freeform 8">
            <a:extLst>
              <a:ext uri="{FF2B5EF4-FFF2-40B4-BE49-F238E27FC236}">
                <a16:creationId xmlns:a16="http://schemas.microsoft.com/office/drawing/2014/main" id="{66409A19-0ABC-46E3-809B-585213815BD6}"/>
              </a:ext>
            </a:extLst>
          </p:cNvPr>
          <p:cNvSpPr>
            <a:spLocks noChangeAspect="1"/>
          </p:cNvSpPr>
          <p:nvPr/>
        </p:nvSpPr>
        <p:spPr bwMode="auto">
          <a:xfrm>
            <a:off x="4554538" y="5561014"/>
            <a:ext cx="938212" cy="681037"/>
          </a:xfrm>
          <a:custGeom>
            <a:avLst/>
            <a:gdLst>
              <a:gd name="T0" fmla="*/ 2147483647 w 536"/>
              <a:gd name="T1" fmla="*/ 2147483647 h 211"/>
              <a:gd name="T2" fmla="*/ 2147483647 w 536"/>
              <a:gd name="T3" fmla="*/ 2147483647 h 211"/>
              <a:gd name="T4" fmla="*/ 2147483647 w 536"/>
              <a:gd name="T5" fmla="*/ 2147483647 h 211"/>
              <a:gd name="T6" fmla="*/ 2147483647 w 536"/>
              <a:gd name="T7" fmla="*/ 2147483647 h 211"/>
              <a:gd name="T8" fmla="*/ 2147483647 w 536"/>
              <a:gd name="T9" fmla="*/ 2147483647 h 211"/>
              <a:gd name="T10" fmla="*/ 2147483647 w 536"/>
              <a:gd name="T11" fmla="*/ 2147483647 h 211"/>
              <a:gd name="T12" fmla="*/ 0 w 536"/>
              <a:gd name="T13" fmla="*/ 2147483647 h 211"/>
              <a:gd name="T14" fmla="*/ 0 w 536"/>
              <a:gd name="T15" fmla="*/ 2147483647 h 211"/>
              <a:gd name="T16" fmla="*/ 2147483647 w 536"/>
              <a:gd name="T17" fmla="*/ 0 h 211"/>
              <a:gd name="T18" fmla="*/ 2147483647 w 536"/>
              <a:gd name="T19" fmla="*/ 0 h 211"/>
              <a:gd name="T20" fmla="*/ 2147483647 w 536"/>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6"/>
              <a:gd name="T34" fmla="*/ 0 h 211"/>
              <a:gd name="T35" fmla="*/ 536 w 536"/>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6" h="211">
                <a:moveTo>
                  <a:pt x="439" y="10"/>
                </a:moveTo>
                <a:cubicBezTo>
                  <a:pt x="524" y="95"/>
                  <a:pt x="524" y="95"/>
                  <a:pt x="524" y="95"/>
                </a:cubicBezTo>
                <a:cubicBezTo>
                  <a:pt x="524" y="95"/>
                  <a:pt x="536" y="105"/>
                  <a:pt x="524" y="116"/>
                </a:cubicBezTo>
                <a:cubicBezTo>
                  <a:pt x="512" y="128"/>
                  <a:pt x="439" y="201"/>
                  <a:pt x="439" y="201"/>
                </a:cubicBezTo>
                <a:cubicBezTo>
                  <a:pt x="439" y="201"/>
                  <a:pt x="428" y="211"/>
                  <a:pt x="413" y="211"/>
                </a:cubicBezTo>
                <a:cubicBezTo>
                  <a:pt x="407" y="211"/>
                  <a:pt x="21" y="211"/>
                  <a:pt x="21" y="211"/>
                </a:cubicBezTo>
                <a:cubicBezTo>
                  <a:pt x="9" y="211"/>
                  <a:pt x="0" y="202"/>
                  <a:pt x="0" y="190"/>
                </a:cubicBezTo>
                <a:cubicBezTo>
                  <a:pt x="0" y="21"/>
                  <a:pt x="0" y="21"/>
                  <a:pt x="0" y="21"/>
                </a:cubicBezTo>
                <a:cubicBezTo>
                  <a:pt x="0" y="9"/>
                  <a:pt x="9" y="0"/>
                  <a:pt x="21" y="0"/>
                </a:cubicBezTo>
                <a:cubicBezTo>
                  <a:pt x="21" y="0"/>
                  <a:pt x="406" y="0"/>
                  <a:pt x="413" y="0"/>
                </a:cubicBezTo>
                <a:cubicBezTo>
                  <a:pt x="430" y="0"/>
                  <a:pt x="439" y="10"/>
                  <a:pt x="439" y="10"/>
                </a:cubicBezTo>
                <a:close/>
              </a:path>
            </a:pathLst>
          </a:custGeom>
          <a:solidFill>
            <a:schemeClr val="tx1"/>
          </a:solidFill>
          <a:ln>
            <a:noFill/>
          </a:ln>
          <a:extLst/>
        </p:spPr>
        <p:txBody>
          <a:bodyPr anchor="ctr"/>
          <a:lstStyle/>
          <a:p>
            <a:pPr defTabSz="857250">
              <a:spcBef>
                <a:spcPct val="50000"/>
              </a:spcBef>
              <a:defRPr/>
            </a:pPr>
            <a:endParaRPr lang="sv-SE" sz="1125" b="1" dirty="0">
              <a:solidFill>
                <a:srgbClr val="FFFFFF"/>
              </a:solidFill>
              <a:latin typeface="Ericsson Hilda"/>
              <a:ea typeface="ＭＳ Ｐゴシック" pitchFamily="34" charset="-128"/>
            </a:endParaRPr>
          </a:p>
          <a:p>
            <a:pPr defTabSz="857250">
              <a:spcBef>
                <a:spcPct val="50000"/>
              </a:spcBef>
              <a:defRPr/>
            </a:pPr>
            <a:r>
              <a:rPr lang="sv-SE" sz="1600" b="1" dirty="0">
                <a:solidFill>
                  <a:srgbClr val="FFFFFF"/>
                </a:solidFill>
                <a:latin typeface="Ericsson Hilda"/>
                <a:ea typeface="ＭＳ Ｐゴシック" pitchFamily="34" charset="-128"/>
              </a:rPr>
              <a:t>ACR</a:t>
            </a:r>
            <a:r>
              <a:rPr lang="sv-SE" sz="1125" b="1" dirty="0">
                <a:solidFill>
                  <a:srgbClr val="FFFFFF"/>
                </a:solidFill>
                <a:latin typeface="Ericsson Hilda"/>
                <a:ea typeface="ＭＳ Ｐゴシック" pitchFamily="34" charset="-128"/>
              </a:rPr>
              <a:t/>
            </a:r>
            <a:br>
              <a:rPr lang="sv-SE" sz="1125" b="1" dirty="0">
                <a:solidFill>
                  <a:srgbClr val="FFFFFF"/>
                </a:solidFill>
                <a:latin typeface="Ericsson Hilda"/>
                <a:ea typeface="ＭＳ Ｐゴシック" pitchFamily="34" charset="-128"/>
              </a:rPr>
            </a:br>
            <a:endParaRPr lang="sv-SE" sz="1125" b="1" dirty="0">
              <a:solidFill>
                <a:srgbClr val="FFFFFF"/>
              </a:solidFill>
              <a:latin typeface="Ericsson Hilda"/>
              <a:ea typeface="ＭＳ Ｐゴシック" pitchFamily="34" charset="-128"/>
            </a:endParaRPr>
          </a:p>
        </p:txBody>
      </p:sp>
      <p:sp>
        <p:nvSpPr>
          <p:cNvPr id="46" name="TextBox 45">
            <a:extLst>
              <a:ext uri="{FF2B5EF4-FFF2-40B4-BE49-F238E27FC236}">
                <a16:creationId xmlns:a16="http://schemas.microsoft.com/office/drawing/2014/main" id="{DA32DBD0-960A-48C4-B892-28D8919673B6}"/>
              </a:ext>
            </a:extLst>
          </p:cNvPr>
          <p:cNvSpPr txBox="1"/>
          <p:nvPr/>
        </p:nvSpPr>
        <p:spPr bwMode="auto">
          <a:xfrm>
            <a:off x="8672514" y="2579689"/>
            <a:ext cx="2319337" cy="236537"/>
          </a:xfrm>
          <a:prstGeom prst="rect">
            <a:avLst/>
          </a:prstGeom>
          <a:noFill/>
          <a:ln w="9525">
            <a:noFill/>
            <a:miter lim="800000"/>
            <a:headEnd/>
            <a:tailEnd/>
          </a:ln>
        </p:spPr>
        <p:txBody>
          <a:bodyPr lIns="67500" tIns="33750" rIns="0" bIns="0">
            <a:spAutoFit/>
          </a:bodyPr>
          <a:lstStyle/>
          <a:p>
            <a:pPr defTabSz="857250" fontAlgn="base">
              <a:spcBef>
                <a:spcPct val="50000"/>
              </a:spcBef>
              <a:spcAft>
                <a:spcPct val="0"/>
              </a:spcAft>
              <a:buClr>
                <a:srgbClr val="181818"/>
              </a:buClr>
              <a:defRPr/>
            </a:pPr>
            <a:r>
              <a:rPr lang="en-ZA" sz="1313" dirty="0">
                <a:solidFill>
                  <a:srgbClr val="181818"/>
                </a:solidFill>
                <a:latin typeface="Arial" charset="0"/>
              </a:rPr>
              <a:t>PFM Role for tagging ZAOS </a:t>
            </a:r>
          </a:p>
        </p:txBody>
      </p:sp>
      <p:cxnSp>
        <p:nvCxnSpPr>
          <p:cNvPr id="76" name="Elbow Connector 78">
            <a:extLst>
              <a:ext uri="{FF2B5EF4-FFF2-40B4-BE49-F238E27FC236}">
                <a16:creationId xmlns:a16="http://schemas.microsoft.com/office/drawing/2014/main" id="{F786113A-5638-4F3F-92E3-D93766BC3782}"/>
              </a:ext>
            </a:extLst>
          </p:cNvPr>
          <p:cNvCxnSpPr>
            <a:cxnSpLocks noChangeShapeType="1"/>
            <a:stCxn id="60" idx="0"/>
            <a:endCxn id="55323" idx="1"/>
          </p:cNvCxnSpPr>
          <p:nvPr/>
        </p:nvCxnSpPr>
        <p:spPr bwMode="auto">
          <a:xfrm rot="5400000" flipH="1" flipV="1">
            <a:off x="7021513" y="2465388"/>
            <a:ext cx="2406650" cy="327025"/>
          </a:xfrm>
          <a:prstGeom prst="bentConnector2">
            <a:avLst/>
          </a:prstGeom>
          <a:noFill/>
          <a:ln w="19050" algn="ctr">
            <a:solidFill>
              <a:schemeClr val="accent4"/>
            </a:solidFill>
            <a:round/>
            <a:headEnd/>
            <a:tailEnd type="arrow" w="med" len="med"/>
          </a:ln>
          <a:extLst>
            <a:ext uri="{909E8E84-426E-40DD-AFC4-6F175D3DCCD1}">
              <a14:hiddenFill xmlns:a14="http://schemas.microsoft.com/office/drawing/2010/main">
                <a:noFill/>
              </a14:hiddenFill>
            </a:ext>
          </a:extLst>
        </p:spPr>
      </p:cxnSp>
      <p:sp>
        <p:nvSpPr>
          <p:cNvPr id="86" name="TextBox 44">
            <a:extLst>
              <a:ext uri="{FF2B5EF4-FFF2-40B4-BE49-F238E27FC236}">
                <a16:creationId xmlns:a16="http://schemas.microsoft.com/office/drawing/2014/main" id="{D3888168-733F-409A-A00C-D98810C43D1B}"/>
              </a:ext>
            </a:extLst>
          </p:cNvPr>
          <p:cNvSpPr txBox="1">
            <a:spLocks noChangeArrowheads="1"/>
          </p:cNvSpPr>
          <p:nvPr/>
        </p:nvSpPr>
        <p:spPr bwMode="auto">
          <a:xfrm>
            <a:off x="4002089" y="2103438"/>
            <a:ext cx="280987" cy="265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b="1" dirty="0">
                <a:solidFill>
                  <a:srgbClr val="053971"/>
                </a:solidFill>
              </a:rPr>
              <a:t>Y</a:t>
            </a:r>
          </a:p>
        </p:txBody>
      </p:sp>
      <p:sp>
        <p:nvSpPr>
          <p:cNvPr id="87" name="Flowchart: Decision 69">
            <a:extLst>
              <a:ext uri="{FF2B5EF4-FFF2-40B4-BE49-F238E27FC236}">
                <a16:creationId xmlns:a16="http://schemas.microsoft.com/office/drawing/2014/main" id="{42704A27-825A-4502-96E4-9986C646E4A5}"/>
              </a:ext>
            </a:extLst>
          </p:cNvPr>
          <p:cNvSpPr>
            <a:spLocks noChangeArrowheads="1"/>
          </p:cNvSpPr>
          <p:nvPr/>
        </p:nvSpPr>
        <p:spPr bwMode="auto">
          <a:xfrm>
            <a:off x="5202239" y="787401"/>
            <a:ext cx="846137" cy="790575"/>
          </a:xfrm>
          <a:prstGeom prst="flowChartDecision">
            <a:avLst/>
          </a:prstGeom>
          <a:solidFill>
            <a:schemeClr val="tx1">
              <a:lumMod val="90000"/>
              <a:lumOff val="10000"/>
            </a:schemeClr>
          </a:solidFill>
          <a:ln>
            <a:solidFill>
              <a:schemeClr val="tx1"/>
            </a:solidFill>
          </a:ln>
          <a:extLst/>
        </p:spPr>
        <p:txBody>
          <a:bodyPr wrap="none" lIns="67500" rIns="67500" anchor="ctr"/>
          <a:lstStyle/>
          <a:p>
            <a:pPr algn="ctr" defTabSz="857250">
              <a:lnSpc>
                <a:spcPts val="1125"/>
              </a:lnSpc>
              <a:defRPr/>
            </a:pPr>
            <a:r>
              <a:rPr lang="en-US" sz="1125" dirty="0">
                <a:solidFill>
                  <a:srgbClr val="FFFFFF"/>
                </a:solidFill>
                <a:latin typeface="Ericsson Hilda"/>
              </a:rPr>
              <a:t>Reject</a:t>
            </a:r>
            <a:endParaRPr lang="en-US" sz="1688" dirty="0">
              <a:solidFill>
                <a:srgbClr val="FFFFFF"/>
              </a:solidFill>
              <a:latin typeface="Ericsson Hilda"/>
            </a:endParaRPr>
          </a:p>
        </p:txBody>
      </p:sp>
      <p:cxnSp>
        <p:nvCxnSpPr>
          <p:cNvPr id="55337" name="Elbow Connector 7">
            <a:extLst>
              <a:ext uri="{FF2B5EF4-FFF2-40B4-BE49-F238E27FC236}">
                <a16:creationId xmlns:a16="http://schemas.microsoft.com/office/drawing/2014/main" id="{C407F796-F4F2-4A47-8747-C9F473E79C15}"/>
              </a:ext>
            </a:extLst>
          </p:cNvPr>
          <p:cNvCxnSpPr>
            <a:cxnSpLocks noChangeShapeType="1"/>
          </p:cNvCxnSpPr>
          <p:nvPr/>
        </p:nvCxnSpPr>
        <p:spPr bwMode="auto">
          <a:xfrm flipV="1">
            <a:off x="4264025" y="1211263"/>
            <a:ext cx="927100" cy="614362"/>
          </a:xfrm>
          <a:prstGeom prst="bentConnector3">
            <a:avLst>
              <a:gd name="adj1" fmla="val 50000"/>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91" name="TextBox 44">
            <a:extLst>
              <a:ext uri="{FF2B5EF4-FFF2-40B4-BE49-F238E27FC236}">
                <a16:creationId xmlns:a16="http://schemas.microsoft.com/office/drawing/2014/main" id="{D9565B3E-CCBF-446D-A800-9388BA655A37}"/>
              </a:ext>
            </a:extLst>
          </p:cNvPr>
          <p:cNvSpPr txBox="1">
            <a:spLocks noChangeArrowheads="1"/>
          </p:cNvSpPr>
          <p:nvPr/>
        </p:nvSpPr>
        <p:spPr bwMode="auto">
          <a:xfrm>
            <a:off x="4448207" y="1419226"/>
            <a:ext cx="288862" cy="265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b="1" dirty="0">
                <a:solidFill>
                  <a:srgbClr val="181818"/>
                </a:solidFill>
              </a:rPr>
              <a:t>N</a:t>
            </a:r>
          </a:p>
        </p:txBody>
      </p:sp>
      <p:sp>
        <p:nvSpPr>
          <p:cNvPr id="97" name="TextBox 44">
            <a:extLst>
              <a:ext uri="{FF2B5EF4-FFF2-40B4-BE49-F238E27FC236}">
                <a16:creationId xmlns:a16="http://schemas.microsoft.com/office/drawing/2014/main" id="{2F0F759A-E1BD-4094-96B8-FF84E2E4FA82}"/>
              </a:ext>
            </a:extLst>
          </p:cNvPr>
          <p:cNvSpPr txBox="1">
            <a:spLocks noChangeArrowheads="1"/>
          </p:cNvSpPr>
          <p:nvPr/>
        </p:nvSpPr>
        <p:spPr bwMode="auto">
          <a:xfrm>
            <a:off x="4086226" y="3352801"/>
            <a:ext cx="288925"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b="1" dirty="0">
                <a:solidFill>
                  <a:srgbClr val="181818"/>
                </a:solidFill>
              </a:rPr>
              <a:t>N</a:t>
            </a:r>
          </a:p>
        </p:txBody>
      </p:sp>
      <p:sp>
        <p:nvSpPr>
          <p:cNvPr id="65" name="Freeform 8">
            <a:extLst>
              <a:ext uri="{FF2B5EF4-FFF2-40B4-BE49-F238E27FC236}">
                <a16:creationId xmlns:a16="http://schemas.microsoft.com/office/drawing/2014/main" id="{E42A92D6-42A0-43CE-AA45-1EABF11BF96F}"/>
              </a:ext>
            </a:extLst>
          </p:cNvPr>
          <p:cNvSpPr>
            <a:spLocks noChangeAspect="1"/>
          </p:cNvSpPr>
          <p:nvPr/>
        </p:nvSpPr>
        <p:spPr bwMode="auto">
          <a:xfrm>
            <a:off x="4243388" y="2281238"/>
            <a:ext cx="1116012" cy="679450"/>
          </a:xfrm>
          <a:custGeom>
            <a:avLst/>
            <a:gdLst>
              <a:gd name="T0" fmla="*/ 2147483647 w 536"/>
              <a:gd name="T1" fmla="*/ 2147483647 h 211"/>
              <a:gd name="T2" fmla="*/ 2147483647 w 536"/>
              <a:gd name="T3" fmla="*/ 2147483647 h 211"/>
              <a:gd name="T4" fmla="*/ 2147483647 w 536"/>
              <a:gd name="T5" fmla="*/ 2147483647 h 211"/>
              <a:gd name="T6" fmla="*/ 2147483647 w 536"/>
              <a:gd name="T7" fmla="*/ 2147483647 h 211"/>
              <a:gd name="T8" fmla="*/ 2147483647 w 536"/>
              <a:gd name="T9" fmla="*/ 2147483647 h 211"/>
              <a:gd name="T10" fmla="*/ 2147483647 w 536"/>
              <a:gd name="T11" fmla="*/ 2147483647 h 211"/>
              <a:gd name="T12" fmla="*/ 0 w 536"/>
              <a:gd name="T13" fmla="*/ 2147483647 h 211"/>
              <a:gd name="T14" fmla="*/ 0 w 536"/>
              <a:gd name="T15" fmla="*/ 2147483647 h 211"/>
              <a:gd name="T16" fmla="*/ 2147483647 w 536"/>
              <a:gd name="T17" fmla="*/ 0 h 211"/>
              <a:gd name="T18" fmla="*/ 2147483647 w 536"/>
              <a:gd name="T19" fmla="*/ 0 h 211"/>
              <a:gd name="T20" fmla="*/ 2147483647 w 536"/>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6"/>
              <a:gd name="T34" fmla="*/ 0 h 211"/>
              <a:gd name="T35" fmla="*/ 536 w 536"/>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6" h="211">
                <a:moveTo>
                  <a:pt x="439" y="10"/>
                </a:moveTo>
                <a:cubicBezTo>
                  <a:pt x="524" y="95"/>
                  <a:pt x="524" y="95"/>
                  <a:pt x="524" y="95"/>
                </a:cubicBezTo>
                <a:cubicBezTo>
                  <a:pt x="524" y="95"/>
                  <a:pt x="536" y="105"/>
                  <a:pt x="524" y="116"/>
                </a:cubicBezTo>
                <a:cubicBezTo>
                  <a:pt x="512" y="128"/>
                  <a:pt x="439" y="201"/>
                  <a:pt x="439" y="201"/>
                </a:cubicBezTo>
                <a:cubicBezTo>
                  <a:pt x="439" y="201"/>
                  <a:pt x="428" y="211"/>
                  <a:pt x="413" y="211"/>
                </a:cubicBezTo>
                <a:cubicBezTo>
                  <a:pt x="407" y="211"/>
                  <a:pt x="21" y="211"/>
                  <a:pt x="21" y="211"/>
                </a:cubicBezTo>
                <a:cubicBezTo>
                  <a:pt x="9" y="211"/>
                  <a:pt x="0" y="202"/>
                  <a:pt x="0" y="190"/>
                </a:cubicBezTo>
                <a:cubicBezTo>
                  <a:pt x="0" y="21"/>
                  <a:pt x="0" y="21"/>
                  <a:pt x="0" y="21"/>
                </a:cubicBezTo>
                <a:cubicBezTo>
                  <a:pt x="0" y="9"/>
                  <a:pt x="9" y="0"/>
                  <a:pt x="21" y="0"/>
                </a:cubicBezTo>
                <a:cubicBezTo>
                  <a:pt x="21" y="0"/>
                  <a:pt x="406" y="0"/>
                  <a:pt x="413" y="0"/>
                </a:cubicBezTo>
                <a:cubicBezTo>
                  <a:pt x="430" y="0"/>
                  <a:pt x="439" y="10"/>
                  <a:pt x="439" y="10"/>
                </a:cubicBezTo>
                <a:close/>
              </a:path>
            </a:pathLst>
          </a:custGeom>
          <a:solidFill>
            <a:schemeClr val="accent4"/>
          </a:solidFill>
          <a:ln>
            <a:solidFill>
              <a:schemeClr val="bg2"/>
            </a:solidFill>
          </a:ln>
          <a:extLst/>
        </p:spPr>
        <p:txBody>
          <a:bodyPr anchor="ctr"/>
          <a:lstStyle/>
          <a:p>
            <a:pPr defTabSz="857250">
              <a:spcBef>
                <a:spcPct val="50000"/>
              </a:spcBef>
              <a:defRPr/>
            </a:pPr>
            <a:r>
              <a:rPr lang="sv-SE" sz="1050" b="1" dirty="0">
                <a:solidFill>
                  <a:srgbClr val="FFFFFF"/>
                </a:solidFill>
                <a:latin typeface="Ericsson Hilda"/>
                <a:ea typeface="ＭＳ Ｐゴシック" pitchFamily="34" charset="-128"/>
              </a:rPr>
              <a:t>CPM  to create in GC as a CR</a:t>
            </a:r>
          </a:p>
        </p:txBody>
      </p:sp>
      <p:cxnSp>
        <p:nvCxnSpPr>
          <p:cNvPr id="9" name="Connector: Elbow 8">
            <a:extLst>
              <a:ext uri="{FF2B5EF4-FFF2-40B4-BE49-F238E27FC236}">
                <a16:creationId xmlns:a16="http://schemas.microsoft.com/office/drawing/2014/main" id="{CDFBBCA0-E658-42AC-A54C-818C5655017B}"/>
              </a:ext>
            </a:extLst>
          </p:cNvPr>
          <p:cNvCxnSpPr>
            <a:cxnSpLocks/>
            <a:stCxn id="24" idx="0"/>
          </p:cNvCxnSpPr>
          <p:nvPr/>
        </p:nvCxnSpPr>
        <p:spPr bwMode="auto">
          <a:xfrm rot="5400000" flipH="1" flipV="1">
            <a:off x="2411413" y="1893888"/>
            <a:ext cx="887412" cy="563562"/>
          </a:xfrm>
          <a:prstGeom prst="bentConnector3">
            <a:avLst>
              <a:gd name="adj1" fmla="val 50000"/>
            </a:avLst>
          </a:prstGeom>
          <a:ln>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2" name="Connector: Elbow 21">
            <a:extLst>
              <a:ext uri="{FF2B5EF4-FFF2-40B4-BE49-F238E27FC236}">
                <a16:creationId xmlns:a16="http://schemas.microsoft.com/office/drawing/2014/main" id="{C63902A5-5573-49AA-812F-D50A444A44EB}"/>
              </a:ext>
            </a:extLst>
          </p:cNvPr>
          <p:cNvCxnSpPr>
            <a:endCxn id="19" idx="0"/>
          </p:cNvCxnSpPr>
          <p:nvPr/>
        </p:nvCxnSpPr>
        <p:spPr bwMode="auto">
          <a:xfrm rot="5400000">
            <a:off x="4531519" y="3229769"/>
            <a:ext cx="614362" cy="76200"/>
          </a:xfrm>
          <a:prstGeom prst="bentConnector3">
            <a:avLst/>
          </a:prstGeom>
          <a:ln>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77" name="TextBox 44">
            <a:extLst>
              <a:ext uri="{FF2B5EF4-FFF2-40B4-BE49-F238E27FC236}">
                <a16:creationId xmlns:a16="http://schemas.microsoft.com/office/drawing/2014/main" id="{035AFB3A-5E8D-490E-B70A-CACF34F6AF29}"/>
              </a:ext>
            </a:extLst>
          </p:cNvPr>
          <p:cNvSpPr txBox="1">
            <a:spLocks noChangeArrowheads="1"/>
          </p:cNvSpPr>
          <p:nvPr/>
        </p:nvSpPr>
        <p:spPr bwMode="auto">
          <a:xfrm>
            <a:off x="4659314" y="3030538"/>
            <a:ext cx="280987" cy="265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b="1" dirty="0">
                <a:solidFill>
                  <a:srgbClr val="053971"/>
                </a:solidFill>
              </a:rPr>
              <a:t>Y</a:t>
            </a:r>
          </a:p>
        </p:txBody>
      </p:sp>
      <p:cxnSp>
        <p:nvCxnSpPr>
          <p:cNvPr id="55344" name="Connector: Elbow 55333">
            <a:extLst>
              <a:ext uri="{FF2B5EF4-FFF2-40B4-BE49-F238E27FC236}">
                <a16:creationId xmlns:a16="http://schemas.microsoft.com/office/drawing/2014/main" id="{CD3DE721-24F1-47A3-B313-BE778BF5FBCD}"/>
              </a:ext>
            </a:extLst>
          </p:cNvPr>
          <p:cNvCxnSpPr>
            <a:cxnSpLocks/>
          </p:cNvCxnSpPr>
          <p:nvPr/>
        </p:nvCxnSpPr>
        <p:spPr bwMode="auto">
          <a:xfrm rot="5400000" flipH="1" flipV="1">
            <a:off x="7072313" y="2446338"/>
            <a:ext cx="2408238" cy="328613"/>
          </a:xfrm>
          <a:prstGeom prst="bentConnector2">
            <a:avLst/>
          </a:prstGeom>
          <a:noFill/>
          <a:ln w="19050" algn="ctr">
            <a:solidFill>
              <a:srgbClr val="92D050"/>
            </a:solidFill>
            <a:round/>
            <a:headEnd/>
            <a:tailEnd type="triangle" w="med" len="med"/>
          </a:ln>
          <a:extLst>
            <a:ext uri="{909E8E84-426E-40DD-AFC4-6F175D3DCCD1}">
              <a14:hiddenFill xmlns:a14="http://schemas.microsoft.com/office/drawing/2010/main">
                <a:noFill/>
              </a14:hiddenFill>
            </a:ext>
          </a:extLst>
        </p:spPr>
      </p:cxnSp>
      <p:cxnSp>
        <p:nvCxnSpPr>
          <p:cNvPr id="2" name="Straight Arrow Connector 55335">
            <a:extLst>
              <a:ext uri="{FF2B5EF4-FFF2-40B4-BE49-F238E27FC236}">
                <a16:creationId xmlns:a16="http://schemas.microsoft.com/office/drawing/2014/main" id="{7C79A51B-335C-40CD-92A8-8D6C6E9265F9}"/>
              </a:ext>
            </a:extLst>
          </p:cNvPr>
          <p:cNvCxnSpPr>
            <a:cxnSpLocks/>
          </p:cNvCxnSpPr>
          <p:nvPr/>
        </p:nvCxnSpPr>
        <p:spPr bwMode="auto">
          <a:xfrm flipV="1">
            <a:off x="8112126" y="4441825"/>
            <a:ext cx="4763" cy="858838"/>
          </a:xfrm>
          <a:prstGeom prst="straightConnector1">
            <a:avLst/>
          </a:prstGeom>
          <a:ln>
            <a:solidFill>
              <a:srgbClr val="92D050"/>
            </a:solidFill>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55339" name="Straight Arrow Connector 55338">
            <a:extLst>
              <a:ext uri="{FF2B5EF4-FFF2-40B4-BE49-F238E27FC236}">
                <a16:creationId xmlns:a16="http://schemas.microsoft.com/office/drawing/2014/main" id="{75EF6FD1-9C81-4498-8BE7-64EF8FD1252F}"/>
              </a:ext>
            </a:extLst>
          </p:cNvPr>
          <p:cNvCxnSpPr>
            <a:cxnSpLocks/>
          </p:cNvCxnSpPr>
          <p:nvPr/>
        </p:nvCxnSpPr>
        <p:spPr bwMode="auto">
          <a:xfrm>
            <a:off x="4838700" y="4313238"/>
            <a:ext cx="38100" cy="1193800"/>
          </a:xfrm>
          <a:prstGeom prst="straightConnector1">
            <a:avLst/>
          </a:prstGeom>
          <a:ln>
            <a:headEnd type="none" w="med" len="med"/>
            <a:tailEnd type="triangle"/>
          </a:ln>
        </p:spPr>
        <p:style>
          <a:lnRef idx="1">
            <a:schemeClr val="accent4"/>
          </a:lnRef>
          <a:fillRef idx="0">
            <a:schemeClr val="accent4"/>
          </a:fillRef>
          <a:effectRef idx="0">
            <a:schemeClr val="accent4"/>
          </a:effectRef>
          <a:fontRef idx="minor">
            <a:schemeClr val="tx1"/>
          </a:fontRef>
        </p:style>
      </p:cxnSp>
      <p:graphicFrame>
        <p:nvGraphicFramePr>
          <p:cNvPr id="110" name="Diagram 109">
            <a:extLst>
              <a:ext uri="{FF2B5EF4-FFF2-40B4-BE49-F238E27FC236}">
                <a16:creationId xmlns:a16="http://schemas.microsoft.com/office/drawing/2014/main" id="{42F7F612-09E7-45E8-92CF-CF7B73AF90BD}"/>
              </a:ext>
            </a:extLst>
          </p:cNvPr>
          <p:cNvGraphicFramePr/>
          <p:nvPr/>
        </p:nvGraphicFramePr>
        <p:xfrm>
          <a:off x="1614190" y="3848530"/>
          <a:ext cx="1118566" cy="5344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4" name="Diagram 113">
            <a:extLst>
              <a:ext uri="{FF2B5EF4-FFF2-40B4-BE49-F238E27FC236}">
                <a16:creationId xmlns:a16="http://schemas.microsoft.com/office/drawing/2014/main" id="{435BAB75-CD05-4491-B13B-8079022441FC}"/>
              </a:ext>
            </a:extLst>
          </p:cNvPr>
          <p:cNvGraphicFramePr/>
          <p:nvPr/>
        </p:nvGraphicFramePr>
        <p:xfrm>
          <a:off x="7259004" y="2894113"/>
          <a:ext cx="3403001" cy="4884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5" name="Diagram 114">
            <a:extLst>
              <a:ext uri="{FF2B5EF4-FFF2-40B4-BE49-F238E27FC236}">
                <a16:creationId xmlns:a16="http://schemas.microsoft.com/office/drawing/2014/main" id="{C015D6CD-8745-4543-A205-F1E979791DD0}"/>
              </a:ext>
            </a:extLst>
          </p:cNvPr>
          <p:cNvGraphicFramePr/>
          <p:nvPr/>
        </p:nvGraphicFramePr>
        <p:xfrm>
          <a:off x="3119774" y="4657792"/>
          <a:ext cx="1213466" cy="571409"/>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nvGrpSpPr>
          <p:cNvPr id="55350" name="Group 115">
            <a:extLst>
              <a:ext uri="{FF2B5EF4-FFF2-40B4-BE49-F238E27FC236}">
                <a16:creationId xmlns:a16="http://schemas.microsoft.com/office/drawing/2014/main" id="{084CF019-46DF-4E53-A714-404B9EF2ED8C}"/>
              </a:ext>
            </a:extLst>
          </p:cNvPr>
          <p:cNvGrpSpPr>
            <a:grpSpLocks/>
          </p:cNvGrpSpPr>
          <p:nvPr/>
        </p:nvGrpSpPr>
        <p:grpSpPr bwMode="auto">
          <a:xfrm>
            <a:off x="6173788" y="4857750"/>
            <a:ext cx="1098550" cy="414338"/>
            <a:chOff x="536" y="0"/>
            <a:chExt cx="1098127" cy="413514"/>
          </a:xfrm>
        </p:grpSpPr>
        <p:sp>
          <p:nvSpPr>
            <p:cNvPr id="117" name="Arrow: Chevron 116">
              <a:extLst>
                <a:ext uri="{FF2B5EF4-FFF2-40B4-BE49-F238E27FC236}">
                  <a16:creationId xmlns:a16="http://schemas.microsoft.com/office/drawing/2014/main" id="{A9212F88-6167-44E6-875A-8297A4BFCE5F}"/>
                </a:ext>
              </a:extLst>
            </p:cNvPr>
            <p:cNvSpPr/>
            <p:nvPr/>
          </p:nvSpPr>
          <p:spPr>
            <a:xfrm>
              <a:off x="536" y="0"/>
              <a:ext cx="1098127" cy="413514"/>
            </a:xfrm>
            <a:prstGeom prst="chevron">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8" name="Arrow: Chevron 4">
              <a:extLst>
                <a:ext uri="{FF2B5EF4-FFF2-40B4-BE49-F238E27FC236}">
                  <a16:creationId xmlns:a16="http://schemas.microsoft.com/office/drawing/2014/main" id="{825E6CA3-7B1A-430E-A91C-79926D2764B8}"/>
                </a:ext>
              </a:extLst>
            </p:cNvPr>
            <p:cNvSpPr txBox="1"/>
            <p:nvPr/>
          </p:nvSpPr>
          <p:spPr>
            <a:xfrm>
              <a:off x="206832" y="0"/>
              <a:ext cx="685536" cy="413514"/>
            </a:xfrm>
            <a:prstGeom prst="rect">
              <a:avLst/>
            </a:prstGeom>
          </p:spPr>
          <p:style>
            <a:lnRef idx="0">
              <a:scrgbClr r="0" g="0" b="0"/>
            </a:lnRef>
            <a:fillRef idx="0">
              <a:scrgbClr r="0" g="0" b="0"/>
            </a:fillRef>
            <a:effectRef idx="0">
              <a:scrgbClr r="0" g="0" b="0"/>
            </a:effectRef>
            <a:fontRef idx="minor">
              <a:schemeClr val="lt1"/>
            </a:fontRef>
          </p:style>
          <p:txBody>
            <a:bodyPr lIns="44006" tIns="14669" rIns="14669" bIns="14669" spcCol="1270" anchor="ctr"/>
            <a:lstStyle/>
            <a:p>
              <a:pPr eaLnBrk="0" fontAlgn="base" hangingPunct="0">
                <a:spcBef>
                  <a:spcPct val="0"/>
                </a:spcBef>
                <a:spcAft>
                  <a:spcPct val="0"/>
                </a:spcAft>
                <a:defRPr/>
              </a:pPr>
              <a:r>
                <a:rPr lang="sv-SE" sz="1050" dirty="0">
                  <a:solidFill>
                    <a:srgbClr val="FFFFFF"/>
                  </a:solidFill>
                  <a:latin typeface="Ericsson Hilda"/>
                </a:rPr>
                <a:t>B - Accepted</a:t>
              </a:r>
            </a:p>
          </p:txBody>
        </p:sp>
      </p:grpSp>
      <p:grpSp>
        <p:nvGrpSpPr>
          <p:cNvPr id="120" name="Group 119">
            <a:extLst>
              <a:ext uri="{FF2B5EF4-FFF2-40B4-BE49-F238E27FC236}">
                <a16:creationId xmlns:a16="http://schemas.microsoft.com/office/drawing/2014/main" id="{8F2DD310-4EE2-411E-A1F9-93136040F704}"/>
              </a:ext>
            </a:extLst>
          </p:cNvPr>
          <p:cNvGrpSpPr/>
          <p:nvPr/>
        </p:nvGrpSpPr>
        <p:grpSpPr>
          <a:xfrm>
            <a:off x="3112904" y="2266859"/>
            <a:ext cx="1098127" cy="413514"/>
            <a:chOff x="536" y="0"/>
            <a:chExt cx="1098127" cy="413514"/>
          </a:xfrm>
          <a:solidFill>
            <a:schemeClr val="accent4"/>
          </a:solidFill>
        </p:grpSpPr>
        <p:sp>
          <p:nvSpPr>
            <p:cNvPr id="121" name="Arrow: Chevron 120">
              <a:extLst>
                <a:ext uri="{FF2B5EF4-FFF2-40B4-BE49-F238E27FC236}">
                  <a16:creationId xmlns:a16="http://schemas.microsoft.com/office/drawing/2014/main" id="{9076A651-ED8D-45DB-AF30-766D692487A2}"/>
                </a:ext>
              </a:extLst>
            </p:cNvPr>
            <p:cNvSpPr/>
            <p:nvPr/>
          </p:nvSpPr>
          <p:spPr>
            <a:xfrm>
              <a:off x="536" y="0"/>
              <a:ext cx="1098127" cy="413514"/>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2" name="Arrow: Chevron 4">
              <a:extLst>
                <a:ext uri="{FF2B5EF4-FFF2-40B4-BE49-F238E27FC236}">
                  <a16:creationId xmlns:a16="http://schemas.microsoft.com/office/drawing/2014/main" id="{EAABF9E5-08DF-4B06-B15A-CAF0BDF82284}"/>
                </a:ext>
              </a:extLst>
            </p:cNvPr>
            <p:cNvSpPr txBox="1"/>
            <p:nvPr/>
          </p:nvSpPr>
          <p:spPr>
            <a:xfrm>
              <a:off x="207294" y="74053"/>
              <a:ext cx="606114" cy="317358"/>
            </a:xfrm>
            <a:prstGeom prst="rect">
              <a:avLst/>
            </a:prstGeom>
            <a:grpFill/>
          </p:spPr>
          <p:style>
            <a:lnRef idx="0">
              <a:scrgbClr r="0" g="0" b="0"/>
            </a:lnRef>
            <a:fillRef idx="0">
              <a:scrgbClr r="0" g="0" b="0"/>
            </a:fillRef>
            <a:effectRef idx="0">
              <a:scrgbClr r="0" g="0" b="0"/>
            </a:effectRef>
            <a:fontRef idx="minor">
              <a:schemeClr val="lt1"/>
            </a:fontRef>
          </p:style>
          <p:txBody>
            <a:bodyPr lIns="44006" tIns="14669" rIns="14669" bIns="14669" spcCol="1270" anchor="ctr"/>
            <a:lstStyle/>
            <a:p>
              <a:pPr algn="ctr" eaLnBrk="0" fontAlgn="base" hangingPunct="0">
                <a:spcBef>
                  <a:spcPct val="0"/>
                </a:spcBef>
                <a:spcAft>
                  <a:spcPct val="0"/>
                </a:spcAft>
                <a:defRPr/>
              </a:pPr>
              <a:r>
                <a:rPr lang="sv-SE" sz="1050" dirty="0">
                  <a:solidFill>
                    <a:srgbClr val="FFFFFF"/>
                  </a:solidFill>
                  <a:latin typeface="Ericsson Hilda"/>
                </a:rPr>
                <a:t>B - Accepted</a:t>
              </a:r>
            </a:p>
          </p:txBody>
        </p:sp>
      </p:grpSp>
      <p:grpSp>
        <p:nvGrpSpPr>
          <p:cNvPr id="128" name="Group 127">
            <a:extLst>
              <a:ext uri="{FF2B5EF4-FFF2-40B4-BE49-F238E27FC236}">
                <a16:creationId xmlns:a16="http://schemas.microsoft.com/office/drawing/2014/main" id="{F24F9446-E7CF-44DA-BBD1-E1249B3A9CE4}"/>
              </a:ext>
            </a:extLst>
          </p:cNvPr>
          <p:cNvGrpSpPr/>
          <p:nvPr/>
        </p:nvGrpSpPr>
        <p:grpSpPr>
          <a:xfrm>
            <a:off x="1414482" y="2167093"/>
            <a:ext cx="1113721" cy="425232"/>
            <a:chOff x="536" y="0"/>
            <a:chExt cx="1098127" cy="413514"/>
          </a:xfrm>
          <a:solidFill>
            <a:schemeClr val="accent4"/>
          </a:solidFill>
        </p:grpSpPr>
        <p:sp>
          <p:nvSpPr>
            <p:cNvPr id="129" name="Arrow: Chevron 128">
              <a:extLst>
                <a:ext uri="{FF2B5EF4-FFF2-40B4-BE49-F238E27FC236}">
                  <a16:creationId xmlns:a16="http://schemas.microsoft.com/office/drawing/2014/main" id="{D54B74D5-335D-4FBC-BCF8-18BEDE321944}"/>
                </a:ext>
              </a:extLst>
            </p:cNvPr>
            <p:cNvSpPr/>
            <p:nvPr/>
          </p:nvSpPr>
          <p:spPr>
            <a:xfrm>
              <a:off x="536" y="0"/>
              <a:ext cx="1098127" cy="413514"/>
            </a:xfrm>
            <a:prstGeom prst="chevron">
              <a:avLst/>
            </a:prstGeom>
            <a:grpFill/>
            <a:ln>
              <a:solidFill>
                <a:schemeClr val="accent4"/>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0" name="Arrow: Chevron 4">
              <a:extLst>
                <a:ext uri="{FF2B5EF4-FFF2-40B4-BE49-F238E27FC236}">
                  <a16:creationId xmlns:a16="http://schemas.microsoft.com/office/drawing/2014/main" id="{D2A6A474-91B9-427D-82C4-DD8CAED52F9C}"/>
                </a:ext>
              </a:extLst>
            </p:cNvPr>
            <p:cNvSpPr txBox="1"/>
            <p:nvPr/>
          </p:nvSpPr>
          <p:spPr>
            <a:xfrm>
              <a:off x="207293" y="0"/>
              <a:ext cx="684613" cy="413514"/>
            </a:xfrm>
            <a:prstGeom prst="rect">
              <a:avLst/>
            </a:prstGeom>
            <a:grpFill/>
            <a:ln>
              <a:solidFill>
                <a:schemeClr val="accent4"/>
              </a:solidFill>
            </a:ln>
          </p:spPr>
          <p:style>
            <a:lnRef idx="0">
              <a:scrgbClr r="0" g="0" b="0"/>
            </a:lnRef>
            <a:fillRef idx="0">
              <a:scrgbClr r="0" g="0" b="0"/>
            </a:fillRef>
            <a:effectRef idx="0">
              <a:scrgbClr r="0" g="0" b="0"/>
            </a:effectRef>
            <a:fontRef idx="minor">
              <a:schemeClr val="lt1"/>
            </a:fontRef>
          </p:style>
          <p:txBody>
            <a:bodyPr lIns="44006" tIns="14669" rIns="14669" bIns="14669" spcCol="1270" anchor="ctr"/>
            <a:lstStyle/>
            <a:p>
              <a:pPr algn="ctr" defTabSz="466725" eaLnBrk="0" fontAlgn="base" hangingPunct="0">
                <a:lnSpc>
                  <a:spcPct val="90000"/>
                </a:lnSpc>
                <a:spcBef>
                  <a:spcPct val="0"/>
                </a:spcBef>
                <a:spcAft>
                  <a:spcPct val="35000"/>
                </a:spcAft>
                <a:defRPr/>
              </a:pPr>
              <a:r>
                <a:rPr lang="sv-SE" sz="1050" dirty="0">
                  <a:solidFill>
                    <a:srgbClr val="FFFFFF"/>
                  </a:solidFill>
                  <a:latin typeface="Ericsson Hilda"/>
                </a:rPr>
                <a:t>D - Recorded</a:t>
              </a:r>
            </a:p>
          </p:txBody>
        </p:sp>
      </p:grpSp>
      <p:cxnSp>
        <p:nvCxnSpPr>
          <p:cNvPr id="55353" name="Elbow Connector 7">
            <a:extLst>
              <a:ext uri="{FF2B5EF4-FFF2-40B4-BE49-F238E27FC236}">
                <a16:creationId xmlns:a16="http://schemas.microsoft.com/office/drawing/2014/main" id="{E6071757-D62B-4B37-916F-696E19F521E4}"/>
              </a:ext>
            </a:extLst>
          </p:cNvPr>
          <p:cNvCxnSpPr>
            <a:cxnSpLocks noChangeShapeType="1"/>
          </p:cNvCxnSpPr>
          <p:nvPr/>
        </p:nvCxnSpPr>
        <p:spPr bwMode="auto">
          <a:xfrm rot="10800000">
            <a:off x="5591176" y="3025776"/>
            <a:ext cx="2125663" cy="1103313"/>
          </a:xfrm>
          <a:prstGeom prst="bentConnector3">
            <a:avLst>
              <a:gd name="adj1" fmla="val 50000"/>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71" name="TextBox 44">
            <a:extLst>
              <a:ext uri="{FF2B5EF4-FFF2-40B4-BE49-F238E27FC236}">
                <a16:creationId xmlns:a16="http://schemas.microsoft.com/office/drawing/2014/main" id="{2F5D2216-C52D-493C-B010-8B535802C3A2}"/>
              </a:ext>
            </a:extLst>
          </p:cNvPr>
          <p:cNvSpPr txBox="1">
            <a:spLocks noChangeArrowheads="1"/>
          </p:cNvSpPr>
          <p:nvPr/>
        </p:nvSpPr>
        <p:spPr bwMode="auto">
          <a:xfrm>
            <a:off x="7407307" y="3836989"/>
            <a:ext cx="288862" cy="265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857250" eaLnBrk="1" hangingPunct="1">
              <a:spcBef>
                <a:spcPct val="50000"/>
              </a:spcBef>
              <a:defRPr/>
            </a:pPr>
            <a:r>
              <a:rPr lang="en-US" sz="1125" b="1" dirty="0">
                <a:solidFill>
                  <a:srgbClr val="181818"/>
                </a:solidFill>
              </a:rPr>
              <a:t>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EC1F47-E604-42E1-BABE-0F523AB72B1E}"/>
              </a:ext>
            </a:extLst>
          </p:cNvPr>
          <p:cNvSpPr>
            <a:spLocks noGrp="1"/>
          </p:cNvSpPr>
          <p:nvPr>
            <p:ph type="title"/>
          </p:nvPr>
        </p:nvSpPr>
        <p:spPr>
          <a:xfrm>
            <a:off x="1338960" y="1934523"/>
            <a:ext cx="8353425" cy="2975227"/>
          </a:xfrm>
        </p:spPr>
        <p:txBody>
          <a:bodyPr/>
          <a:lstStyle/>
          <a:p>
            <a:r>
              <a:rPr lang="en-US" sz="7200" dirty="0"/>
              <a:t>The </a:t>
            </a:r>
            <a:r>
              <a:rPr lang="en-US" sz="7200" dirty="0">
                <a:solidFill>
                  <a:schemeClr val="accent2"/>
                </a:solidFill>
              </a:rPr>
              <a:t>Global Chronos/Change request AoS </a:t>
            </a:r>
            <a:r>
              <a:rPr lang="en-US" sz="7200" dirty="0">
                <a:latin typeface="Hilda Light" panose="00000400000000000000" pitchFamily="2" charset="0"/>
                <a:cs typeface="Segoe UI Semilight" panose="020B0402040204020203" pitchFamily="34" charset="0"/>
              </a:rPr>
              <a:t>guide</a:t>
            </a:r>
            <a:endParaRPr lang="en-US" sz="7200" dirty="0"/>
          </a:p>
        </p:txBody>
      </p:sp>
      <p:grpSp>
        <p:nvGrpSpPr>
          <p:cNvPr id="3" name="Group 2">
            <a:extLst>
              <a:ext uri="{FF2B5EF4-FFF2-40B4-BE49-F238E27FC236}">
                <a16:creationId xmlns:a16="http://schemas.microsoft.com/office/drawing/2014/main" id="{A041397F-B289-4857-AF8C-591E2988843C}"/>
              </a:ext>
            </a:extLst>
          </p:cNvPr>
          <p:cNvGrpSpPr/>
          <p:nvPr/>
        </p:nvGrpSpPr>
        <p:grpSpPr>
          <a:xfrm>
            <a:off x="8126588" y="3335239"/>
            <a:ext cx="3587569" cy="3390230"/>
            <a:chOff x="4312234" y="2579259"/>
            <a:chExt cx="3587569" cy="3390230"/>
          </a:xfrm>
        </p:grpSpPr>
        <p:sp>
          <p:nvSpPr>
            <p:cNvPr id="5" name="Oval 4">
              <a:extLst>
                <a:ext uri="{FF2B5EF4-FFF2-40B4-BE49-F238E27FC236}">
                  <a16:creationId xmlns:a16="http://schemas.microsoft.com/office/drawing/2014/main" id="{6842ADD3-0096-4644-A672-A7E4C9CE5627}"/>
                </a:ext>
              </a:extLst>
            </p:cNvPr>
            <p:cNvSpPr/>
            <p:nvPr/>
          </p:nvSpPr>
          <p:spPr bwMode="auto">
            <a:xfrm>
              <a:off x="6001355" y="4125098"/>
              <a:ext cx="274320" cy="274320"/>
            </a:xfrm>
            <a:prstGeom prst="ellips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6" name="Straight Connector 5">
              <a:extLst>
                <a:ext uri="{FF2B5EF4-FFF2-40B4-BE49-F238E27FC236}">
                  <a16:creationId xmlns:a16="http://schemas.microsoft.com/office/drawing/2014/main" id="{6357DEC4-CB77-4D77-A09F-0C639F36CE39}"/>
                </a:ext>
              </a:extLst>
            </p:cNvPr>
            <p:cNvCxnSpPr/>
            <p:nvPr/>
          </p:nvCxnSpPr>
          <p:spPr bwMode="auto">
            <a:xfrm flipV="1">
              <a:off x="5782281" y="4381794"/>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7" name="Straight Connector 6">
              <a:extLst>
                <a:ext uri="{FF2B5EF4-FFF2-40B4-BE49-F238E27FC236}">
                  <a16:creationId xmlns:a16="http://schemas.microsoft.com/office/drawing/2014/main" id="{0156F1FC-B9D7-4E35-BE8F-B32F9429A649}"/>
                </a:ext>
              </a:extLst>
            </p:cNvPr>
            <p:cNvCxnSpPr/>
            <p:nvPr/>
          </p:nvCxnSpPr>
          <p:spPr bwMode="auto">
            <a:xfrm flipV="1">
              <a:off x="6344255" y="4065277"/>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8" name="Straight Connector 7">
              <a:extLst>
                <a:ext uri="{FF2B5EF4-FFF2-40B4-BE49-F238E27FC236}">
                  <a16:creationId xmlns:a16="http://schemas.microsoft.com/office/drawing/2014/main" id="{9FD7356D-3493-44E4-AE13-F526F3984228}"/>
                </a:ext>
              </a:extLst>
            </p:cNvPr>
            <p:cNvCxnSpPr/>
            <p:nvPr/>
          </p:nvCxnSpPr>
          <p:spPr bwMode="auto">
            <a:xfrm flipV="1">
              <a:off x="6138515" y="4484714"/>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9" name="Straight Connector 8">
              <a:extLst>
                <a:ext uri="{FF2B5EF4-FFF2-40B4-BE49-F238E27FC236}">
                  <a16:creationId xmlns:a16="http://schemas.microsoft.com/office/drawing/2014/main" id="{42DADAD8-248E-4A64-AFE2-6B38C388B4D7}"/>
                </a:ext>
              </a:extLst>
            </p:cNvPr>
            <p:cNvCxnSpPr/>
            <p:nvPr/>
          </p:nvCxnSpPr>
          <p:spPr bwMode="auto">
            <a:xfrm flipV="1">
              <a:off x="6138515" y="3875210"/>
              <a:ext cx="0" cy="16459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10" name="Straight Connector 9">
              <a:extLst>
                <a:ext uri="{FF2B5EF4-FFF2-40B4-BE49-F238E27FC236}">
                  <a16:creationId xmlns:a16="http://schemas.microsoft.com/office/drawing/2014/main" id="{5C81CFC2-CB7A-4F08-B88A-294B2B049744}"/>
                </a:ext>
              </a:extLst>
            </p:cNvPr>
            <p:cNvCxnSpPr/>
            <p:nvPr/>
          </p:nvCxnSpPr>
          <p:spPr bwMode="auto">
            <a:xfrm>
              <a:off x="5782281" y="4063189"/>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cxnSp>
          <p:nvCxnSpPr>
            <p:cNvPr id="11" name="Straight Connector 10">
              <a:extLst>
                <a:ext uri="{FF2B5EF4-FFF2-40B4-BE49-F238E27FC236}">
                  <a16:creationId xmlns:a16="http://schemas.microsoft.com/office/drawing/2014/main" id="{23A1B922-76EE-4D64-ACA4-FF5BFA81541B}"/>
                </a:ext>
              </a:extLst>
            </p:cNvPr>
            <p:cNvCxnSpPr/>
            <p:nvPr/>
          </p:nvCxnSpPr>
          <p:spPr bwMode="auto">
            <a:xfrm>
              <a:off x="6344255" y="4379706"/>
              <a:ext cx="153457" cy="73152"/>
            </a:xfrm>
            <a:prstGeom prst="line">
              <a:avLst/>
            </a:prstGeom>
            <a:noFill/>
            <a:ln w="38100" cap="rnd" cmpd="sng" algn="ctr">
              <a:solidFill>
                <a:srgbClr val="B1B3B4"/>
              </a:solidFill>
              <a:prstDash val="solid"/>
              <a:round/>
              <a:headEnd type="none" w="med" len="med"/>
              <a:tailEnd type="none" w="med" len="med"/>
            </a:ln>
            <a:effectLst/>
            <a:extLst>
              <a:ext uri="{909E8E84-426E-40DD-AFC4-6F175D3DCCD1}">
                <a14:hiddenFill xmlns:a14="http://schemas.microsoft.com/office/drawing/2010/main">
                  <a:solidFill>
                    <a:srgbClr val="87888A"/>
                  </a:solidFill>
                </a14:hiddenFill>
              </a:ext>
            </a:extLst>
          </p:spPr>
        </p:cxnSp>
        <p:sp>
          <p:nvSpPr>
            <p:cNvPr id="12" name="Oval 11">
              <a:extLst>
                <a:ext uri="{FF2B5EF4-FFF2-40B4-BE49-F238E27FC236}">
                  <a16:creationId xmlns:a16="http://schemas.microsoft.com/office/drawing/2014/main" id="{4578DA1D-7A78-432B-B623-C3A86532C97E}"/>
                </a:ext>
              </a:extLst>
            </p:cNvPr>
            <p:cNvSpPr>
              <a:spLocks noChangeAspect="1"/>
            </p:cNvSpPr>
            <p:nvPr/>
          </p:nvSpPr>
          <p:spPr bwMode="auto">
            <a:xfrm>
              <a:off x="5018958" y="3488923"/>
              <a:ext cx="731520" cy="731520"/>
            </a:xfrm>
            <a:prstGeom prst="ellipse">
              <a:avLst/>
            </a:prstGeom>
            <a:solidFill>
              <a:schemeClr val="accent5"/>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3" name="Oval 12">
              <a:extLst>
                <a:ext uri="{FF2B5EF4-FFF2-40B4-BE49-F238E27FC236}">
                  <a16:creationId xmlns:a16="http://schemas.microsoft.com/office/drawing/2014/main" id="{5796AEAD-E17C-4B7B-B953-75046E17C10A}"/>
                </a:ext>
              </a:extLst>
            </p:cNvPr>
            <p:cNvSpPr>
              <a:spLocks noChangeAspect="1"/>
            </p:cNvSpPr>
            <p:nvPr/>
          </p:nvSpPr>
          <p:spPr bwMode="auto">
            <a:xfrm>
              <a:off x="5772755" y="3058393"/>
              <a:ext cx="731520" cy="731520"/>
            </a:xfrm>
            <a:prstGeom prst="ellipse">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4" name="Oval 13">
              <a:extLst>
                <a:ext uri="{FF2B5EF4-FFF2-40B4-BE49-F238E27FC236}">
                  <a16:creationId xmlns:a16="http://schemas.microsoft.com/office/drawing/2014/main" id="{A0437558-C4FC-4882-96C5-CA02CD5E4B74}"/>
                </a:ext>
              </a:extLst>
            </p:cNvPr>
            <p:cNvSpPr>
              <a:spLocks noChangeAspect="1"/>
            </p:cNvSpPr>
            <p:nvPr/>
          </p:nvSpPr>
          <p:spPr bwMode="auto">
            <a:xfrm>
              <a:off x="5018958" y="4298834"/>
              <a:ext cx="731520" cy="731520"/>
            </a:xfrm>
            <a:prstGeom prst="ellipse">
              <a:avLst/>
            </a:prstGeom>
            <a:solidFill>
              <a:srgbClr val="92D05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5" name="Oval 14">
              <a:extLst>
                <a:ext uri="{FF2B5EF4-FFF2-40B4-BE49-F238E27FC236}">
                  <a16:creationId xmlns:a16="http://schemas.microsoft.com/office/drawing/2014/main" id="{84C75894-557C-4FBD-919B-A9B62A40250F}"/>
                </a:ext>
              </a:extLst>
            </p:cNvPr>
            <p:cNvSpPr>
              <a:spLocks noChangeAspect="1"/>
            </p:cNvSpPr>
            <p:nvPr/>
          </p:nvSpPr>
          <p:spPr bwMode="auto">
            <a:xfrm>
              <a:off x="6523909" y="3488923"/>
              <a:ext cx="731520" cy="731520"/>
            </a:xfrm>
            <a:prstGeom prst="ellipse">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sp>
          <p:nvSpPr>
            <p:cNvPr id="16" name="Oval 15">
              <a:extLst>
                <a:ext uri="{FF2B5EF4-FFF2-40B4-BE49-F238E27FC236}">
                  <a16:creationId xmlns:a16="http://schemas.microsoft.com/office/drawing/2014/main" id="{9E959A65-1623-4B65-A14E-56F28A3D5FB6}"/>
                </a:ext>
              </a:extLst>
            </p:cNvPr>
            <p:cNvSpPr>
              <a:spLocks noChangeAspect="1"/>
            </p:cNvSpPr>
            <p:nvPr/>
          </p:nvSpPr>
          <p:spPr bwMode="auto">
            <a:xfrm>
              <a:off x="6523909" y="4298834"/>
              <a:ext cx="731520" cy="731520"/>
            </a:xfrm>
            <a:prstGeom prst="ellipse">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7" name="Oval 16">
              <a:extLst>
                <a:ext uri="{FF2B5EF4-FFF2-40B4-BE49-F238E27FC236}">
                  <a16:creationId xmlns:a16="http://schemas.microsoft.com/office/drawing/2014/main" id="{E0AD26F3-A73E-47A3-9F53-563839C9033F}"/>
                </a:ext>
              </a:extLst>
            </p:cNvPr>
            <p:cNvSpPr>
              <a:spLocks noChangeAspect="1"/>
            </p:cNvSpPr>
            <p:nvPr/>
          </p:nvSpPr>
          <p:spPr bwMode="auto">
            <a:xfrm>
              <a:off x="5775136" y="4734603"/>
              <a:ext cx="731520" cy="731520"/>
            </a:xfrm>
            <a:prstGeom prst="ellipse">
              <a:avLst/>
            </a:prstGeom>
            <a:solidFill>
              <a:srgbClr val="92D050"/>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8" name="Freeform 3">
              <a:extLst>
                <a:ext uri="{FF2B5EF4-FFF2-40B4-BE49-F238E27FC236}">
                  <a16:creationId xmlns:a16="http://schemas.microsoft.com/office/drawing/2014/main" id="{BA6F9BDF-F81E-4072-877D-04671B048EE8}"/>
                </a:ext>
              </a:extLst>
            </p:cNvPr>
            <p:cNvSpPr>
              <a:spLocks noChangeAspect="1" noEditPoints="1"/>
            </p:cNvSpPr>
            <p:nvPr/>
          </p:nvSpPr>
          <p:spPr bwMode="auto">
            <a:xfrm>
              <a:off x="6648102" y="3671803"/>
              <a:ext cx="483134" cy="365760"/>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3">
              <a:extLst>
                <a:ext uri="{FF2B5EF4-FFF2-40B4-BE49-F238E27FC236}">
                  <a16:creationId xmlns:a16="http://schemas.microsoft.com/office/drawing/2014/main" id="{17C1CE7A-BC13-445E-9B49-0956283F7D9B}"/>
                </a:ext>
              </a:extLst>
            </p:cNvPr>
            <p:cNvSpPr>
              <a:spLocks noChangeAspect="1" noEditPoints="1"/>
            </p:cNvSpPr>
            <p:nvPr/>
          </p:nvSpPr>
          <p:spPr bwMode="auto">
            <a:xfrm>
              <a:off x="5904892" y="3119353"/>
              <a:ext cx="467247" cy="548640"/>
            </a:xfrm>
            <a:custGeom>
              <a:avLst/>
              <a:gdLst>
                <a:gd name="T0" fmla="*/ 2147483647 w 384"/>
                <a:gd name="T1" fmla="*/ 2147483647 h 451"/>
                <a:gd name="T2" fmla="*/ 2147483647 w 384"/>
                <a:gd name="T3" fmla="*/ 2147483647 h 451"/>
                <a:gd name="T4" fmla="*/ 2147483647 w 384"/>
                <a:gd name="T5" fmla="*/ 2147483647 h 451"/>
                <a:gd name="T6" fmla="*/ 2147483647 w 384"/>
                <a:gd name="T7" fmla="*/ 2147483647 h 451"/>
                <a:gd name="T8" fmla="*/ 2147483647 w 384"/>
                <a:gd name="T9" fmla="*/ 2147483647 h 451"/>
                <a:gd name="T10" fmla="*/ 2147483647 w 384"/>
                <a:gd name="T11" fmla="*/ 2147483647 h 451"/>
                <a:gd name="T12" fmla="*/ 2147483647 w 384"/>
                <a:gd name="T13" fmla="*/ 2147483647 h 451"/>
                <a:gd name="T14" fmla="*/ 2147483647 w 384"/>
                <a:gd name="T15" fmla="*/ 2147483647 h 451"/>
                <a:gd name="T16" fmla="*/ 2147483647 w 384"/>
                <a:gd name="T17" fmla="*/ 2147483647 h 451"/>
                <a:gd name="T18" fmla="*/ 2147483647 w 384"/>
                <a:gd name="T19" fmla="*/ 2147483647 h 451"/>
                <a:gd name="T20" fmla="*/ 2147483647 w 384"/>
                <a:gd name="T21" fmla="*/ 2147483647 h 451"/>
                <a:gd name="T22" fmla="*/ 0 w 384"/>
                <a:gd name="T23" fmla="*/ 2147483647 h 451"/>
                <a:gd name="T24" fmla="*/ 0 w 384"/>
                <a:gd name="T25" fmla="*/ 2147483647 h 451"/>
                <a:gd name="T26" fmla="*/ 2147483647 w 384"/>
                <a:gd name="T27" fmla="*/ 2147483647 h 451"/>
                <a:gd name="T28" fmla="*/ 2147483647 w 384"/>
                <a:gd name="T29" fmla="*/ 2147483647 h 451"/>
                <a:gd name="T30" fmla="*/ 2147483647 w 384"/>
                <a:gd name="T31" fmla="*/ 2147483647 h 451"/>
                <a:gd name="T32" fmla="*/ 2147483647 w 384"/>
                <a:gd name="T33" fmla="*/ 2147483647 h 451"/>
                <a:gd name="T34" fmla="*/ 2147483647 w 384"/>
                <a:gd name="T35" fmla="*/ 2147483647 h 451"/>
                <a:gd name="T36" fmla="*/ 2147483647 w 384"/>
                <a:gd name="T37" fmla="*/ 2147483647 h 451"/>
                <a:gd name="T38" fmla="*/ 2147483647 w 384"/>
                <a:gd name="T39" fmla="*/ 2147483647 h 451"/>
                <a:gd name="T40" fmla="*/ 2147483647 w 384"/>
                <a:gd name="T41" fmla="*/ 2147483647 h 451"/>
                <a:gd name="T42" fmla="*/ 2147483647 w 384"/>
                <a:gd name="T43" fmla="*/ 2147483647 h 451"/>
                <a:gd name="T44" fmla="*/ 2147483647 w 384"/>
                <a:gd name="T45" fmla="*/ 2147483647 h 451"/>
                <a:gd name="T46" fmla="*/ 2147483647 w 384"/>
                <a:gd name="T47" fmla="*/ 2147483647 h 451"/>
                <a:gd name="T48" fmla="*/ 2147483647 w 384"/>
                <a:gd name="T49" fmla="*/ 2147483647 h 451"/>
                <a:gd name="T50" fmla="*/ 2147483647 w 384"/>
                <a:gd name="T51" fmla="*/ 2147483647 h 451"/>
                <a:gd name="T52" fmla="*/ 2147483647 w 384"/>
                <a:gd name="T53" fmla="*/ 2147483647 h 451"/>
                <a:gd name="T54" fmla="*/ 2147483647 w 384"/>
                <a:gd name="T55" fmla="*/ 2147483647 h 451"/>
                <a:gd name="T56" fmla="*/ 2147483647 w 384"/>
                <a:gd name="T57" fmla="*/ 2147483647 h 451"/>
                <a:gd name="T58" fmla="*/ 2147483647 w 384"/>
                <a:gd name="T59" fmla="*/ 2147483647 h 451"/>
                <a:gd name="T60" fmla="*/ 2147483647 w 384"/>
                <a:gd name="T61" fmla="*/ 2147483647 h 451"/>
                <a:gd name="T62" fmla="*/ 2147483647 w 384"/>
                <a:gd name="T63" fmla="*/ 2147483647 h 451"/>
                <a:gd name="T64" fmla="*/ 2147483647 w 384"/>
                <a:gd name="T65" fmla="*/ 2147483647 h 451"/>
                <a:gd name="T66" fmla="*/ 2147483647 w 384"/>
                <a:gd name="T67" fmla="*/ 2147483647 h 451"/>
                <a:gd name="T68" fmla="*/ 2147483647 w 384"/>
                <a:gd name="T69" fmla="*/ 2147483647 h 451"/>
                <a:gd name="T70" fmla="*/ 2147483647 w 384"/>
                <a:gd name="T71" fmla="*/ 2147483647 h 451"/>
                <a:gd name="T72" fmla="*/ 2147483647 w 384"/>
                <a:gd name="T73" fmla="*/ 2147483647 h 451"/>
                <a:gd name="T74" fmla="*/ 2147483647 w 384"/>
                <a:gd name="T75" fmla="*/ 2147483647 h 451"/>
                <a:gd name="T76" fmla="*/ 2147483647 w 384"/>
                <a:gd name="T77" fmla="*/ 2147483647 h 451"/>
                <a:gd name="T78" fmla="*/ 2147483647 w 384"/>
                <a:gd name="T79" fmla="*/ 2147483647 h 451"/>
                <a:gd name="T80" fmla="*/ 2147483647 w 384"/>
                <a:gd name="T81" fmla="*/ 2147483647 h 451"/>
                <a:gd name="T82" fmla="*/ 2147483647 w 384"/>
                <a:gd name="T83" fmla="*/ 2147483647 h 451"/>
                <a:gd name="T84" fmla="*/ 2147483647 w 384"/>
                <a:gd name="T85" fmla="*/ 2147483647 h 451"/>
                <a:gd name="T86" fmla="*/ 2147483647 w 384"/>
                <a:gd name="T87" fmla="*/ 2147483647 h 451"/>
                <a:gd name="T88" fmla="*/ 2147483647 w 384"/>
                <a:gd name="T89" fmla="*/ 2147483647 h 451"/>
                <a:gd name="T90" fmla="*/ 2147483647 w 384"/>
                <a:gd name="T91" fmla="*/ 2147483647 h 451"/>
                <a:gd name="T92" fmla="*/ 2147483647 w 384"/>
                <a:gd name="T93" fmla="*/ 2147483647 h 45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84" h="451">
                  <a:moveTo>
                    <a:pt x="240" y="101"/>
                  </a:moveTo>
                  <a:cubicBezTo>
                    <a:pt x="236" y="101"/>
                    <a:pt x="232" y="104"/>
                    <a:pt x="232" y="109"/>
                  </a:cubicBezTo>
                  <a:cubicBezTo>
                    <a:pt x="231" y="113"/>
                    <a:pt x="235" y="117"/>
                    <a:pt x="239" y="117"/>
                  </a:cubicBezTo>
                  <a:cubicBezTo>
                    <a:pt x="303" y="122"/>
                    <a:pt x="368" y="172"/>
                    <a:pt x="368" y="259"/>
                  </a:cubicBezTo>
                  <a:cubicBezTo>
                    <a:pt x="368" y="275"/>
                    <a:pt x="366" y="290"/>
                    <a:pt x="362" y="305"/>
                  </a:cubicBezTo>
                  <a:cubicBezTo>
                    <a:pt x="361" y="291"/>
                    <a:pt x="351" y="279"/>
                    <a:pt x="341" y="274"/>
                  </a:cubicBezTo>
                  <a:cubicBezTo>
                    <a:pt x="347" y="267"/>
                    <a:pt x="350" y="258"/>
                    <a:pt x="350" y="248"/>
                  </a:cubicBezTo>
                  <a:cubicBezTo>
                    <a:pt x="350" y="225"/>
                    <a:pt x="331" y="207"/>
                    <a:pt x="309" y="207"/>
                  </a:cubicBezTo>
                  <a:cubicBezTo>
                    <a:pt x="286" y="207"/>
                    <a:pt x="267" y="225"/>
                    <a:pt x="267" y="248"/>
                  </a:cubicBezTo>
                  <a:cubicBezTo>
                    <a:pt x="267" y="258"/>
                    <a:pt x="271" y="267"/>
                    <a:pt x="277" y="275"/>
                  </a:cubicBezTo>
                  <a:cubicBezTo>
                    <a:pt x="269" y="279"/>
                    <a:pt x="260" y="287"/>
                    <a:pt x="258" y="301"/>
                  </a:cubicBezTo>
                  <a:cubicBezTo>
                    <a:pt x="252" y="294"/>
                    <a:pt x="245" y="289"/>
                    <a:pt x="239" y="286"/>
                  </a:cubicBezTo>
                  <a:cubicBezTo>
                    <a:pt x="249" y="274"/>
                    <a:pt x="256" y="259"/>
                    <a:pt x="256" y="243"/>
                  </a:cubicBezTo>
                  <a:cubicBezTo>
                    <a:pt x="256" y="208"/>
                    <a:pt x="227" y="180"/>
                    <a:pt x="192" y="180"/>
                  </a:cubicBezTo>
                  <a:cubicBezTo>
                    <a:pt x="158" y="180"/>
                    <a:pt x="129" y="208"/>
                    <a:pt x="129" y="243"/>
                  </a:cubicBezTo>
                  <a:cubicBezTo>
                    <a:pt x="129" y="259"/>
                    <a:pt x="136" y="274"/>
                    <a:pt x="146" y="286"/>
                  </a:cubicBezTo>
                  <a:cubicBezTo>
                    <a:pt x="140" y="289"/>
                    <a:pt x="133" y="294"/>
                    <a:pt x="127" y="301"/>
                  </a:cubicBezTo>
                  <a:cubicBezTo>
                    <a:pt x="125" y="287"/>
                    <a:pt x="116" y="279"/>
                    <a:pt x="108" y="275"/>
                  </a:cubicBezTo>
                  <a:cubicBezTo>
                    <a:pt x="114" y="267"/>
                    <a:pt x="118" y="258"/>
                    <a:pt x="118" y="248"/>
                  </a:cubicBezTo>
                  <a:cubicBezTo>
                    <a:pt x="118" y="225"/>
                    <a:pt x="99" y="207"/>
                    <a:pt x="76" y="207"/>
                  </a:cubicBezTo>
                  <a:cubicBezTo>
                    <a:pt x="54" y="207"/>
                    <a:pt x="35" y="225"/>
                    <a:pt x="35" y="248"/>
                  </a:cubicBezTo>
                  <a:cubicBezTo>
                    <a:pt x="35" y="258"/>
                    <a:pt x="38" y="267"/>
                    <a:pt x="44" y="274"/>
                  </a:cubicBezTo>
                  <a:cubicBezTo>
                    <a:pt x="34" y="279"/>
                    <a:pt x="24" y="292"/>
                    <a:pt x="23" y="307"/>
                  </a:cubicBezTo>
                  <a:cubicBezTo>
                    <a:pt x="18" y="292"/>
                    <a:pt x="16" y="276"/>
                    <a:pt x="16" y="260"/>
                  </a:cubicBezTo>
                  <a:cubicBezTo>
                    <a:pt x="16" y="124"/>
                    <a:pt x="106" y="90"/>
                    <a:pt x="162" y="83"/>
                  </a:cubicBezTo>
                  <a:cubicBezTo>
                    <a:pt x="166" y="99"/>
                    <a:pt x="166" y="99"/>
                    <a:pt x="166" y="99"/>
                  </a:cubicBezTo>
                  <a:cubicBezTo>
                    <a:pt x="167" y="102"/>
                    <a:pt x="169" y="104"/>
                    <a:pt x="172" y="105"/>
                  </a:cubicBezTo>
                  <a:cubicBezTo>
                    <a:pt x="175" y="106"/>
                    <a:pt x="178" y="104"/>
                    <a:pt x="180" y="102"/>
                  </a:cubicBezTo>
                  <a:cubicBezTo>
                    <a:pt x="225" y="43"/>
                    <a:pt x="225" y="43"/>
                    <a:pt x="225" y="43"/>
                  </a:cubicBezTo>
                  <a:cubicBezTo>
                    <a:pt x="226" y="41"/>
                    <a:pt x="227" y="38"/>
                    <a:pt x="226" y="36"/>
                  </a:cubicBezTo>
                  <a:cubicBezTo>
                    <a:pt x="226" y="34"/>
                    <a:pt x="224" y="32"/>
                    <a:pt x="222" y="31"/>
                  </a:cubicBezTo>
                  <a:cubicBezTo>
                    <a:pt x="154" y="1"/>
                    <a:pt x="154" y="1"/>
                    <a:pt x="154" y="1"/>
                  </a:cubicBezTo>
                  <a:cubicBezTo>
                    <a:pt x="151" y="0"/>
                    <a:pt x="148" y="1"/>
                    <a:pt x="145" y="3"/>
                  </a:cubicBezTo>
                  <a:cubicBezTo>
                    <a:pt x="143" y="5"/>
                    <a:pt x="142" y="8"/>
                    <a:pt x="143" y="11"/>
                  </a:cubicBezTo>
                  <a:cubicBezTo>
                    <a:pt x="147" y="26"/>
                    <a:pt x="147" y="26"/>
                    <a:pt x="147" y="26"/>
                  </a:cubicBezTo>
                  <a:cubicBezTo>
                    <a:pt x="108" y="38"/>
                    <a:pt x="1" y="115"/>
                    <a:pt x="0" y="258"/>
                  </a:cubicBezTo>
                  <a:cubicBezTo>
                    <a:pt x="0" y="259"/>
                    <a:pt x="0" y="259"/>
                    <a:pt x="0" y="259"/>
                  </a:cubicBezTo>
                  <a:cubicBezTo>
                    <a:pt x="0" y="259"/>
                    <a:pt x="0" y="259"/>
                    <a:pt x="0" y="259"/>
                  </a:cubicBezTo>
                  <a:cubicBezTo>
                    <a:pt x="0" y="259"/>
                    <a:pt x="0" y="259"/>
                    <a:pt x="0" y="259"/>
                  </a:cubicBezTo>
                  <a:cubicBezTo>
                    <a:pt x="0" y="259"/>
                    <a:pt x="0" y="259"/>
                    <a:pt x="0" y="259"/>
                  </a:cubicBezTo>
                  <a:cubicBezTo>
                    <a:pt x="0" y="365"/>
                    <a:pt x="86" y="451"/>
                    <a:pt x="192" y="451"/>
                  </a:cubicBezTo>
                  <a:cubicBezTo>
                    <a:pt x="298" y="451"/>
                    <a:pt x="384" y="365"/>
                    <a:pt x="384" y="259"/>
                  </a:cubicBezTo>
                  <a:cubicBezTo>
                    <a:pt x="384" y="162"/>
                    <a:pt x="312" y="107"/>
                    <a:pt x="240" y="101"/>
                  </a:cubicBezTo>
                  <a:close/>
                  <a:moveTo>
                    <a:pt x="159" y="39"/>
                  </a:moveTo>
                  <a:cubicBezTo>
                    <a:pt x="161" y="39"/>
                    <a:pt x="163" y="37"/>
                    <a:pt x="164" y="35"/>
                  </a:cubicBezTo>
                  <a:cubicBezTo>
                    <a:pt x="165" y="34"/>
                    <a:pt x="165" y="31"/>
                    <a:pt x="165" y="29"/>
                  </a:cubicBezTo>
                  <a:cubicBezTo>
                    <a:pt x="163" y="23"/>
                    <a:pt x="163" y="23"/>
                    <a:pt x="163" y="23"/>
                  </a:cubicBezTo>
                  <a:cubicBezTo>
                    <a:pt x="206" y="41"/>
                    <a:pt x="206" y="41"/>
                    <a:pt x="206" y="41"/>
                  </a:cubicBezTo>
                  <a:cubicBezTo>
                    <a:pt x="177" y="79"/>
                    <a:pt x="177" y="79"/>
                    <a:pt x="177" y="79"/>
                  </a:cubicBezTo>
                  <a:cubicBezTo>
                    <a:pt x="176" y="74"/>
                    <a:pt x="176" y="74"/>
                    <a:pt x="176" y="74"/>
                  </a:cubicBezTo>
                  <a:cubicBezTo>
                    <a:pt x="175" y="71"/>
                    <a:pt x="172" y="68"/>
                    <a:pt x="169" y="68"/>
                  </a:cubicBezTo>
                  <a:cubicBezTo>
                    <a:pt x="169" y="68"/>
                    <a:pt x="168" y="68"/>
                    <a:pt x="167" y="68"/>
                  </a:cubicBezTo>
                  <a:cubicBezTo>
                    <a:pt x="163" y="69"/>
                    <a:pt x="163" y="69"/>
                    <a:pt x="163" y="69"/>
                  </a:cubicBezTo>
                  <a:cubicBezTo>
                    <a:pt x="143" y="71"/>
                    <a:pt x="106" y="75"/>
                    <a:pt x="75" y="99"/>
                  </a:cubicBezTo>
                  <a:cubicBezTo>
                    <a:pt x="110" y="51"/>
                    <a:pt x="158" y="39"/>
                    <a:pt x="159" y="39"/>
                  </a:cubicBezTo>
                  <a:close/>
                  <a:moveTo>
                    <a:pt x="76" y="223"/>
                  </a:moveTo>
                  <a:cubicBezTo>
                    <a:pt x="90" y="223"/>
                    <a:pt x="102" y="234"/>
                    <a:pt x="102" y="248"/>
                  </a:cubicBezTo>
                  <a:cubicBezTo>
                    <a:pt x="102" y="262"/>
                    <a:pt x="90" y="273"/>
                    <a:pt x="76" y="273"/>
                  </a:cubicBezTo>
                  <a:cubicBezTo>
                    <a:pt x="62" y="273"/>
                    <a:pt x="51" y="262"/>
                    <a:pt x="51" y="248"/>
                  </a:cubicBezTo>
                  <a:cubicBezTo>
                    <a:pt x="51" y="234"/>
                    <a:pt x="62" y="223"/>
                    <a:pt x="76" y="223"/>
                  </a:cubicBezTo>
                  <a:close/>
                  <a:moveTo>
                    <a:pt x="112" y="415"/>
                  </a:moveTo>
                  <a:cubicBezTo>
                    <a:pt x="111" y="415"/>
                    <a:pt x="111" y="415"/>
                    <a:pt x="111" y="415"/>
                  </a:cubicBezTo>
                  <a:cubicBezTo>
                    <a:pt x="109" y="414"/>
                    <a:pt x="107" y="413"/>
                    <a:pt x="106" y="412"/>
                  </a:cubicBezTo>
                  <a:cubicBezTo>
                    <a:pt x="105" y="412"/>
                    <a:pt x="104" y="411"/>
                    <a:pt x="103" y="410"/>
                  </a:cubicBezTo>
                  <a:cubicBezTo>
                    <a:pt x="100" y="409"/>
                    <a:pt x="98" y="407"/>
                    <a:pt x="95" y="406"/>
                  </a:cubicBezTo>
                  <a:cubicBezTo>
                    <a:pt x="94" y="405"/>
                    <a:pt x="93" y="404"/>
                    <a:pt x="91" y="403"/>
                  </a:cubicBezTo>
                  <a:cubicBezTo>
                    <a:pt x="89" y="402"/>
                    <a:pt x="88" y="401"/>
                    <a:pt x="86" y="399"/>
                  </a:cubicBezTo>
                  <a:cubicBezTo>
                    <a:pt x="84" y="398"/>
                    <a:pt x="83" y="397"/>
                    <a:pt x="81" y="395"/>
                  </a:cubicBezTo>
                  <a:cubicBezTo>
                    <a:pt x="80" y="395"/>
                    <a:pt x="80" y="394"/>
                    <a:pt x="79" y="394"/>
                  </a:cubicBezTo>
                  <a:cubicBezTo>
                    <a:pt x="63" y="380"/>
                    <a:pt x="49" y="364"/>
                    <a:pt x="39" y="345"/>
                  </a:cubicBezTo>
                  <a:cubicBezTo>
                    <a:pt x="39" y="309"/>
                    <a:pt x="39" y="309"/>
                    <a:pt x="39" y="309"/>
                  </a:cubicBezTo>
                  <a:cubicBezTo>
                    <a:pt x="39" y="297"/>
                    <a:pt x="50" y="287"/>
                    <a:pt x="55" y="286"/>
                  </a:cubicBezTo>
                  <a:cubicBezTo>
                    <a:pt x="56" y="286"/>
                    <a:pt x="57" y="285"/>
                    <a:pt x="58" y="285"/>
                  </a:cubicBezTo>
                  <a:cubicBezTo>
                    <a:pt x="63" y="288"/>
                    <a:pt x="70" y="289"/>
                    <a:pt x="76" y="289"/>
                  </a:cubicBezTo>
                  <a:cubicBezTo>
                    <a:pt x="83" y="289"/>
                    <a:pt x="88" y="288"/>
                    <a:pt x="94" y="286"/>
                  </a:cubicBezTo>
                  <a:cubicBezTo>
                    <a:pt x="94" y="286"/>
                    <a:pt x="94" y="286"/>
                    <a:pt x="94" y="286"/>
                  </a:cubicBezTo>
                  <a:cubicBezTo>
                    <a:pt x="104" y="290"/>
                    <a:pt x="112" y="294"/>
                    <a:pt x="112" y="308"/>
                  </a:cubicBezTo>
                  <a:lnTo>
                    <a:pt x="112" y="415"/>
                  </a:lnTo>
                  <a:close/>
                  <a:moveTo>
                    <a:pt x="145" y="243"/>
                  </a:moveTo>
                  <a:cubicBezTo>
                    <a:pt x="145" y="217"/>
                    <a:pt x="167" y="196"/>
                    <a:pt x="192" y="196"/>
                  </a:cubicBezTo>
                  <a:cubicBezTo>
                    <a:pt x="218" y="196"/>
                    <a:pt x="240" y="217"/>
                    <a:pt x="240" y="243"/>
                  </a:cubicBezTo>
                  <a:cubicBezTo>
                    <a:pt x="240" y="269"/>
                    <a:pt x="218" y="290"/>
                    <a:pt x="192" y="290"/>
                  </a:cubicBezTo>
                  <a:cubicBezTo>
                    <a:pt x="167" y="290"/>
                    <a:pt x="145" y="269"/>
                    <a:pt x="145" y="243"/>
                  </a:cubicBezTo>
                  <a:close/>
                  <a:moveTo>
                    <a:pt x="257" y="422"/>
                  </a:moveTo>
                  <a:cubicBezTo>
                    <a:pt x="256" y="423"/>
                    <a:pt x="255" y="423"/>
                    <a:pt x="253" y="424"/>
                  </a:cubicBezTo>
                  <a:cubicBezTo>
                    <a:pt x="253" y="424"/>
                    <a:pt x="252" y="424"/>
                    <a:pt x="252" y="424"/>
                  </a:cubicBezTo>
                  <a:cubicBezTo>
                    <a:pt x="250" y="425"/>
                    <a:pt x="248" y="426"/>
                    <a:pt x="247" y="426"/>
                  </a:cubicBezTo>
                  <a:cubicBezTo>
                    <a:pt x="245" y="427"/>
                    <a:pt x="244" y="427"/>
                    <a:pt x="243" y="427"/>
                  </a:cubicBezTo>
                  <a:cubicBezTo>
                    <a:pt x="242" y="428"/>
                    <a:pt x="241" y="428"/>
                    <a:pt x="240" y="428"/>
                  </a:cubicBezTo>
                  <a:cubicBezTo>
                    <a:pt x="238" y="429"/>
                    <a:pt x="236" y="429"/>
                    <a:pt x="234" y="430"/>
                  </a:cubicBezTo>
                  <a:cubicBezTo>
                    <a:pt x="234" y="430"/>
                    <a:pt x="233" y="430"/>
                    <a:pt x="233" y="430"/>
                  </a:cubicBezTo>
                  <a:cubicBezTo>
                    <a:pt x="218" y="434"/>
                    <a:pt x="202" y="435"/>
                    <a:pt x="186" y="435"/>
                  </a:cubicBezTo>
                  <a:cubicBezTo>
                    <a:pt x="186" y="435"/>
                    <a:pt x="185" y="435"/>
                    <a:pt x="185" y="435"/>
                  </a:cubicBezTo>
                  <a:cubicBezTo>
                    <a:pt x="183" y="435"/>
                    <a:pt x="180" y="434"/>
                    <a:pt x="178" y="434"/>
                  </a:cubicBezTo>
                  <a:cubicBezTo>
                    <a:pt x="178" y="434"/>
                    <a:pt x="177" y="434"/>
                    <a:pt x="176" y="434"/>
                  </a:cubicBezTo>
                  <a:cubicBezTo>
                    <a:pt x="174" y="434"/>
                    <a:pt x="172" y="434"/>
                    <a:pt x="170" y="433"/>
                  </a:cubicBezTo>
                  <a:cubicBezTo>
                    <a:pt x="169" y="433"/>
                    <a:pt x="168" y="433"/>
                    <a:pt x="168" y="433"/>
                  </a:cubicBezTo>
                  <a:cubicBezTo>
                    <a:pt x="166" y="433"/>
                    <a:pt x="163" y="433"/>
                    <a:pt x="161" y="432"/>
                  </a:cubicBezTo>
                  <a:cubicBezTo>
                    <a:pt x="161" y="432"/>
                    <a:pt x="160" y="432"/>
                    <a:pt x="159" y="432"/>
                  </a:cubicBezTo>
                  <a:cubicBezTo>
                    <a:pt x="157" y="431"/>
                    <a:pt x="155" y="431"/>
                    <a:pt x="153" y="430"/>
                  </a:cubicBezTo>
                  <a:cubicBezTo>
                    <a:pt x="152" y="430"/>
                    <a:pt x="152" y="430"/>
                    <a:pt x="151" y="430"/>
                  </a:cubicBezTo>
                  <a:cubicBezTo>
                    <a:pt x="149" y="430"/>
                    <a:pt x="147" y="429"/>
                    <a:pt x="145" y="428"/>
                  </a:cubicBezTo>
                  <a:cubicBezTo>
                    <a:pt x="144" y="428"/>
                    <a:pt x="144" y="428"/>
                    <a:pt x="143" y="428"/>
                  </a:cubicBezTo>
                  <a:cubicBezTo>
                    <a:pt x="141" y="427"/>
                    <a:pt x="139" y="427"/>
                    <a:pt x="136" y="426"/>
                  </a:cubicBezTo>
                  <a:cubicBezTo>
                    <a:pt x="136" y="426"/>
                    <a:pt x="136" y="426"/>
                    <a:pt x="135" y="425"/>
                  </a:cubicBezTo>
                  <a:cubicBezTo>
                    <a:pt x="133" y="425"/>
                    <a:pt x="131" y="424"/>
                    <a:pt x="128" y="423"/>
                  </a:cubicBezTo>
                  <a:cubicBezTo>
                    <a:pt x="128" y="423"/>
                    <a:pt x="128" y="423"/>
                    <a:pt x="128" y="423"/>
                  </a:cubicBezTo>
                  <a:cubicBezTo>
                    <a:pt x="128" y="340"/>
                    <a:pt x="128" y="340"/>
                    <a:pt x="128" y="340"/>
                  </a:cubicBezTo>
                  <a:cubicBezTo>
                    <a:pt x="128" y="316"/>
                    <a:pt x="147" y="303"/>
                    <a:pt x="160" y="297"/>
                  </a:cubicBezTo>
                  <a:cubicBezTo>
                    <a:pt x="169" y="302"/>
                    <a:pt x="181" y="306"/>
                    <a:pt x="192" y="306"/>
                  </a:cubicBezTo>
                  <a:cubicBezTo>
                    <a:pt x="204" y="306"/>
                    <a:pt x="216" y="302"/>
                    <a:pt x="225" y="297"/>
                  </a:cubicBezTo>
                  <a:cubicBezTo>
                    <a:pt x="238" y="303"/>
                    <a:pt x="257" y="316"/>
                    <a:pt x="257" y="340"/>
                  </a:cubicBezTo>
                  <a:lnTo>
                    <a:pt x="257" y="422"/>
                  </a:lnTo>
                  <a:close/>
                  <a:moveTo>
                    <a:pt x="309" y="223"/>
                  </a:moveTo>
                  <a:cubicBezTo>
                    <a:pt x="323" y="223"/>
                    <a:pt x="334" y="234"/>
                    <a:pt x="334" y="248"/>
                  </a:cubicBezTo>
                  <a:cubicBezTo>
                    <a:pt x="334" y="262"/>
                    <a:pt x="323" y="273"/>
                    <a:pt x="309" y="273"/>
                  </a:cubicBezTo>
                  <a:cubicBezTo>
                    <a:pt x="295" y="273"/>
                    <a:pt x="283" y="262"/>
                    <a:pt x="283" y="248"/>
                  </a:cubicBezTo>
                  <a:cubicBezTo>
                    <a:pt x="283" y="234"/>
                    <a:pt x="295" y="223"/>
                    <a:pt x="309" y="223"/>
                  </a:cubicBezTo>
                  <a:close/>
                  <a:moveTo>
                    <a:pt x="346" y="344"/>
                  </a:moveTo>
                  <a:cubicBezTo>
                    <a:pt x="330" y="374"/>
                    <a:pt x="304" y="399"/>
                    <a:pt x="273" y="415"/>
                  </a:cubicBezTo>
                  <a:cubicBezTo>
                    <a:pt x="273" y="308"/>
                    <a:pt x="273" y="308"/>
                    <a:pt x="273" y="308"/>
                  </a:cubicBezTo>
                  <a:cubicBezTo>
                    <a:pt x="273" y="294"/>
                    <a:pt x="281" y="290"/>
                    <a:pt x="291" y="286"/>
                  </a:cubicBezTo>
                  <a:cubicBezTo>
                    <a:pt x="291" y="286"/>
                    <a:pt x="291" y="286"/>
                    <a:pt x="291" y="286"/>
                  </a:cubicBezTo>
                  <a:cubicBezTo>
                    <a:pt x="297" y="288"/>
                    <a:pt x="302" y="289"/>
                    <a:pt x="309" y="289"/>
                  </a:cubicBezTo>
                  <a:cubicBezTo>
                    <a:pt x="315" y="289"/>
                    <a:pt x="322" y="288"/>
                    <a:pt x="327" y="285"/>
                  </a:cubicBezTo>
                  <a:cubicBezTo>
                    <a:pt x="328" y="285"/>
                    <a:pt x="329" y="286"/>
                    <a:pt x="330" y="286"/>
                  </a:cubicBezTo>
                  <a:cubicBezTo>
                    <a:pt x="335" y="287"/>
                    <a:pt x="346" y="297"/>
                    <a:pt x="346" y="309"/>
                  </a:cubicBezTo>
                  <a:lnTo>
                    <a:pt x="346" y="344"/>
                  </a:lnTo>
                  <a:close/>
                  <a:moveTo>
                    <a:pt x="231" y="326"/>
                  </a:moveTo>
                  <a:cubicBezTo>
                    <a:pt x="227" y="326"/>
                    <a:pt x="223" y="330"/>
                    <a:pt x="223" y="334"/>
                  </a:cubicBezTo>
                  <a:cubicBezTo>
                    <a:pt x="223" y="406"/>
                    <a:pt x="223" y="406"/>
                    <a:pt x="223" y="406"/>
                  </a:cubicBezTo>
                  <a:cubicBezTo>
                    <a:pt x="223" y="410"/>
                    <a:pt x="227" y="414"/>
                    <a:pt x="231" y="414"/>
                  </a:cubicBezTo>
                  <a:cubicBezTo>
                    <a:pt x="236" y="414"/>
                    <a:pt x="239" y="410"/>
                    <a:pt x="239" y="406"/>
                  </a:cubicBezTo>
                  <a:cubicBezTo>
                    <a:pt x="239" y="334"/>
                    <a:pt x="239" y="334"/>
                    <a:pt x="239" y="334"/>
                  </a:cubicBezTo>
                  <a:cubicBezTo>
                    <a:pt x="239" y="330"/>
                    <a:pt x="236" y="326"/>
                    <a:pt x="231" y="326"/>
                  </a:cubicBezTo>
                  <a:close/>
                  <a:moveTo>
                    <a:pt x="153" y="326"/>
                  </a:moveTo>
                  <a:cubicBezTo>
                    <a:pt x="149" y="326"/>
                    <a:pt x="145" y="330"/>
                    <a:pt x="145" y="334"/>
                  </a:cubicBezTo>
                  <a:cubicBezTo>
                    <a:pt x="145" y="406"/>
                    <a:pt x="145" y="406"/>
                    <a:pt x="145" y="406"/>
                  </a:cubicBezTo>
                  <a:cubicBezTo>
                    <a:pt x="145" y="410"/>
                    <a:pt x="149" y="414"/>
                    <a:pt x="153" y="414"/>
                  </a:cubicBezTo>
                  <a:cubicBezTo>
                    <a:pt x="158" y="414"/>
                    <a:pt x="161" y="410"/>
                    <a:pt x="161" y="406"/>
                  </a:cubicBezTo>
                  <a:cubicBezTo>
                    <a:pt x="161" y="334"/>
                    <a:pt x="161" y="334"/>
                    <a:pt x="161" y="334"/>
                  </a:cubicBezTo>
                  <a:cubicBezTo>
                    <a:pt x="161" y="330"/>
                    <a:pt x="158" y="326"/>
                    <a:pt x="153" y="3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3">
              <a:extLst>
                <a:ext uri="{FF2B5EF4-FFF2-40B4-BE49-F238E27FC236}">
                  <a16:creationId xmlns:a16="http://schemas.microsoft.com/office/drawing/2014/main" id="{B478E4A4-E7CA-476B-BB6E-A7D5D275DEC0}"/>
                </a:ext>
              </a:extLst>
            </p:cNvPr>
            <p:cNvSpPr>
              <a:spLocks noChangeAspect="1" noEditPoints="1"/>
            </p:cNvSpPr>
            <p:nvPr/>
          </p:nvSpPr>
          <p:spPr bwMode="auto">
            <a:xfrm>
              <a:off x="5123775" y="3708379"/>
              <a:ext cx="521886" cy="292608"/>
            </a:xfrm>
            <a:custGeom>
              <a:avLst/>
              <a:gdLst>
                <a:gd name="T0" fmla="*/ 2147483647 w 478"/>
                <a:gd name="T1" fmla="*/ 2147483647 h 268"/>
                <a:gd name="T2" fmla="*/ 2147483647 w 478"/>
                <a:gd name="T3" fmla="*/ 2147483647 h 268"/>
                <a:gd name="T4" fmla="*/ 2147483647 w 478"/>
                <a:gd name="T5" fmla="*/ 2147483647 h 268"/>
                <a:gd name="T6" fmla="*/ 2147483647 w 478"/>
                <a:gd name="T7" fmla="*/ 2147483647 h 268"/>
                <a:gd name="T8" fmla="*/ 2147483647 w 478"/>
                <a:gd name="T9" fmla="*/ 2147483647 h 268"/>
                <a:gd name="T10" fmla="*/ 2147483647 w 478"/>
                <a:gd name="T11" fmla="*/ 2147483647 h 268"/>
                <a:gd name="T12" fmla="*/ 2147483647 w 478"/>
                <a:gd name="T13" fmla="*/ 2147483647 h 268"/>
                <a:gd name="T14" fmla="*/ 2147483647 w 478"/>
                <a:gd name="T15" fmla="*/ 2147483647 h 268"/>
                <a:gd name="T16" fmla="*/ 2147483647 w 478"/>
                <a:gd name="T17" fmla="*/ 2147483647 h 268"/>
                <a:gd name="T18" fmla="*/ 2147483647 w 478"/>
                <a:gd name="T19" fmla="*/ 2147483647 h 268"/>
                <a:gd name="T20" fmla="*/ 2147483647 w 478"/>
                <a:gd name="T21" fmla="*/ 2147483647 h 268"/>
                <a:gd name="T22" fmla="*/ 2147483647 w 478"/>
                <a:gd name="T23" fmla="*/ 2147483647 h 268"/>
                <a:gd name="T24" fmla="*/ 2147483647 w 478"/>
                <a:gd name="T25" fmla="*/ 2147483647 h 268"/>
                <a:gd name="T26" fmla="*/ 2147483647 w 478"/>
                <a:gd name="T27" fmla="*/ 2147483647 h 268"/>
                <a:gd name="T28" fmla="*/ 2147483647 w 478"/>
                <a:gd name="T29" fmla="*/ 2147483647 h 268"/>
                <a:gd name="T30" fmla="*/ 2147483647 w 478"/>
                <a:gd name="T31" fmla="*/ 2147483647 h 268"/>
                <a:gd name="T32" fmla="*/ 2147483647 w 478"/>
                <a:gd name="T33" fmla="*/ 0 h 268"/>
                <a:gd name="T34" fmla="*/ 2147483647 w 478"/>
                <a:gd name="T35" fmla="*/ 2147483647 h 268"/>
                <a:gd name="T36" fmla="*/ 2147483647 w 478"/>
                <a:gd name="T37" fmla="*/ 2147483647 h 268"/>
                <a:gd name="T38" fmla="*/ 2147483647 w 478"/>
                <a:gd name="T39" fmla="*/ 2147483647 h 268"/>
                <a:gd name="T40" fmla="*/ 2147483647 w 478"/>
                <a:gd name="T41" fmla="*/ 2147483647 h 268"/>
                <a:gd name="T42" fmla="*/ 0 w 478"/>
                <a:gd name="T43" fmla="*/ 2147483647 h 268"/>
                <a:gd name="T44" fmla="*/ 2147483647 w 478"/>
                <a:gd name="T45" fmla="*/ 2147483647 h 268"/>
                <a:gd name="T46" fmla="*/ 2147483647 w 478"/>
                <a:gd name="T47" fmla="*/ 2147483647 h 268"/>
                <a:gd name="T48" fmla="*/ 2147483647 w 478"/>
                <a:gd name="T49" fmla="*/ 2147483647 h 268"/>
                <a:gd name="T50" fmla="*/ 2147483647 w 478"/>
                <a:gd name="T51" fmla="*/ 2147483647 h 268"/>
                <a:gd name="T52" fmla="*/ 2147483647 w 478"/>
                <a:gd name="T53" fmla="*/ 2147483647 h 268"/>
                <a:gd name="T54" fmla="*/ 2147483647 w 478"/>
                <a:gd name="T55" fmla="*/ 2147483647 h 268"/>
                <a:gd name="T56" fmla="*/ 2147483647 w 478"/>
                <a:gd name="T57" fmla="*/ 2147483647 h 268"/>
                <a:gd name="T58" fmla="*/ 2147483647 w 478"/>
                <a:gd name="T59" fmla="*/ 2147483647 h 268"/>
                <a:gd name="T60" fmla="*/ 2147483647 w 478"/>
                <a:gd name="T61" fmla="*/ 2147483647 h 268"/>
                <a:gd name="T62" fmla="*/ 2147483647 w 478"/>
                <a:gd name="T63" fmla="*/ 2147483647 h 268"/>
                <a:gd name="T64" fmla="*/ 2147483647 w 478"/>
                <a:gd name="T65" fmla="*/ 2147483647 h 268"/>
                <a:gd name="T66" fmla="*/ 2147483647 w 478"/>
                <a:gd name="T67" fmla="*/ 2147483647 h 268"/>
                <a:gd name="T68" fmla="*/ 2147483647 w 478"/>
                <a:gd name="T69" fmla="*/ 2147483647 h 268"/>
                <a:gd name="T70" fmla="*/ 2147483647 w 478"/>
                <a:gd name="T71" fmla="*/ 2147483647 h 268"/>
                <a:gd name="T72" fmla="*/ 2147483647 w 478"/>
                <a:gd name="T73" fmla="*/ 2147483647 h 268"/>
                <a:gd name="T74" fmla="*/ 2147483647 w 478"/>
                <a:gd name="T75" fmla="*/ 2147483647 h 268"/>
                <a:gd name="T76" fmla="*/ 2147483647 w 478"/>
                <a:gd name="T77" fmla="*/ 2147483647 h 268"/>
                <a:gd name="T78" fmla="*/ 2147483647 w 478"/>
                <a:gd name="T79" fmla="*/ 2147483647 h 268"/>
                <a:gd name="T80" fmla="*/ 2147483647 w 478"/>
                <a:gd name="T81" fmla="*/ 2147483647 h 268"/>
                <a:gd name="T82" fmla="*/ 2147483647 w 478"/>
                <a:gd name="T83" fmla="*/ 2147483647 h 268"/>
                <a:gd name="T84" fmla="*/ 2147483647 w 478"/>
                <a:gd name="T85" fmla="*/ 2147483647 h 268"/>
                <a:gd name="T86" fmla="*/ 2147483647 w 478"/>
                <a:gd name="T87" fmla="*/ 2147483647 h 268"/>
                <a:gd name="T88" fmla="*/ 2147483647 w 478"/>
                <a:gd name="T89" fmla="*/ 2147483647 h 268"/>
                <a:gd name="T90" fmla="*/ 2147483647 w 478"/>
                <a:gd name="T91" fmla="*/ 2147483647 h 268"/>
                <a:gd name="T92" fmla="*/ 2147483647 w 478"/>
                <a:gd name="T93" fmla="*/ 2147483647 h 268"/>
                <a:gd name="T94" fmla="*/ 2147483647 w 478"/>
                <a:gd name="T95" fmla="*/ 2147483647 h 268"/>
                <a:gd name="T96" fmla="*/ 2147483647 w 478"/>
                <a:gd name="T97" fmla="*/ 2147483647 h 268"/>
                <a:gd name="T98" fmla="*/ 2147483647 w 478"/>
                <a:gd name="T99" fmla="*/ 2147483647 h 268"/>
                <a:gd name="T100" fmla="*/ 2147483647 w 478"/>
                <a:gd name="T101" fmla="*/ 2147483647 h 268"/>
                <a:gd name="T102" fmla="*/ 2147483647 w 478"/>
                <a:gd name="T103" fmla="*/ 2147483647 h 268"/>
                <a:gd name="T104" fmla="*/ 2147483647 w 478"/>
                <a:gd name="T105" fmla="*/ 2147483647 h 268"/>
                <a:gd name="T106" fmla="*/ 2147483647 w 478"/>
                <a:gd name="T107" fmla="*/ 2147483647 h 268"/>
                <a:gd name="T108" fmla="*/ 2147483647 w 478"/>
                <a:gd name="T109" fmla="*/ 2147483647 h 268"/>
                <a:gd name="T110" fmla="*/ 2147483647 w 478"/>
                <a:gd name="T111" fmla="*/ 2147483647 h 268"/>
                <a:gd name="T112" fmla="*/ 2147483647 w 478"/>
                <a:gd name="T113" fmla="*/ 2147483647 h 268"/>
                <a:gd name="T114" fmla="*/ 2147483647 w 478"/>
                <a:gd name="T115" fmla="*/ 2147483647 h 268"/>
                <a:gd name="T116" fmla="*/ 2147483647 w 478"/>
                <a:gd name="T117" fmla="*/ 2147483647 h 268"/>
                <a:gd name="T118" fmla="*/ 2147483647 w 478"/>
                <a:gd name="T119" fmla="*/ 2147483647 h 268"/>
                <a:gd name="T120" fmla="*/ 2147483647 w 478"/>
                <a:gd name="T121" fmla="*/ 2147483647 h 268"/>
                <a:gd name="T122" fmla="*/ 2147483647 w 478"/>
                <a:gd name="T123" fmla="*/ 2147483647 h 2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78" h="268">
                  <a:moveTo>
                    <a:pt x="312" y="106"/>
                  </a:moveTo>
                  <a:cubicBezTo>
                    <a:pt x="312" y="101"/>
                    <a:pt x="308" y="98"/>
                    <a:pt x="304" y="98"/>
                  </a:cubicBezTo>
                  <a:cubicBezTo>
                    <a:pt x="68" y="98"/>
                    <a:pt x="68" y="98"/>
                    <a:pt x="68" y="98"/>
                  </a:cubicBezTo>
                  <a:cubicBezTo>
                    <a:pt x="64" y="98"/>
                    <a:pt x="60" y="101"/>
                    <a:pt x="60" y="106"/>
                  </a:cubicBezTo>
                  <a:cubicBezTo>
                    <a:pt x="60" y="110"/>
                    <a:pt x="64" y="114"/>
                    <a:pt x="68" y="114"/>
                  </a:cubicBezTo>
                  <a:cubicBezTo>
                    <a:pt x="304" y="114"/>
                    <a:pt x="304" y="114"/>
                    <a:pt x="304" y="114"/>
                  </a:cubicBezTo>
                  <a:cubicBezTo>
                    <a:pt x="308" y="114"/>
                    <a:pt x="312" y="110"/>
                    <a:pt x="312" y="106"/>
                  </a:cubicBezTo>
                  <a:close/>
                  <a:moveTo>
                    <a:pt x="312" y="50"/>
                  </a:moveTo>
                  <a:cubicBezTo>
                    <a:pt x="312" y="42"/>
                    <a:pt x="312" y="35"/>
                    <a:pt x="312" y="30"/>
                  </a:cubicBezTo>
                  <a:cubicBezTo>
                    <a:pt x="312" y="23"/>
                    <a:pt x="313" y="20"/>
                    <a:pt x="315" y="18"/>
                  </a:cubicBezTo>
                  <a:cubicBezTo>
                    <a:pt x="316" y="16"/>
                    <a:pt x="317" y="16"/>
                    <a:pt x="319" y="16"/>
                  </a:cubicBezTo>
                  <a:cubicBezTo>
                    <a:pt x="321" y="16"/>
                    <a:pt x="325" y="17"/>
                    <a:pt x="329" y="21"/>
                  </a:cubicBezTo>
                  <a:cubicBezTo>
                    <a:pt x="334" y="25"/>
                    <a:pt x="343" y="32"/>
                    <a:pt x="352" y="39"/>
                  </a:cubicBezTo>
                  <a:cubicBezTo>
                    <a:pt x="356" y="42"/>
                    <a:pt x="361" y="41"/>
                    <a:pt x="364" y="38"/>
                  </a:cubicBezTo>
                  <a:cubicBezTo>
                    <a:pt x="366" y="34"/>
                    <a:pt x="366" y="29"/>
                    <a:pt x="362" y="27"/>
                  </a:cubicBezTo>
                  <a:cubicBezTo>
                    <a:pt x="353" y="19"/>
                    <a:pt x="344" y="12"/>
                    <a:pt x="339" y="8"/>
                  </a:cubicBezTo>
                  <a:cubicBezTo>
                    <a:pt x="333" y="3"/>
                    <a:pt x="326" y="0"/>
                    <a:pt x="319" y="0"/>
                  </a:cubicBezTo>
                  <a:cubicBezTo>
                    <a:pt x="312" y="0"/>
                    <a:pt x="306" y="3"/>
                    <a:pt x="302" y="8"/>
                  </a:cubicBezTo>
                  <a:cubicBezTo>
                    <a:pt x="298" y="14"/>
                    <a:pt x="296" y="21"/>
                    <a:pt x="296" y="30"/>
                  </a:cubicBezTo>
                  <a:cubicBezTo>
                    <a:pt x="296" y="33"/>
                    <a:pt x="296" y="37"/>
                    <a:pt x="296" y="42"/>
                  </a:cubicBezTo>
                  <a:cubicBezTo>
                    <a:pt x="8" y="42"/>
                    <a:pt x="8" y="42"/>
                    <a:pt x="8" y="42"/>
                  </a:cubicBezTo>
                  <a:cubicBezTo>
                    <a:pt x="4" y="42"/>
                    <a:pt x="0" y="46"/>
                    <a:pt x="0" y="50"/>
                  </a:cubicBezTo>
                  <a:cubicBezTo>
                    <a:pt x="0" y="54"/>
                    <a:pt x="4" y="58"/>
                    <a:pt x="8" y="58"/>
                  </a:cubicBezTo>
                  <a:cubicBezTo>
                    <a:pt x="304" y="58"/>
                    <a:pt x="304" y="58"/>
                    <a:pt x="304" y="58"/>
                  </a:cubicBezTo>
                  <a:cubicBezTo>
                    <a:pt x="308" y="58"/>
                    <a:pt x="312" y="54"/>
                    <a:pt x="312" y="50"/>
                  </a:cubicBezTo>
                  <a:close/>
                  <a:moveTo>
                    <a:pt x="312" y="162"/>
                  </a:moveTo>
                  <a:cubicBezTo>
                    <a:pt x="312" y="157"/>
                    <a:pt x="308" y="154"/>
                    <a:pt x="304" y="154"/>
                  </a:cubicBezTo>
                  <a:cubicBezTo>
                    <a:pt x="130" y="154"/>
                    <a:pt x="130" y="154"/>
                    <a:pt x="130" y="154"/>
                  </a:cubicBezTo>
                  <a:cubicBezTo>
                    <a:pt x="126" y="154"/>
                    <a:pt x="122" y="157"/>
                    <a:pt x="122" y="162"/>
                  </a:cubicBezTo>
                  <a:cubicBezTo>
                    <a:pt x="122" y="166"/>
                    <a:pt x="126" y="170"/>
                    <a:pt x="130" y="170"/>
                  </a:cubicBezTo>
                  <a:cubicBezTo>
                    <a:pt x="304" y="170"/>
                    <a:pt x="304" y="170"/>
                    <a:pt x="304" y="170"/>
                  </a:cubicBezTo>
                  <a:cubicBezTo>
                    <a:pt x="308" y="170"/>
                    <a:pt x="312" y="166"/>
                    <a:pt x="312" y="162"/>
                  </a:cubicBezTo>
                  <a:close/>
                  <a:moveTo>
                    <a:pt x="464" y="107"/>
                  </a:moveTo>
                  <a:cubicBezTo>
                    <a:pt x="451" y="96"/>
                    <a:pt x="399" y="56"/>
                    <a:pt x="399" y="56"/>
                  </a:cubicBezTo>
                  <a:cubicBezTo>
                    <a:pt x="399" y="56"/>
                    <a:pt x="395" y="52"/>
                    <a:pt x="388" y="47"/>
                  </a:cubicBezTo>
                  <a:cubicBezTo>
                    <a:pt x="384" y="44"/>
                    <a:pt x="379" y="45"/>
                    <a:pt x="377" y="48"/>
                  </a:cubicBezTo>
                  <a:cubicBezTo>
                    <a:pt x="374" y="52"/>
                    <a:pt x="374" y="57"/>
                    <a:pt x="378" y="59"/>
                  </a:cubicBezTo>
                  <a:cubicBezTo>
                    <a:pt x="378" y="59"/>
                    <a:pt x="378" y="59"/>
                    <a:pt x="378" y="59"/>
                  </a:cubicBezTo>
                  <a:cubicBezTo>
                    <a:pt x="385" y="65"/>
                    <a:pt x="389" y="68"/>
                    <a:pt x="389" y="68"/>
                  </a:cubicBezTo>
                  <a:cubicBezTo>
                    <a:pt x="389" y="68"/>
                    <a:pt x="441" y="109"/>
                    <a:pt x="454" y="120"/>
                  </a:cubicBezTo>
                  <a:cubicBezTo>
                    <a:pt x="460" y="125"/>
                    <a:pt x="462" y="128"/>
                    <a:pt x="462" y="134"/>
                  </a:cubicBezTo>
                  <a:cubicBezTo>
                    <a:pt x="462" y="139"/>
                    <a:pt x="460" y="142"/>
                    <a:pt x="454" y="147"/>
                  </a:cubicBezTo>
                  <a:cubicBezTo>
                    <a:pt x="441" y="158"/>
                    <a:pt x="389" y="199"/>
                    <a:pt x="389" y="199"/>
                  </a:cubicBezTo>
                  <a:cubicBezTo>
                    <a:pt x="389" y="199"/>
                    <a:pt x="345" y="234"/>
                    <a:pt x="329" y="247"/>
                  </a:cubicBezTo>
                  <a:cubicBezTo>
                    <a:pt x="324" y="251"/>
                    <a:pt x="320" y="252"/>
                    <a:pt x="318" y="252"/>
                  </a:cubicBezTo>
                  <a:cubicBezTo>
                    <a:pt x="317" y="252"/>
                    <a:pt x="316" y="252"/>
                    <a:pt x="315" y="250"/>
                  </a:cubicBezTo>
                  <a:cubicBezTo>
                    <a:pt x="313" y="248"/>
                    <a:pt x="312" y="244"/>
                    <a:pt x="312" y="237"/>
                  </a:cubicBezTo>
                  <a:cubicBezTo>
                    <a:pt x="312" y="232"/>
                    <a:pt x="312" y="226"/>
                    <a:pt x="312" y="218"/>
                  </a:cubicBezTo>
                  <a:cubicBezTo>
                    <a:pt x="312" y="213"/>
                    <a:pt x="308" y="210"/>
                    <a:pt x="304" y="210"/>
                  </a:cubicBezTo>
                  <a:cubicBezTo>
                    <a:pt x="176" y="210"/>
                    <a:pt x="176" y="210"/>
                    <a:pt x="176" y="210"/>
                  </a:cubicBezTo>
                  <a:cubicBezTo>
                    <a:pt x="172" y="210"/>
                    <a:pt x="168" y="213"/>
                    <a:pt x="168" y="218"/>
                  </a:cubicBezTo>
                  <a:cubicBezTo>
                    <a:pt x="168" y="222"/>
                    <a:pt x="172" y="226"/>
                    <a:pt x="176" y="226"/>
                  </a:cubicBezTo>
                  <a:cubicBezTo>
                    <a:pt x="296" y="226"/>
                    <a:pt x="296" y="226"/>
                    <a:pt x="296" y="226"/>
                  </a:cubicBezTo>
                  <a:cubicBezTo>
                    <a:pt x="296" y="230"/>
                    <a:pt x="296" y="234"/>
                    <a:pt x="296" y="237"/>
                  </a:cubicBezTo>
                  <a:cubicBezTo>
                    <a:pt x="296" y="246"/>
                    <a:pt x="298" y="253"/>
                    <a:pt x="302" y="259"/>
                  </a:cubicBezTo>
                  <a:cubicBezTo>
                    <a:pt x="305" y="264"/>
                    <a:pt x="312" y="268"/>
                    <a:pt x="318" y="268"/>
                  </a:cubicBezTo>
                  <a:cubicBezTo>
                    <a:pt x="318" y="268"/>
                    <a:pt x="318" y="268"/>
                    <a:pt x="318" y="268"/>
                  </a:cubicBezTo>
                  <a:cubicBezTo>
                    <a:pt x="326" y="268"/>
                    <a:pt x="333" y="264"/>
                    <a:pt x="339" y="259"/>
                  </a:cubicBezTo>
                  <a:cubicBezTo>
                    <a:pt x="354" y="246"/>
                    <a:pt x="399" y="212"/>
                    <a:pt x="399" y="211"/>
                  </a:cubicBezTo>
                  <a:cubicBezTo>
                    <a:pt x="399" y="211"/>
                    <a:pt x="451" y="171"/>
                    <a:pt x="464" y="160"/>
                  </a:cubicBezTo>
                  <a:cubicBezTo>
                    <a:pt x="472" y="153"/>
                    <a:pt x="478" y="144"/>
                    <a:pt x="478" y="134"/>
                  </a:cubicBezTo>
                  <a:cubicBezTo>
                    <a:pt x="478" y="123"/>
                    <a:pt x="472" y="114"/>
                    <a:pt x="464"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3">
              <a:extLst>
                <a:ext uri="{FF2B5EF4-FFF2-40B4-BE49-F238E27FC236}">
                  <a16:creationId xmlns:a16="http://schemas.microsoft.com/office/drawing/2014/main" id="{62899A59-DD86-4770-AA57-C452268D647A}"/>
                </a:ext>
              </a:extLst>
            </p:cNvPr>
            <p:cNvSpPr>
              <a:spLocks noChangeAspect="1" noEditPoints="1"/>
            </p:cNvSpPr>
            <p:nvPr/>
          </p:nvSpPr>
          <p:spPr bwMode="auto">
            <a:xfrm>
              <a:off x="5110398" y="4500910"/>
              <a:ext cx="548640" cy="327368"/>
            </a:xfrm>
            <a:custGeom>
              <a:avLst/>
              <a:gdLst>
                <a:gd name="T0" fmla="*/ 2147483647 w 486"/>
                <a:gd name="T1" fmla="*/ 2147483647 h 290"/>
                <a:gd name="T2" fmla="*/ 2147483647 w 486"/>
                <a:gd name="T3" fmla="*/ 2147483647 h 290"/>
                <a:gd name="T4" fmla="*/ 2147483647 w 486"/>
                <a:gd name="T5" fmla="*/ 2147483647 h 290"/>
                <a:gd name="T6" fmla="*/ 2147483647 w 486"/>
                <a:gd name="T7" fmla="*/ 2147483647 h 290"/>
                <a:gd name="T8" fmla="*/ 2147483647 w 486"/>
                <a:gd name="T9" fmla="*/ 2147483647 h 290"/>
                <a:gd name="T10" fmla="*/ 2147483647 w 486"/>
                <a:gd name="T11" fmla="*/ 2147483647 h 290"/>
                <a:gd name="T12" fmla="*/ 2147483647 w 486"/>
                <a:gd name="T13" fmla="*/ 2147483647 h 290"/>
                <a:gd name="T14" fmla="*/ 2147483647 w 486"/>
                <a:gd name="T15" fmla="*/ 2147483647 h 290"/>
                <a:gd name="T16" fmla="*/ 2147483647 w 486"/>
                <a:gd name="T17" fmla="*/ 2147483647 h 290"/>
                <a:gd name="T18" fmla="*/ 2147483647 w 486"/>
                <a:gd name="T19" fmla="*/ 2147483647 h 290"/>
                <a:gd name="T20" fmla="*/ 2147483647 w 486"/>
                <a:gd name="T21" fmla="*/ 2147483647 h 290"/>
                <a:gd name="T22" fmla="*/ 2147483647 w 486"/>
                <a:gd name="T23" fmla="*/ 2147483647 h 290"/>
                <a:gd name="T24" fmla="*/ 2147483647 w 486"/>
                <a:gd name="T25" fmla="*/ 2147483647 h 290"/>
                <a:gd name="T26" fmla="*/ 2147483647 w 486"/>
                <a:gd name="T27" fmla="*/ 2147483647 h 290"/>
                <a:gd name="T28" fmla="*/ 2147483647 w 486"/>
                <a:gd name="T29" fmla="*/ 2147483647 h 290"/>
                <a:gd name="T30" fmla="*/ 2147483647 w 486"/>
                <a:gd name="T31" fmla="*/ 2147483647 h 290"/>
                <a:gd name="T32" fmla="*/ 2147483647 w 486"/>
                <a:gd name="T33" fmla="*/ 2147483647 h 290"/>
                <a:gd name="T34" fmla="*/ 2147483647 w 486"/>
                <a:gd name="T35" fmla="*/ 2147483647 h 290"/>
                <a:gd name="T36" fmla="*/ 2147483647 w 486"/>
                <a:gd name="T37" fmla="*/ 2147483647 h 290"/>
                <a:gd name="T38" fmla="*/ 2147483647 w 486"/>
                <a:gd name="T39" fmla="*/ 2147483647 h 290"/>
                <a:gd name="T40" fmla="*/ 2147483647 w 486"/>
                <a:gd name="T41" fmla="*/ 2147483647 h 290"/>
                <a:gd name="T42" fmla="*/ 2147483647 w 486"/>
                <a:gd name="T43" fmla="*/ 2147483647 h 290"/>
                <a:gd name="T44" fmla="*/ 2147483647 w 486"/>
                <a:gd name="T45" fmla="*/ 2147483647 h 290"/>
                <a:gd name="T46" fmla="*/ 2147483647 w 486"/>
                <a:gd name="T47" fmla="*/ 2147483647 h 290"/>
                <a:gd name="T48" fmla="*/ 2147483647 w 486"/>
                <a:gd name="T49" fmla="*/ 2147483647 h 290"/>
                <a:gd name="T50" fmla="*/ 2147483647 w 486"/>
                <a:gd name="T51" fmla="*/ 2147483647 h 290"/>
                <a:gd name="T52" fmla="*/ 2147483647 w 486"/>
                <a:gd name="T53" fmla="*/ 2147483647 h 290"/>
                <a:gd name="T54" fmla="*/ 2147483647 w 486"/>
                <a:gd name="T55" fmla="*/ 2147483647 h 290"/>
                <a:gd name="T56" fmla="*/ 2147483647 w 486"/>
                <a:gd name="T57" fmla="*/ 2147483647 h 290"/>
                <a:gd name="T58" fmla="*/ 2147483647 w 486"/>
                <a:gd name="T59" fmla="*/ 2147483647 h 290"/>
                <a:gd name="T60" fmla="*/ 2147483647 w 486"/>
                <a:gd name="T61" fmla="*/ 2147483647 h 290"/>
                <a:gd name="T62" fmla="*/ 2147483647 w 486"/>
                <a:gd name="T63" fmla="*/ 2147483647 h 290"/>
                <a:gd name="T64" fmla="*/ 2147483647 w 486"/>
                <a:gd name="T65" fmla="*/ 2147483647 h 290"/>
                <a:gd name="T66" fmla="*/ 2147483647 w 486"/>
                <a:gd name="T67" fmla="*/ 2147483647 h 290"/>
                <a:gd name="T68" fmla="*/ 2147483647 w 486"/>
                <a:gd name="T69" fmla="*/ 2147483647 h 290"/>
                <a:gd name="T70" fmla="*/ 2147483647 w 486"/>
                <a:gd name="T71" fmla="*/ 2147483647 h 290"/>
                <a:gd name="T72" fmla="*/ 2147483647 w 486"/>
                <a:gd name="T73" fmla="*/ 2147483647 h 290"/>
                <a:gd name="T74" fmla="*/ 2147483647 w 486"/>
                <a:gd name="T75" fmla="*/ 2147483647 h 290"/>
                <a:gd name="T76" fmla="*/ 2147483647 w 486"/>
                <a:gd name="T77" fmla="*/ 2147483647 h 290"/>
                <a:gd name="T78" fmla="*/ 2147483647 w 486"/>
                <a:gd name="T79" fmla="*/ 2147483647 h 290"/>
                <a:gd name="T80" fmla="*/ 2147483647 w 486"/>
                <a:gd name="T81" fmla="*/ 2147483647 h 290"/>
                <a:gd name="T82" fmla="*/ 2147483647 w 486"/>
                <a:gd name="T83" fmla="*/ 2147483647 h 290"/>
                <a:gd name="T84" fmla="*/ 2147483647 w 486"/>
                <a:gd name="T85" fmla="*/ 2147483647 h 290"/>
                <a:gd name="T86" fmla="*/ 2147483647 w 486"/>
                <a:gd name="T87" fmla="*/ 2147483647 h 290"/>
                <a:gd name="T88" fmla="*/ 2147483647 w 486"/>
                <a:gd name="T89" fmla="*/ 2147483647 h 290"/>
                <a:gd name="T90" fmla="*/ 2147483647 w 486"/>
                <a:gd name="T91" fmla="*/ 2147483647 h 290"/>
                <a:gd name="T92" fmla="*/ 2147483647 w 486"/>
                <a:gd name="T93" fmla="*/ 2147483647 h 290"/>
                <a:gd name="T94" fmla="*/ 2147483647 w 486"/>
                <a:gd name="T95" fmla="*/ 2147483647 h 290"/>
                <a:gd name="T96" fmla="*/ 2147483647 w 486"/>
                <a:gd name="T97" fmla="*/ 2147483647 h 290"/>
                <a:gd name="T98" fmla="*/ 2147483647 w 486"/>
                <a:gd name="T99" fmla="*/ 2147483647 h 290"/>
                <a:gd name="T100" fmla="*/ 2147483647 w 486"/>
                <a:gd name="T101" fmla="*/ 2147483647 h 290"/>
                <a:gd name="T102" fmla="*/ 2147483647 w 486"/>
                <a:gd name="T103" fmla="*/ 2147483647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86" h="290">
                  <a:moveTo>
                    <a:pt x="408" y="62"/>
                  </a:moveTo>
                  <a:cubicBezTo>
                    <a:pt x="414" y="65"/>
                    <a:pt x="421" y="66"/>
                    <a:pt x="426" y="66"/>
                  </a:cubicBezTo>
                  <a:cubicBezTo>
                    <a:pt x="478" y="66"/>
                    <a:pt x="478" y="66"/>
                    <a:pt x="478" y="66"/>
                  </a:cubicBezTo>
                  <a:cubicBezTo>
                    <a:pt x="483" y="66"/>
                    <a:pt x="486" y="63"/>
                    <a:pt x="486" y="58"/>
                  </a:cubicBezTo>
                  <a:cubicBezTo>
                    <a:pt x="486" y="54"/>
                    <a:pt x="483" y="50"/>
                    <a:pt x="478" y="50"/>
                  </a:cubicBezTo>
                  <a:cubicBezTo>
                    <a:pt x="426" y="50"/>
                    <a:pt x="426" y="50"/>
                    <a:pt x="426" y="50"/>
                  </a:cubicBezTo>
                  <a:cubicBezTo>
                    <a:pt x="424" y="50"/>
                    <a:pt x="418" y="49"/>
                    <a:pt x="413" y="47"/>
                  </a:cubicBezTo>
                  <a:cubicBezTo>
                    <a:pt x="409" y="46"/>
                    <a:pt x="405" y="48"/>
                    <a:pt x="403" y="52"/>
                  </a:cubicBezTo>
                  <a:cubicBezTo>
                    <a:pt x="402" y="56"/>
                    <a:pt x="404" y="61"/>
                    <a:pt x="408" y="62"/>
                  </a:cubicBezTo>
                  <a:close/>
                  <a:moveTo>
                    <a:pt x="478" y="189"/>
                  </a:moveTo>
                  <a:cubicBezTo>
                    <a:pt x="424" y="189"/>
                    <a:pt x="424" y="189"/>
                    <a:pt x="424" y="189"/>
                  </a:cubicBezTo>
                  <a:cubicBezTo>
                    <a:pt x="408" y="173"/>
                    <a:pt x="344" y="106"/>
                    <a:pt x="327" y="91"/>
                  </a:cubicBezTo>
                  <a:cubicBezTo>
                    <a:pt x="311" y="76"/>
                    <a:pt x="276" y="71"/>
                    <a:pt x="245" y="66"/>
                  </a:cubicBezTo>
                  <a:cubicBezTo>
                    <a:pt x="235" y="64"/>
                    <a:pt x="225" y="62"/>
                    <a:pt x="218" y="61"/>
                  </a:cubicBezTo>
                  <a:cubicBezTo>
                    <a:pt x="196" y="56"/>
                    <a:pt x="184" y="68"/>
                    <a:pt x="178" y="74"/>
                  </a:cubicBezTo>
                  <a:cubicBezTo>
                    <a:pt x="177" y="75"/>
                    <a:pt x="176" y="76"/>
                    <a:pt x="176" y="76"/>
                  </a:cubicBezTo>
                  <a:cubicBezTo>
                    <a:pt x="175" y="77"/>
                    <a:pt x="174" y="77"/>
                    <a:pt x="174" y="78"/>
                  </a:cubicBezTo>
                  <a:cubicBezTo>
                    <a:pt x="167" y="83"/>
                    <a:pt x="151" y="98"/>
                    <a:pt x="130" y="99"/>
                  </a:cubicBezTo>
                  <a:cubicBezTo>
                    <a:pt x="126" y="100"/>
                    <a:pt x="118" y="99"/>
                    <a:pt x="117" y="95"/>
                  </a:cubicBezTo>
                  <a:cubicBezTo>
                    <a:pt x="115" y="92"/>
                    <a:pt x="117" y="88"/>
                    <a:pt x="117" y="87"/>
                  </a:cubicBezTo>
                  <a:cubicBezTo>
                    <a:pt x="119" y="86"/>
                    <a:pt x="125" y="82"/>
                    <a:pt x="131" y="78"/>
                  </a:cubicBezTo>
                  <a:cubicBezTo>
                    <a:pt x="140" y="71"/>
                    <a:pt x="154" y="62"/>
                    <a:pt x="164" y="54"/>
                  </a:cubicBezTo>
                  <a:cubicBezTo>
                    <a:pt x="179" y="42"/>
                    <a:pt x="212" y="23"/>
                    <a:pt x="222" y="19"/>
                  </a:cubicBezTo>
                  <a:cubicBezTo>
                    <a:pt x="228" y="17"/>
                    <a:pt x="267" y="19"/>
                    <a:pt x="299" y="22"/>
                  </a:cubicBezTo>
                  <a:cubicBezTo>
                    <a:pt x="313" y="23"/>
                    <a:pt x="329" y="25"/>
                    <a:pt x="332" y="26"/>
                  </a:cubicBezTo>
                  <a:cubicBezTo>
                    <a:pt x="337" y="28"/>
                    <a:pt x="375" y="46"/>
                    <a:pt x="377" y="47"/>
                  </a:cubicBezTo>
                  <a:cubicBezTo>
                    <a:pt x="378" y="48"/>
                    <a:pt x="379" y="48"/>
                    <a:pt x="380" y="48"/>
                  </a:cubicBezTo>
                  <a:cubicBezTo>
                    <a:pt x="385" y="48"/>
                    <a:pt x="388" y="44"/>
                    <a:pt x="388" y="40"/>
                  </a:cubicBezTo>
                  <a:cubicBezTo>
                    <a:pt x="388" y="37"/>
                    <a:pt x="387" y="35"/>
                    <a:pt x="384" y="33"/>
                  </a:cubicBezTo>
                  <a:cubicBezTo>
                    <a:pt x="384" y="33"/>
                    <a:pt x="384" y="33"/>
                    <a:pt x="384" y="33"/>
                  </a:cubicBezTo>
                  <a:cubicBezTo>
                    <a:pt x="384" y="33"/>
                    <a:pt x="384" y="33"/>
                    <a:pt x="384" y="33"/>
                  </a:cubicBezTo>
                  <a:cubicBezTo>
                    <a:pt x="383" y="33"/>
                    <a:pt x="383" y="33"/>
                    <a:pt x="383" y="33"/>
                  </a:cubicBezTo>
                  <a:cubicBezTo>
                    <a:pt x="377" y="30"/>
                    <a:pt x="342" y="13"/>
                    <a:pt x="339" y="11"/>
                  </a:cubicBezTo>
                  <a:cubicBezTo>
                    <a:pt x="337" y="11"/>
                    <a:pt x="333" y="9"/>
                    <a:pt x="301" y="6"/>
                  </a:cubicBezTo>
                  <a:cubicBezTo>
                    <a:pt x="284" y="4"/>
                    <a:pt x="228" y="0"/>
                    <a:pt x="217" y="4"/>
                  </a:cubicBezTo>
                  <a:cubicBezTo>
                    <a:pt x="204" y="9"/>
                    <a:pt x="170" y="29"/>
                    <a:pt x="154" y="42"/>
                  </a:cubicBezTo>
                  <a:cubicBezTo>
                    <a:pt x="151" y="44"/>
                    <a:pt x="148" y="46"/>
                    <a:pt x="145" y="49"/>
                  </a:cubicBezTo>
                  <a:cubicBezTo>
                    <a:pt x="123" y="49"/>
                    <a:pt x="105" y="56"/>
                    <a:pt x="87" y="63"/>
                  </a:cubicBezTo>
                  <a:cubicBezTo>
                    <a:pt x="68" y="71"/>
                    <a:pt x="52" y="77"/>
                    <a:pt x="37" y="77"/>
                  </a:cubicBezTo>
                  <a:cubicBezTo>
                    <a:pt x="8" y="77"/>
                    <a:pt x="8" y="77"/>
                    <a:pt x="8" y="77"/>
                  </a:cubicBezTo>
                  <a:cubicBezTo>
                    <a:pt x="3" y="77"/>
                    <a:pt x="0" y="81"/>
                    <a:pt x="0" y="85"/>
                  </a:cubicBezTo>
                  <a:cubicBezTo>
                    <a:pt x="0" y="90"/>
                    <a:pt x="3" y="93"/>
                    <a:pt x="8" y="93"/>
                  </a:cubicBezTo>
                  <a:cubicBezTo>
                    <a:pt x="37" y="93"/>
                    <a:pt x="37" y="93"/>
                    <a:pt x="37" y="93"/>
                  </a:cubicBezTo>
                  <a:cubicBezTo>
                    <a:pt x="56" y="93"/>
                    <a:pt x="75" y="85"/>
                    <a:pt x="93" y="78"/>
                  </a:cubicBezTo>
                  <a:cubicBezTo>
                    <a:pt x="99" y="75"/>
                    <a:pt x="110" y="70"/>
                    <a:pt x="117" y="68"/>
                  </a:cubicBezTo>
                  <a:cubicBezTo>
                    <a:pt x="112" y="72"/>
                    <a:pt x="108" y="74"/>
                    <a:pt x="107" y="75"/>
                  </a:cubicBezTo>
                  <a:cubicBezTo>
                    <a:pt x="101" y="80"/>
                    <a:pt x="98" y="92"/>
                    <a:pt x="102" y="101"/>
                  </a:cubicBezTo>
                  <a:cubicBezTo>
                    <a:pt x="104" y="106"/>
                    <a:pt x="110" y="117"/>
                    <a:pt x="131" y="115"/>
                  </a:cubicBezTo>
                  <a:cubicBezTo>
                    <a:pt x="158" y="113"/>
                    <a:pt x="177" y="96"/>
                    <a:pt x="184" y="90"/>
                  </a:cubicBezTo>
                  <a:cubicBezTo>
                    <a:pt x="185" y="89"/>
                    <a:pt x="185" y="89"/>
                    <a:pt x="186" y="88"/>
                  </a:cubicBezTo>
                  <a:cubicBezTo>
                    <a:pt x="187" y="88"/>
                    <a:pt x="188" y="87"/>
                    <a:pt x="189" y="86"/>
                  </a:cubicBezTo>
                  <a:cubicBezTo>
                    <a:pt x="194" y="81"/>
                    <a:pt x="201" y="74"/>
                    <a:pt x="214" y="76"/>
                  </a:cubicBezTo>
                  <a:cubicBezTo>
                    <a:pt x="222" y="78"/>
                    <a:pt x="232" y="80"/>
                    <a:pt x="242" y="81"/>
                  </a:cubicBezTo>
                  <a:cubicBezTo>
                    <a:pt x="270" y="86"/>
                    <a:pt x="304" y="91"/>
                    <a:pt x="316" y="103"/>
                  </a:cubicBezTo>
                  <a:cubicBezTo>
                    <a:pt x="332" y="117"/>
                    <a:pt x="395" y="182"/>
                    <a:pt x="412" y="200"/>
                  </a:cubicBezTo>
                  <a:cubicBezTo>
                    <a:pt x="412" y="200"/>
                    <a:pt x="412" y="200"/>
                    <a:pt x="412" y="200"/>
                  </a:cubicBezTo>
                  <a:cubicBezTo>
                    <a:pt x="414" y="202"/>
                    <a:pt x="416" y="204"/>
                    <a:pt x="416" y="204"/>
                  </a:cubicBezTo>
                  <a:cubicBezTo>
                    <a:pt x="418" y="206"/>
                    <a:pt x="420" y="210"/>
                    <a:pt x="420" y="212"/>
                  </a:cubicBezTo>
                  <a:cubicBezTo>
                    <a:pt x="420" y="215"/>
                    <a:pt x="419" y="218"/>
                    <a:pt x="417" y="220"/>
                  </a:cubicBezTo>
                  <a:cubicBezTo>
                    <a:pt x="415" y="222"/>
                    <a:pt x="412" y="223"/>
                    <a:pt x="410" y="223"/>
                  </a:cubicBezTo>
                  <a:cubicBezTo>
                    <a:pt x="407" y="223"/>
                    <a:pt x="404" y="222"/>
                    <a:pt x="402" y="220"/>
                  </a:cubicBezTo>
                  <a:cubicBezTo>
                    <a:pt x="360" y="178"/>
                    <a:pt x="360" y="178"/>
                    <a:pt x="360" y="178"/>
                  </a:cubicBezTo>
                  <a:cubicBezTo>
                    <a:pt x="357" y="175"/>
                    <a:pt x="352" y="175"/>
                    <a:pt x="349" y="178"/>
                  </a:cubicBezTo>
                  <a:cubicBezTo>
                    <a:pt x="347" y="179"/>
                    <a:pt x="347" y="182"/>
                    <a:pt x="347" y="184"/>
                  </a:cubicBezTo>
                  <a:cubicBezTo>
                    <a:pt x="347" y="186"/>
                    <a:pt x="347" y="188"/>
                    <a:pt x="349" y="189"/>
                  </a:cubicBezTo>
                  <a:cubicBezTo>
                    <a:pt x="387" y="227"/>
                    <a:pt x="387" y="227"/>
                    <a:pt x="387" y="227"/>
                  </a:cubicBezTo>
                  <a:cubicBezTo>
                    <a:pt x="389" y="229"/>
                    <a:pt x="390" y="232"/>
                    <a:pt x="390" y="235"/>
                  </a:cubicBezTo>
                  <a:cubicBezTo>
                    <a:pt x="390" y="237"/>
                    <a:pt x="389" y="240"/>
                    <a:pt x="387" y="242"/>
                  </a:cubicBezTo>
                  <a:cubicBezTo>
                    <a:pt x="385" y="244"/>
                    <a:pt x="382" y="245"/>
                    <a:pt x="379" y="245"/>
                  </a:cubicBezTo>
                  <a:cubicBezTo>
                    <a:pt x="377" y="245"/>
                    <a:pt x="374" y="244"/>
                    <a:pt x="372" y="242"/>
                  </a:cubicBezTo>
                  <a:cubicBezTo>
                    <a:pt x="327" y="197"/>
                    <a:pt x="327" y="197"/>
                    <a:pt x="327" y="197"/>
                  </a:cubicBezTo>
                  <a:cubicBezTo>
                    <a:pt x="324" y="194"/>
                    <a:pt x="319" y="194"/>
                    <a:pt x="316" y="197"/>
                  </a:cubicBezTo>
                  <a:cubicBezTo>
                    <a:pt x="315" y="199"/>
                    <a:pt x="314" y="201"/>
                    <a:pt x="314" y="203"/>
                  </a:cubicBezTo>
                  <a:cubicBezTo>
                    <a:pt x="314" y="205"/>
                    <a:pt x="315" y="207"/>
                    <a:pt x="316" y="209"/>
                  </a:cubicBezTo>
                  <a:cubicBezTo>
                    <a:pt x="353" y="246"/>
                    <a:pt x="353" y="246"/>
                    <a:pt x="353" y="246"/>
                  </a:cubicBezTo>
                  <a:cubicBezTo>
                    <a:pt x="355" y="248"/>
                    <a:pt x="356" y="251"/>
                    <a:pt x="356" y="253"/>
                  </a:cubicBezTo>
                  <a:cubicBezTo>
                    <a:pt x="356" y="256"/>
                    <a:pt x="355" y="259"/>
                    <a:pt x="353" y="261"/>
                  </a:cubicBezTo>
                  <a:cubicBezTo>
                    <a:pt x="351" y="263"/>
                    <a:pt x="348" y="264"/>
                    <a:pt x="346" y="264"/>
                  </a:cubicBezTo>
                  <a:cubicBezTo>
                    <a:pt x="343" y="264"/>
                    <a:pt x="340" y="263"/>
                    <a:pt x="338" y="261"/>
                  </a:cubicBezTo>
                  <a:cubicBezTo>
                    <a:pt x="305" y="227"/>
                    <a:pt x="305" y="227"/>
                    <a:pt x="305" y="227"/>
                  </a:cubicBezTo>
                  <a:cubicBezTo>
                    <a:pt x="301" y="224"/>
                    <a:pt x="296" y="224"/>
                    <a:pt x="293" y="227"/>
                  </a:cubicBezTo>
                  <a:cubicBezTo>
                    <a:pt x="292" y="229"/>
                    <a:pt x="291" y="231"/>
                    <a:pt x="291" y="233"/>
                  </a:cubicBezTo>
                  <a:cubicBezTo>
                    <a:pt x="291" y="235"/>
                    <a:pt x="292" y="237"/>
                    <a:pt x="293" y="238"/>
                  </a:cubicBezTo>
                  <a:cubicBezTo>
                    <a:pt x="313" y="258"/>
                    <a:pt x="313" y="258"/>
                    <a:pt x="313" y="258"/>
                  </a:cubicBezTo>
                  <a:cubicBezTo>
                    <a:pt x="314" y="259"/>
                    <a:pt x="314" y="261"/>
                    <a:pt x="314" y="263"/>
                  </a:cubicBezTo>
                  <a:cubicBezTo>
                    <a:pt x="314" y="266"/>
                    <a:pt x="313" y="269"/>
                    <a:pt x="311" y="271"/>
                  </a:cubicBezTo>
                  <a:cubicBezTo>
                    <a:pt x="309" y="273"/>
                    <a:pt x="306" y="274"/>
                    <a:pt x="304" y="274"/>
                  </a:cubicBezTo>
                  <a:cubicBezTo>
                    <a:pt x="301" y="274"/>
                    <a:pt x="298" y="273"/>
                    <a:pt x="296" y="271"/>
                  </a:cubicBezTo>
                  <a:cubicBezTo>
                    <a:pt x="283" y="258"/>
                    <a:pt x="283" y="258"/>
                    <a:pt x="283" y="258"/>
                  </a:cubicBezTo>
                  <a:cubicBezTo>
                    <a:pt x="283" y="258"/>
                    <a:pt x="280" y="255"/>
                    <a:pt x="274" y="251"/>
                  </a:cubicBezTo>
                  <a:cubicBezTo>
                    <a:pt x="278" y="247"/>
                    <a:pt x="278" y="247"/>
                    <a:pt x="278" y="247"/>
                  </a:cubicBezTo>
                  <a:cubicBezTo>
                    <a:pt x="283" y="242"/>
                    <a:pt x="286" y="235"/>
                    <a:pt x="286" y="228"/>
                  </a:cubicBezTo>
                  <a:cubicBezTo>
                    <a:pt x="286" y="221"/>
                    <a:pt x="283" y="213"/>
                    <a:pt x="278" y="208"/>
                  </a:cubicBezTo>
                  <a:cubicBezTo>
                    <a:pt x="272" y="203"/>
                    <a:pt x="265" y="200"/>
                    <a:pt x="258" y="200"/>
                  </a:cubicBezTo>
                  <a:cubicBezTo>
                    <a:pt x="258" y="200"/>
                    <a:pt x="258" y="200"/>
                    <a:pt x="258" y="200"/>
                  </a:cubicBezTo>
                  <a:cubicBezTo>
                    <a:pt x="258" y="200"/>
                    <a:pt x="258" y="200"/>
                    <a:pt x="258" y="200"/>
                  </a:cubicBezTo>
                  <a:cubicBezTo>
                    <a:pt x="258" y="193"/>
                    <a:pt x="255" y="185"/>
                    <a:pt x="249" y="180"/>
                  </a:cubicBezTo>
                  <a:cubicBezTo>
                    <a:pt x="244" y="175"/>
                    <a:pt x="237" y="172"/>
                    <a:pt x="230" y="172"/>
                  </a:cubicBezTo>
                  <a:cubicBezTo>
                    <a:pt x="226" y="172"/>
                    <a:pt x="223" y="173"/>
                    <a:pt x="219" y="174"/>
                  </a:cubicBezTo>
                  <a:cubicBezTo>
                    <a:pt x="218" y="169"/>
                    <a:pt x="216" y="165"/>
                    <a:pt x="212" y="161"/>
                  </a:cubicBezTo>
                  <a:cubicBezTo>
                    <a:pt x="207" y="156"/>
                    <a:pt x="199" y="153"/>
                    <a:pt x="192" y="153"/>
                  </a:cubicBezTo>
                  <a:cubicBezTo>
                    <a:pt x="185" y="153"/>
                    <a:pt x="178" y="156"/>
                    <a:pt x="173" y="161"/>
                  </a:cubicBezTo>
                  <a:cubicBezTo>
                    <a:pt x="142" y="192"/>
                    <a:pt x="142" y="192"/>
                    <a:pt x="142" y="192"/>
                  </a:cubicBezTo>
                  <a:cubicBezTo>
                    <a:pt x="140" y="188"/>
                    <a:pt x="138" y="185"/>
                    <a:pt x="135" y="182"/>
                  </a:cubicBezTo>
                  <a:cubicBezTo>
                    <a:pt x="130" y="176"/>
                    <a:pt x="123" y="173"/>
                    <a:pt x="116" y="173"/>
                  </a:cubicBezTo>
                  <a:cubicBezTo>
                    <a:pt x="108" y="173"/>
                    <a:pt x="101" y="176"/>
                    <a:pt x="96" y="182"/>
                  </a:cubicBezTo>
                  <a:cubicBezTo>
                    <a:pt x="70" y="208"/>
                    <a:pt x="70" y="208"/>
                    <a:pt x="70" y="208"/>
                  </a:cubicBezTo>
                  <a:cubicBezTo>
                    <a:pt x="65" y="213"/>
                    <a:pt x="62" y="218"/>
                    <a:pt x="62" y="224"/>
                  </a:cubicBezTo>
                  <a:cubicBezTo>
                    <a:pt x="8" y="224"/>
                    <a:pt x="8" y="224"/>
                    <a:pt x="8" y="224"/>
                  </a:cubicBezTo>
                  <a:cubicBezTo>
                    <a:pt x="3" y="224"/>
                    <a:pt x="0" y="228"/>
                    <a:pt x="0" y="232"/>
                  </a:cubicBezTo>
                  <a:cubicBezTo>
                    <a:pt x="0" y="237"/>
                    <a:pt x="3" y="240"/>
                    <a:pt x="8" y="240"/>
                  </a:cubicBezTo>
                  <a:cubicBezTo>
                    <a:pt x="64" y="240"/>
                    <a:pt x="64" y="240"/>
                    <a:pt x="64" y="240"/>
                  </a:cubicBezTo>
                  <a:cubicBezTo>
                    <a:pt x="66" y="243"/>
                    <a:pt x="67" y="245"/>
                    <a:pt x="70" y="247"/>
                  </a:cubicBezTo>
                  <a:cubicBezTo>
                    <a:pt x="75" y="253"/>
                    <a:pt x="82" y="256"/>
                    <a:pt x="89" y="256"/>
                  </a:cubicBezTo>
                  <a:cubicBezTo>
                    <a:pt x="89" y="256"/>
                    <a:pt x="89" y="256"/>
                    <a:pt x="89" y="256"/>
                  </a:cubicBezTo>
                  <a:cubicBezTo>
                    <a:pt x="96" y="256"/>
                    <a:pt x="104" y="253"/>
                    <a:pt x="109" y="247"/>
                  </a:cubicBezTo>
                  <a:cubicBezTo>
                    <a:pt x="109" y="247"/>
                    <a:pt x="109" y="247"/>
                    <a:pt x="109" y="247"/>
                  </a:cubicBezTo>
                  <a:cubicBezTo>
                    <a:pt x="111" y="246"/>
                    <a:pt x="111" y="246"/>
                    <a:pt x="111" y="246"/>
                  </a:cubicBezTo>
                  <a:cubicBezTo>
                    <a:pt x="112" y="249"/>
                    <a:pt x="114" y="253"/>
                    <a:pt x="117" y="256"/>
                  </a:cubicBezTo>
                  <a:cubicBezTo>
                    <a:pt x="123" y="261"/>
                    <a:pt x="130" y="264"/>
                    <a:pt x="137" y="264"/>
                  </a:cubicBezTo>
                  <a:cubicBezTo>
                    <a:pt x="137" y="264"/>
                    <a:pt x="137" y="264"/>
                    <a:pt x="137" y="264"/>
                  </a:cubicBezTo>
                  <a:cubicBezTo>
                    <a:pt x="144" y="264"/>
                    <a:pt x="151" y="261"/>
                    <a:pt x="157" y="256"/>
                  </a:cubicBezTo>
                  <a:cubicBezTo>
                    <a:pt x="159" y="254"/>
                    <a:pt x="159" y="254"/>
                    <a:pt x="159" y="254"/>
                  </a:cubicBezTo>
                  <a:cubicBezTo>
                    <a:pt x="160" y="257"/>
                    <a:pt x="162" y="261"/>
                    <a:pt x="165" y="264"/>
                  </a:cubicBezTo>
                  <a:cubicBezTo>
                    <a:pt x="171" y="269"/>
                    <a:pt x="178" y="272"/>
                    <a:pt x="185" y="272"/>
                  </a:cubicBezTo>
                  <a:cubicBezTo>
                    <a:pt x="185" y="272"/>
                    <a:pt x="185" y="272"/>
                    <a:pt x="185" y="272"/>
                  </a:cubicBezTo>
                  <a:cubicBezTo>
                    <a:pt x="192" y="272"/>
                    <a:pt x="199" y="269"/>
                    <a:pt x="205" y="264"/>
                  </a:cubicBezTo>
                  <a:cubicBezTo>
                    <a:pt x="205" y="264"/>
                    <a:pt x="205" y="264"/>
                    <a:pt x="205" y="264"/>
                  </a:cubicBezTo>
                  <a:cubicBezTo>
                    <a:pt x="205" y="263"/>
                    <a:pt x="205" y="263"/>
                    <a:pt x="205" y="263"/>
                  </a:cubicBezTo>
                  <a:cubicBezTo>
                    <a:pt x="207" y="267"/>
                    <a:pt x="209" y="271"/>
                    <a:pt x="212" y="274"/>
                  </a:cubicBezTo>
                  <a:cubicBezTo>
                    <a:pt x="217" y="279"/>
                    <a:pt x="224" y="282"/>
                    <a:pt x="232" y="282"/>
                  </a:cubicBezTo>
                  <a:cubicBezTo>
                    <a:pt x="232" y="282"/>
                    <a:pt x="232" y="282"/>
                    <a:pt x="232" y="282"/>
                  </a:cubicBezTo>
                  <a:cubicBezTo>
                    <a:pt x="239" y="282"/>
                    <a:pt x="246" y="279"/>
                    <a:pt x="251" y="274"/>
                  </a:cubicBezTo>
                  <a:cubicBezTo>
                    <a:pt x="251" y="274"/>
                    <a:pt x="251" y="274"/>
                    <a:pt x="251" y="274"/>
                  </a:cubicBezTo>
                  <a:cubicBezTo>
                    <a:pt x="263" y="262"/>
                    <a:pt x="263" y="262"/>
                    <a:pt x="263" y="262"/>
                  </a:cubicBezTo>
                  <a:cubicBezTo>
                    <a:pt x="266" y="264"/>
                    <a:pt x="268" y="266"/>
                    <a:pt x="269" y="267"/>
                  </a:cubicBezTo>
                  <a:cubicBezTo>
                    <a:pt x="271" y="269"/>
                    <a:pt x="272" y="270"/>
                    <a:pt x="272" y="270"/>
                  </a:cubicBezTo>
                  <a:cubicBezTo>
                    <a:pt x="285" y="282"/>
                    <a:pt x="285" y="282"/>
                    <a:pt x="285" y="282"/>
                  </a:cubicBezTo>
                  <a:cubicBezTo>
                    <a:pt x="290" y="287"/>
                    <a:pt x="297" y="290"/>
                    <a:pt x="304" y="290"/>
                  </a:cubicBezTo>
                  <a:cubicBezTo>
                    <a:pt x="304" y="290"/>
                    <a:pt x="304" y="290"/>
                    <a:pt x="304" y="290"/>
                  </a:cubicBezTo>
                  <a:cubicBezTo>
                    <a:pt x="310" y="290"/>
                    <a:pt x="317" y="287"/>
                    <a:pt x="322" y="282"/>
                  </a:cubicBezTo>
                  <a:cubicBezTo>
                    <a:pt x="325" y="280"/>
                    <a:pt x="327" y="277"/>
                    <a:pt x="328" y="273"/>
                  </a:cubicBezTo>
                  <a:cubicBezTo>
                    <a:pt x="333" y="278"/>
                    <a:pt x="340" y="280"/>
                    <a:pt x="346" y="280"/>
                  </a:cubicBezTo>
                  <a:cubicBezTo>
                    <a:pt x="353" y="280"/>
                    <a:pt x="359" y="277"/>
                    <a:pt x="365" y="272"/>
                  </a:cubicBezTo>
                  <a:cubicBezTo>
                    <a:pt x="368" y="269"/>
                    <a:pt x="370" y="264"/>
                    <a:pt x="371" y="260"/>
                  </a:cubicBezTo>
                  <a:cubicBezTo>
                    <a:pt x="374" y="261"/>
                    <a:pt x="377" y="261"/>
                    <a:pt x="379" y="261"/>
                  </a:cubicBezTo>
                  <a:cubicBezTo>
                    <a:pt x="386" y="261"/>
                    <a:pt x="393" y="258"/>
                    <a:pt x="398" y="253"/>
                  </a:cubicBezTo>
                  <a:cubicBezTo>
                    <a:pt x="402" y="249"/>
                    <a:pt x="405" y="244"/>
                    <a:pt x="406" y="239"/>
                  </a:cubicBezTo>
                  <a:cubicBezTo>
                    <a:pt x="407" y="239"/>
                    <a:pt x="408" y="239"/>
                    <a:pt x="410" y="239"/>
                  </a:cubicBezTo>
                  <a:cubicBezTo>
                    <a:pt x="416" y="239"/>
                    <a:pt x="423" y="236"/>
                    <a:pt x="428" y="231"/>
                  </a:cubicBezTo>
                  <a:cubicBezTo>
                    <a:pt x="434" y="226"/>
                    <a:pt x="436" y="219"/>
                    <a:pt x="436" y="212"/>
                  </a:cubicBezTo>
                  <a:cubicBezTo>
                    <a:pt x="436" y="210"/>
                    <a:pt x="436" y="208"/>
                    <a:pt x="435" y="205"/>
                  </a:cubicBezTo>
                  <a:cubicBezTo>
                    <a:pt x="478" y="205"/>
                    <a:pt x="478" y="205"/>
                    <a:pt x="478" y="205"/>
                  </a:cubicBezTo>
                  <a:cubicBezTo>
                    <a:pt x="483" y="205"/>
                    <a:pt x="486" y="202"/>
                    <a:pt x="486" y="197"/>
                  </a:cubicBezTo>
                  <a:cubicBezTo>
                    <a:pt x="486" y="193"/>
                    <a:pt x="483" y="189"/>
                    <a:pt x="478" y="189"/>
                  </a:cubicBezTo>
                  <a:close/>
                  <a:moveTo>
                    <a:pt x="98" y="236"/>
                  </a:moveTo>
                  <a:cubicBezTo>
                    <a:pt x="98" y="236"/>
                    <a:pt x="98" y="236"/>
                    <a:pt x="98" y="236"/>
                  </a:cubicBezTo>
                  <a:cubicBezTo>
                    <a:pt x="95" y="238"/>
                    <a:pt x="92" y="240"/>
                    <a:pt x="89" y="240"/>
                  </a:cubicBezTo>
                  <a:cubicBezTo>
                    <a:pt x="86" y="240"/>
                    <a:pt x="83" y="238"/>
                    <a:pt x="81" y="236"/>
                  </a:cubicBezTo>
                  <a:cubicBezTo>
                    <a:pt x="78" y="234"/>
                    <a:pt x="77" y="231"/>
                    <a:pt x="77" y="228"/>
                  </a:cubicBezTo>
                  <a:cubicBezTo>
                    <a:pt x="77" y="225"/>
                    <a:pt x="78" y="222"/>
                    <a:pt x="81" y="219"/>
                  </a:cubicBezTo>
                  <a:cubicBezTo>
                    <a:pt x="107" y="193"/>
                    <a:pt x="107" y="193"/>
                    <a:pt x="107" y="193"/>
                  </a:cubicBezTo>
                  <a:cubicBezTo>
                    <a:pt x="109" y="191"/>
                    <a:pt x="112" y="189"/>
                    <a:pt x="116" y="189"/>
                  </a:cubicBezTo>
                  <a:cubicBezTo>
                    <a:pt x="119" y="189"/>
                    <a:pt x="122" y="191"/>
                    <a:pt x="124" y="193"/>
                  </a:cubicBezTo>
                  <a:cubicBezTo>
                    <a:pt x="126" y="195"/>
                    <a:pt x="127" y="198"/>
                    <a:pt x="127" y="201"/>
                  </a:cubicBezTo>
                  <a:cubicBezTo>
                    <a:pt x="127" y="204"/>
                    <a:pt x="126" y="207"/>
                    <a:pt x="124" y="210"/>
                  </a:cubicBezTo>
                  <a:lnTo>
                    <a:pt x="98" y="236"/>
                  </a:lnTo>
                  <a:close/>
                  <a:moveTo>
                    <a:pt x="165" y="225"/>
                  </a:moveTo>
                  <a:cubicBezTo>
                    <a:pt x="145" y="245"/>
                    <a:pt x="145" y="245"/>
                    <a:pt x="145" y="245"/>
                  </a:cubicBezTo>
                  <a:cubicBezTo>
                    <a:pt x="143" y="247"/>
                    <a:pt x="140" y="248"/>
                    <a:pt x="137" y="248"/>
                  </a:cubicBezTo>
                  <a:cubicBezTo>
                    <a:pt x="134" y="248"/>
                    <a:pt x="131" y="247"/>
                    <a:pt x="129" y="245"/>
                  </a:cubicBezTo>
                  <a:cubicBezTo>
                    <a:pt x="126" y="242"/>
                    <a:pt x="125" y="239"/>
                    <a:pt x="125" y="236"/>
                  </a:cubicBezTo>
                  <a:cubicBezTo>
                    <a:pt x="125" y="233"/>
                    <a:pt x="126" y="230"/>
                    <a:pt x="129" y="228"/>
                  </a:cubicBezTo>
                  <a:cubicBezTo>
                    <a:pt x="184" y="172"/>
                    <a:pt x="184" y="172"/>
                    <a:pt x="184" y="172"/>
                  </a:cubicBezTo>
                  <a:cubicBezTo>
                    <a:pt x="186" y="170"/>
                    <a:pt x="189" y="169"/>
                    <a:pt x="192" y="169"/>
                  </a:cubicBezTo>
                  <a:cubicBezTo>
                    <a:pt x="195" y="169"/>
                    <a:pt x="198" y="170"/>
                    <a:pt x="201" y="172"/>
                  </a:cubicBezTo>
                  <a:cubicBezTo>
                    <a:pt x="203" y="175"/>
                    <a:pt x="204" y="178"/>
                    <a:pt x="204" y="181"/>
                  </a:cubicBezTo>
                  <a:cubicBezTo>
                    <a:pt x="204" y="184"/>
                    <a:pt x="203" y="187"/>
                    <a:pt x="201" y="189"/>
                  </a:cubicBezTo>
                  <a:cubicBezTo>
                    <a:pt x="165" y="224"/>
                    <a:pt x="165" y="224"/>
                    <a:pt x="165" y="224"/>
                  </a:cubicBezTo>
                  <a:cubicBezTo>
                    <a:pt x="165" y="224"/>
                    <a:pt x="165" y="225"/>
                    <a:pt x="165" y="225"/>
                  </a:cubicBezTo>
                  <a:close/>
                  <a:moveTo>
                    <a:pt x="212" y="234"/>
                  </a:moveTo>
                  <a:cubicBezTo>
                    <a:pt x="194" y="253"/>
                    <a:pt x="194" y="253"/>
                    <a:pt x="194" y="253"/>
                  </a:cubicBezTo>
                  <a:cubicBezTo>
                    <a:pt x="194" y="253"/>
                    <a:pt x="194" y="253"/>
                    <a:pt x="194" y="253"/>
                  </a:cubicBezTo>
                  <a:cubicBezTo>
                    <a:pt x="191" y="255"/>
                    <a:pt x="188" y="256"/>
                    <a:pt x="185" y="256"/>
                  </a:cubicBezTo>
                  <a:cubicBezTo>
                    <a:pt x="182" y="256"/>
                    <a:pt x="179" y="255"/>
                    <a:pt x="177" y="253"/>
                  </a:cubicBezTo>
                  <a:cubicBezTo>
                    <a:pt x="174" y="250"/>
                    <a:pt x="173" y="247"/>
                    <a:pt x="173" y="244"/>
                  </a:cubicBezTo>
                  <a:cubicBezTo>
                    <a:pt x="173" y="241"/>
                    <a:pt x="174" y="238"/>
                    <a:pt x="177" y="236"/>
                  </a:cubicBezTo>
                  <a:cubicBezTo>
                    <a:pt x="212" y="201"/>
                    <a:pt x="212" y="201"/>
                    <a:pt x="212" y="201"/>
                  </a:cubicBezTo>
                  <a:cubicBezTo>
                    <a:pt x="212" y="200"/>
                    <a:pt x="212" y="200"/>
                    <a:pt x="212" y="200"/>
                  </a:cubicBezTo>
                  <a:cubicBezTo>
                    <a:pt x="221" y="191"/>
                    <a:pt x="221" y="191"/>
                    <a:pt x="221" y="191"/>
                  </a:cubicBezTo>
                  <a:cubicBezTo>
                    <a:pt x="224" y="189"/>
                    <a:pt x="227" y="188"/>
                    <a:pt x="230" y="188"/>
                  </a:cubicBezTo>
                  <a:cubicBezTo>
                    <a:pt x="233" y="188"/>
                    <a:pt x="236" y="189"/>
                    <a:pt x="238" y="191"/>
                  </a:cubicBezTo>
                  <a:cubicBezTo>
                    <a:pt x="240" y="194"/>
                    <a:pt x="242" y="197"/>
                    <a:pt x="242" y="200"/>
                  </a:cubicBezTo>
                  <a:cubicBezTo>
                    <a:pt x="242" y="203"/>
                    <a:pt x="240" y="206"/>
                    <a:pt x="238" y="208"/>
                  </a:cubicBezTo>
                  <a:cubicBezTo>
                    <a:pt x="212" y="234"/>
                    <a:pt x="212" y="234"/>
                    <a:pt x="212" y="234"/>
                  </a:cubicBezTo>
                  <a:cubicBezTo>
                    <a:pt x="212" y="234"/>
                    <a:pt x="212" y="234"/>
                    <a:pt x="212" y="234"/>
                  </a:cubicBezTo>
                  <a:close/>
                  <a:moveTo>
                    <a:pt x="266" y="236"/>
                  </a:moveTo>
                  <a:cubicBezTo>
                    <a:pt x="240" y="262"/>
                    <a:pt x="240" y="262"/>
                    <a:pt x="240" y="262"/>
                  </a:cubicBezTo>
                  <a:cubicBezTo>
                    <a:pt x="238" y="265"/>
                    <a:pt x="235" y="266"/>
                    <a:pt x="232" y="266"/>
                  </a:cubicBezTo>
                  <a:cubicBezTo>
                    <a:pt x="229" y="266"/>
                    <a:pt x="226" y="265"/>
                    <a:pt x="223" y="262"/>
                  </a:cubicBezTo>
                  <a:cubicBezTo>
                    <a:pt x="221" y="260"/>
                    <a:pt x="220" y="257"/>
                    <a:pt x="220" y="254"/>
                  </a:cubicBezTo>
                  <a:cubicBezTo>
                    <a:pt x="220" y="251"/>
                    <a:pt x="221" y="248"/>
                    <a:pt x="223" y="246"/>
                  </a:cubicBezTo>
                  <a:cubicBezTo>
                    <a:pt x="249" y="219"/>
                    <a:pt x="249" y="219"/>
                    <a:pt x="249" y="219"/>
                  </a:cubicBezTo>
                  <a:cubicBezTo>
                    <a:pt x="249" y="219"/>
                    <a:pt x="249" y="219"/>
                    <a:pt x="249" y="219"/>
                  </a:cubicBezTo>
                  <a:cubicBezTo>
                    <a:pt x="250" y="219"/>
                    <a:pt x="250" y="219"/>
                    <a:pt x="250" y="219"/>
                  </a:cubicBezTo>
                  <a:cubicBezTo>
                    <a:pt x="252" y="217"/>
                    <a:pt x="255" y="216"/>
                    <a:pt x="258" y="216"/>
                  </a:cubicBezTo>
                  <a:cubicBezTo>
                    <a:pt x="261" y="216"/>
                    <a:pt x="264" y="217"/>
                    <a:pt x="266" y="219"/>
                  </a:cubicBezTo>
                  <a:cubicBezTo>
                    <a:pt x="269" y="222"/>
                    <a:pt x="270" y="225"/>
                    <a:pt x="270" y="228"/>
                  </a:cubicBezTo>
                  <a:cubicBezTo>
                    <a:pt x="270" y="231"/>
                    <a:pt x="269" y="234"/>
                    <a:pt x="266" y="2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3">
              <a:extLst>
                <a:ext uri="{FF2B5EF4-FFF2-40B4-BE49-F238E27FC236}">
                  <a16:creationId xmlns:a16="http://schemas.microsoft.com/office/drawing/2014/main" id="{E11C2C09-17F7-45A3-8795-5F9F451906E2}"/>
                </a:ext>
              </a:extLst>
            </p:cNvPr>
            <p:cNvSpPr>
              <a:spLocks noChangeAspect="1" noEditPoints="1"/>
            </p:cNvSpPr>
            <p:nvPr/>
          </p:nvSpPr>
          <p:spPr bwMode="auto">
            <a:xfrm>
              <a:off x="5940923" y="4868652"/>
              <a:ext cx="399946" cy="463422"/>
            </a:xfrm>
            <a:custGeom>
              <a:avLst/>
              <a:gdLst>
                <a:gd name="T0" fmla="*/ 2147483647 w 355"/>
                <a:gd name="T1" fmla="*/ 2147483647 h 411"/>
                <a:gd name="T2" fmla="*/ 2147483647 w 355"/>
                <a:gd name="T3" fmla="*/ 2147483647 h 411"/>
                <a:gd name="T4" fmla="*/ 2147483647 w 355"/>
                <a:gd name="T5" fmla="*/ 2147483647 h 411"/>
                <a:gd name="T6" fmla="*/ 2147483647 w 355"/>
                <a:gd name="T7" fmla="*/ 2147483647 h 411"/>
                <a:gd name="T8" fmla="*/ 2147483647 w 355"/>
                <a:gd name="T9" fmla="*/ 2147483647 h 411"/>
                <a:gd name="T10" fmla="*/ 2147483647 w 355"/>
                <a:gd name="T11" fmla="*/ 2147483647 h 411"/>
                <a:gd name="T12" fmla="*/ 2147483647 w 355"/>
                <a:gd name="T13" fmla="*/ 2147483647 h 411"/>
                <a:gd name="T14" fmla="*/ 2147483647 w 355"/>
                <a:gd name="T15" fmla="*/ 2147483647 h 411"/>
                <a:gd name="T16" fmla="*/ 2147483647 w 355"/>
                <a:gd name="T17" fmla="*/ 2147483647 h 411"/>
                <a:gd name="T18" fmla="*/ 2147483647 w 355"/>
                <a:gd name="T19" fmla="*/ 2147483647 h 411"/>
                <a:gd name="T20" fmla="*/ 2147483647 w 355"/>
                <a:gd name="T21" fmla="*/ 2147483647 h 411"/>
                <a:gd name="T22" fmla="*/ 2147483647 w 355"/>
                <a:gd name="T23" fmla="*/ 2147483647 h 411"/>
                <a:gd name="T24" fmla="*/ 2147483647 w 355"/>
                <a:gd name="T25" fmla="*/ 2147483647 h 411"/>
                <a:gd name="T26" fmla="*/ 2147483647 w 355"/>
                <a:gd name="T27" fmla="*/ 2147483647 h 411"/>
                <a:gd name="T28" fmla="*/ 2147483647 w 355"/>
                <a:gd name="T29" fmla="*/ 2147483647 h 411"/>
                <a:gd name="T30" fmla="*/ 2147483647 w 355"/>
                <a:gd name="T31" fmla="*/ 2147483647 h 411"/>
                <a:gd name="T32" fmla="*/ 2147483647 w 355"/>
                <a:gd name="T33" fmla="*/ 2147483647 h 411"/>
                <a:gd name="T34" fmla="*/ 2147483647 w 355"/>
                <a:gd name="T35" fmla="*/ 2147483647 h 411"/>
                <a:gd name="T36" fmla="*/ 2147483647 w 355"/>
                <a:gd name="T37" fmla="*/ 2147483647 h 411"/>
                <a:gd name="T38" fmla="*/ 2147483647 w 355"/>
                <a:gd name="T39" fmla="*/ 2147483647 h 411"/>
                <a:gd name="T40" fmla="*/ 2147483647 w 355"/>
                <a:gd name="T41" fmla="*/ 2147483647 h 411"/>
                <a:gd name="T42" fmla="*/ 2147483647 w 355"/>
                <a:gd name="T43" fmla="*/ 2147483647 h 411"/>
                <a:gd name="T44" fmla="*/ 2147483647 w 355"/>
                <a:gd name="T45" fmla="*/ 2147483647 h 411"/>
                <a:gd name="T46" fmla="*/ 2147483647 w 355"/>
                <a:gd name="T47" fmla="*/ 2147483647 h 411"/>
                <a:gd name="T48" fmla="*/ 2147483647 w 355"/>
                <a:gd name="T49" fmla="*/ 2147483647 h 411"/>
                <a:gd name="T50" fmla="*/ 2147483647 w 355"/>
                <a:gd name="T51" fmla="*/ 2147483647 h 411"/>
                <a:gd name="T52" fmla="*/ 2147483647 w 355"/>
                <a:gd name="T53" fmla="*/ 2147483647 h 411"/>
                <a:gd name="T54" fmla="*/ 2147483647 w 355"/>
                <a:gd name="T55" fmla="*/ 2147483647 h 411"/>
                <a:gd name="T56" fmla="*/ 2147483647 w 355"/>
                <a:gd name="T57" fmla="*/ 2147483647 h 411"/>
                <a:gd name="T58" fmla="*/ 2147483647 w 355"/>
                <a:gd name="T59" fmla="*/ 2147483647 h 411"/>
                <a:gd name="T60" fmla="*/ 2147483647 w 355"/>
                <a:gd name="T61" fmla="*/ 2147483647 h 411"/>
                <a:gd name="T62" fmla="*/ 2147483647 w 355"/>
                <a:gd name="T63" fmla="*/ 2147483647 h 411"/>
                <a:gd name="T64" fmla="*/ 2147483647 w 355"/>
                <a:gd name="T65" fmla="*/ 2147483647 h 411"/>
                <a:gd name="T66" fmla="*/ 2147483647 w 355"/>
                <a:gd name="T67" fmla="*/ 2147483647 h 411"/>
                <a:gd name="T68" fmla="*/ 2147483647 w 355"/>
                <a:gd name="T69" fmla="*/ 2147483647 h 411"/>
                <a:gd name="T70" fmla="*/ 2147483647 w 355"/>
                <a:gd name="T71" fmla="*/ 2147483647 h 411"/>
                <a:gd name="T72" fmla="*/ 2147483647 w 355"/>
                <a:gd name="T73" fmla="*/ 2147483647 h 411"/>
                <a:gd name="T74" fmla="*/ 2147483647 w 355"/>
                <a:gd name="T75" fmla="*/ 2147483647 h 411"/>
                <a:gd name="T76" fmla="*/ 2147483647 w 355"/>
                <a:gd name="T77" fmla="*/ 2147483647 h 411"/>
                <a:gd name="T78" fmla="*/ 2147483647 w 355"/>
                <a:gd name="T79" fmla="*/ 2147483647 h 411"/>
                <a:gd name="T80" fmla="*/ 2147483647 w 355"/>
                <a:gd name="T81" fmla="*/ 2147483647 h 411"/>
                <a:gd name="T82" fmla="*/ 2147483647 w 355"/>
                <a:gd name="T83" fmla="*/ 2147483647 h 411"/>
                <a:gd name="T84" fmla="*/ 2147483647 w 355"/>
                <a:gd name="T85" fmla="*/ 2147483647 h 411"/>
                <a:gd name="T86" fmla="*/ 2147483647 w 355"/>
                <a:gd name="T87" fmla="*/ 2147483647 h 411"/>
                <a:gd name="T88" fmla="*/ 2147483647 w 355"/>
                <a:gd name="T89" fmla="*/ 2147483647 h 411"/>
                <a:gd name="T90" fmla="*/ 2147483647 w 355"/>
                <a:gd name="T91" fmla="*/ 2147483647 h 411"/>
                <a:gd name="T92" fmla="*/ 2147483647 w 355"/>
                <a:gd name="T93" fmla="*/ 2147483647 h 411"/>
                <a:gd name="T94" fmla="*/ 2147483647 w 355"/>
                <a:gd name="T95" fmla="*/ 2147483647 h 411"/>
                <a:gd name="T96" fmla="*/ 2147483647 w 355"/>
                <a:gd name="T97" fmla="*/ 2147483647 h 411"/>
                <a:gd name="T98" fmla="*/ 2147483647 w 355"/>
                <a:gd name="T99" fmla="*/ 2147483647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3">
              <a:extLst>
                <a:ext uri="{FF2B5EF4-FFF2-40B4-BE49-F238E27FC236}">
                  <a16:creationId xmlns:a16="http://schemas.microsoft.com/office/drawing/2014/main" id="{D524A2B8-DCC7-43AA-8C8D-539E758C0436}"/>
                </a:ext>
              </a:extLst>
            </p:cNvPr>
            <p:cNvSpPr>
              <a:spLocks noChangeAspect="1"/>
            </p:cNvSpPr>
            <p:nvPr/>
          </p:nvSpPr>
          <p:spPr bwMode="auto">
            <a:xfrm>
              <a:off x="6683929" y="4458854"/>
              <a:ext cx="411480" cy="411480"/>
            </a:xfrm>
            <a:custGeom>
              <a:avLst/>
              <a:gdLst>
                <a:gd name="T0" fmla="*/ 2147483647 w 349"/>
                <a:gd name="T1" fmla="*/ 2147483647 h 349"/>
                <a:gd name="T2" fmla="*/ 2147483647 w 349"/>
                <a:gd name="T3" fmla="*/ 2147483647 h 349"/>
                <a:gd name="T4" fmla="*/ 2147483647 w 349"/>
                <a:gd name="T5" fmla="*/ 2147483647 h 349"/>
                <a:gd name="T6" fmla="*/ 2147483647 w 349"/>
                <a:gd name="T7" fmla="*/ 2147483647 h 349"/>
                <a:gd name="T8" fmla="*/ 2147483647 w 349"/>
                <a:gd name="T9" fmla="*/ 2147483647 h 349"/>
                <a:gd name="T10" fmla="*/ 2147483647 w 349"/>
                <a:gd name="T11" fmla="*/ 2147483647 h 349"/>
                <a:gd name="T12" fmla="*/ 2147483647 w 349"/>
                <a:gd name="T13" fmla="*/ 2147483647 h 349"/>
                <a:gd name="T14" fmla="*/ 2147483647 w 349"/>
                <a:gd name="T15" fmla="*/ 2147483647 h 349"/>
                <a:gd name="T16" fmla="*/ 2147483647 w 349"/>
                <a:gd name="T17" fmla="*/ 2147483647 h 349"/>
                <a:gd name="T18" fmla="*/ 2147483647 w 349"/>
                <a:gd name="T19" fmla="*/ 2147483647 h 349"/>
                <a:gd name="T20" fmla="*/ 2147483647 w 349"/>
                <a:gd name="T21" fmla="*/ 2147483647 h 349"/>
                <a:gd name="T22" fmla="*/ 2147483647 w 349"/>
                <a:gd name="T23" fmla="*/ 2147483647 h 349"/>
                <a:gd name="T24" fmla="*/ 2147483647 w 349"/>
                <a:gd name="T25" fmla="*/ 2147483647 h 349"/>
                <a:gd name="T26" fmla="*/ 2147483647 w 349"/>
                <a:gd name="T27" fmla="*/ 2147483647 h 349"/>
                <a:gd name="T28" fmla="*/ 2147483647 w 349"/>
                <a:gd name="T29" fmla="*/ 2147483647 h 349"/>
                <a:gd name="T30" fmla="*/ 2147483647 w 349"/>
                <a:gd name="T31" fmla="*/ 2147483647 h 349"/>
                <a:gd name="T32" fmla="*/ 2147483647 w 349"/>
                <a:gd name="T33" fmla="*/ 2147483647 h 349"/>
                <a:gd name="T34" fmla="*/ 2147483647 w 349"/>
                <a:gd name="T35" fmla="*/ 2147483647 h 349"/>
                <a:gd name="T36" fmla="*/ 2147483647 w 349"/>
                <a:gd name="T37" fmla="*/ 2147483647 h 349"/>
                <a:gd name="T38" fmla="*/ 2147483647 w 349"/>
                <a:gd name="T39" fmla="*/ 2147483647 h 349"/>
                <a:gd name="T40" fmla="*/ 2147483647 w 349"/>
                <a:gd name="T41" fmla="*/ 2147483647 h 349"/>
                <a:gd name="T42" fmla="*/ 2147483647 w 349"/>
                <a:gd name="T43" fmla="*/ 2147483647 h 349"/>
                <a:gd name="T44" fmla="*/ 2147483647 w 349"/>
                <a:gd name="T45" fmla="*/ 2147483647 h 349"/>
                <a:gd name="T46" fmla="*/ 2147483647 w 349"/>
                <a:gd name="T47" fmla="*/ 2147483647 h 349"/>
                <a:gd name="T48" fmla="*/ 2147483647 w 349"/>
                <a:gd name="T49" fmla="*/ 2147483647 h 349"/>
                <a:gd name="T50" fmla="*/ 2147483647 w 349"/>
                <a:gd name="T51" fmla="*/ 2147483647 h 349"/>
                <a:gd name="T52" fmla="*/ 2147483647 w 349"/>
                <a:gd name="T53" fmla="*/ 2147483647 h 349"/>
                <a:gd name="T54" fmla="*/ 2147483647 w 349"/>
                <a:gd name="T55" fmla="*/ 2147483647 h 349"/>
                <a:gd name="T56" fmla="*/ 2147483647 w 349"/>
                <a:gd name="T57" fmla="*/ 2147483647 h 349"/>
                <a:gd name="T58" fmla="*/ 2147483647 w 349"/>
                <a:gd name="T59" fmla="*/ 2147483647 h 349"/>
                <a:gd name="T60" fmla="*/ 2147483647 w 349"/>
                <a:gd name="T61" fmla="*/ 2147483647 h 349"/>
                <a:gd name="T62" fmla="*/ 2147483647 w 349"/>
                <a:gd name="T63" fmla="*/ 2147483647 h 349"/>
                <a:gd name="T64" fmla="*/ 2147483647 w 349"/>
                <a:gd name="T65" fmla="*/ 2147483647 h 349"/>
                <a:gd name="T66" fmla="*/ 2147483647 w 349"/>
                <a:gd name="T67" fmla="*/ 2147483647 h 349"/>
                <a:gd name="T68" fmla="*/ 2147483647 w 349"/>
                <a:gd name="T69" fmla="*/ 2147483647 h 349"/>
                <a:gd name="T70" fmla="*/ 2147483647 w 349"/>
                <a:gd name="T71" fmla="*/ 2147483647 h 349"/>
                <a:gd name="T72" fmla="*/ 2147483647 w 349"/>
                <a:gd name="T73" fmla="*/ 2147483647 h 349"/>
                <a:gd name="T74" fmla="*/ 2147483647 w 349"/>
                <a:gd name="T75" fmla="*/ 2147483647 h 349"/>
                <a:gd name="T76" fmla="*/ 2147483647 w 349"/>
                <a:gd name="T77" fmla="*/ 0 h 349"/>
                <a:gd name="T78" fmla="*/ 2147483647 w 349"/>
                <a:gd name="T79" fmla="*/ 2147483647 h 349"/>
                <a:gd name="T80" fmla="*/ 2147483647 w 349"/>
                <a:gd name="T81" fmla="*/ 2147483647 h 349"/>
                <a:gd name="T82" fmla="*/ 2147483647 w 349"/>
                <a:gd name="T83" fmla="*/ 2147483647 h 349"/>
                <a:gd name="T84" fmla="*/ 2147483647 w 349"/>
                <a:gd name="T85" fmla="*/ 2147483647 h 349"/>
                <a:gd name="T86" fmla="*/ 2147483647 w 349"/>
                <a:gd name="T87" fmla="*/ 2147483647 h 349"/>
                <a:gd name="T88" fmla="*/ 0 w 349"/>
                <a:gd name="T89" fmla="*/ 2147483647 h 349"/>
                <a:gd name="T90" fmla="*/ 2147483647 w 349"/>
                <a:gd name="T91" fmla="*/ 2147483647 h 349"/>
                <a:gd name="T92" fmla="*/ 2147483647 w 349"/>
                <a:gd name="T93" fmla="*/ 2147483647 h 349"/>
                <a:gd name="T94" fmla="*/ 2147483647 w 349"/>
                <a:gd name="T95" fmla="*/ 2147483647 h 349"/>
                <a:gd name="T96" fmla="*/ 2147483647 w 349"/>
                <a:gd name="T97" fmla="*/ 2147483647 h 349"/>
                <a:gd name="T98" fmla="*/ 0 w 349"/>
                <a:gd name="T99" fmla="*/ 2147483647 h 349"/>
                <a:gd name="T100" fmla="*/ 2147483647 w 349"/>
                <a:gd name="T101" fmla="*/ 2147483647 h 349"/>
                <a:gd name="T102" fmla="*/ 2147483647 w 349"/>
                <a:gd name="T103" fmla="*/ 2147483647 h 349"/>
                <a:gd name="T104" fmla="*/ 2147483647 w 349"/>
                <a:gd name="T105" fmla="*/ 2147483647 h 349"/>
                <a:gd name="T106" fmla="*/ 2147483647 w 349"/>
                <a:gd name="T107" fmla="*/ 2147483647 h 349"/>
                <a:gd name="T108" fmla="*/ 2147483647 w 349"/>
                <a:gd name="T109" fmla="*/ 2147483647 h 349"/>
                <a:gd name="T110" fmla="*/ 2147483647 w 349"/>
                <a:gd name="T111" fmla="*/ 2147483647 h 349"/>
                <a:gd name="T112" fmla="*/ 2147483647 w 349"/>
                <a:gd name="T113" fmla="*/ 2147483647 h 3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49" h="349">
                  <a:moveTo>
                    <a:pt x="348" y="327"/>
                  </a:moveTo>
                  <a:cubicBezTo>
                    <a:pt x="340" y="328"/>
                    <a:pt x="340" y="328"/>
                    <a:pt x="340" y="328"/>
                  </a:cubicBezTo>
                  <a:cubicBezTo>
                    <a:pt x="348" y="327"/>
                    <a:pt x="348" y="327"/>
                    <a:pt x="348" y="327"/>
                  </a:cubicBezTo>
                  <a:cubicBezTo>
                    <a:pt x="348" y="319"/>
                    <a:pt x="340" y="257"/>
                    <a:pt x="340" y="254"/>
                  </a:cubicBezTo>
                  <a:cubicBezTo>
                    <a:pt x="340" y="250"/>
                    <a:pt x="338" y="247"/>
                    <a:pt x="336" y="243"/>
                  </a:cubicBezTo>
                  <a:cubicBezTo>
                    <a:pt x="334" y="240"/>
                    <a:pt x="329" y="238"/>
                    <a:pt x="325" y="238"/>
                  </a:cubicBezTo>
                  <a:cubicBezTo>
                    <a:pt x="320" y="238"/>
                    <a:pt x="315" y="241"/>
                    <a:pt x="311" y="244"/>
                  </a:cubicBezTo>
                  <a:cubicBezTo>
                    <a:pt x="311" y="245"/>
                    <a:pt x="311" y="245"/>
                    <a:pt x="311" y="245"/>
                  </a:cubicBezTo>
                  <a:cubicBezTo>
                    <a:pt x="298" y="233"/>
                    <a:pt x="298" y="233"/>
                    <a:pt x="298" y="233"/>
                  </a:cubicBezTo>
                  <a:cubicBezTo>
                    <a:pt x="306" y="215"/>
                    <a:pt x="311" y="196"/>
                    <a:pt x="311" y="175"/>
                  </a:cubicBezTo>
                  <a:cubicBezTo>
                    <a:pt x="311" y="154"/>
                    <a:pt x="306" y="134"/>
                    <a:pt x="298" y="117"/>
                  </a:cubicBezTo>
                  <a:cubicBezTo>
                    <a:pt x="311" y="104"/>
                    <a:pt x="311" y="104"/>
                    <a:pt x="311" y="104"/>
                  </a:cubicBezTo>
                  <a:cubicBezTo>
                    <a:pt x="311" y="105"/>
                    <a:pt x="311" y="105"/>
                    <a:pt x="311" y="105"/>
                  </a:cubicBezTo>
                  <a:cubicBezTo>
                    <a:pt x="315" y="109"/>
                    <a:pt x="320" y="112"/>
                    <a:pt x="325" y="112"/>
                  </a:cubicBezTo>
                  <a:cubicBezTo>
                    <a:pt x="329" y="112"/>
                    <a:pt x="334" y="109"/>
                    <a:pt x="336" y="106"/>
                  </a:cubicBezTo>
                  <a:cubicBezTo>
                    <a:pt x="338" y="103"/>
                    <a:pt x="339" y="99"/>
                    <a:pt x="340" y="95"/>
                  </a:cubicBezTo>
                  <a:cubicBezTo>
                    <a:pt x="340" y="92"/>
                    <a:pt x="341" y="83"/>
                    <a:pt x="342" y="72"/>
                  </a:cubicBezTo>
                  <a:cubicBezTo>
                    <a:pt x="343" y="68"/>
                    <a:pt x="340" y="64"/>
                    <a:pt x="335" y="63"/>
                  </a:cubicBezTo>
                  <a:cubicBezTo>
                    <a:pt x="331" y="63"/>
                    <a:pt x="327" y="66"/>
                    <a:pt x="327" y="70"/>
                  </a:cubicBezTo>
                  <a:cubicBezTo>
                    <a:pt x="325" y="81"/>
                    <a:pt x="324" y="91"/>
                    <a:pt x="324" y="94"/>
                  </a:cubicBezTo>
                  <a:cubicBezTo>
                    <a:pt x="324" y="94"/>
                    <a:pt x="324" y="95"/>
                    <a:pt x="324" y="95"/>
                  </a:cubicBezTo>
                  <a:cubicBezTo>
                    <a:pt x="323" y="95"/>
                    <a:pt x="323" y="94"/>
                    <a:pt x="323" y="94"/>
                  </a:cubicBezTo>
                  <a:cubicBezTo>
                    <a:pt x="321" y="92"/>
                    <a:pt x="316" y="87"/>
                    <a:pt x="316" y="87"/>
                  </a:cubicBezTo>
                  <a:cubicBezTo>
                    <a:pt x="315" y="86"/>
                    <a:pt x="313" y="85"/>
                    <a:pt x="311" y="85"/>
                  </a:cubicBezTo>
                  <a:cubicBezTo>
                    <a:pt x="308" y="85"/>
                    <a:pt x="306" y="86"/>
                    <a:pt x="305" y="87"/>
                  </a:cubicBezTo>
                  <a:cubicBezTo>
                    <a:pt x="283" y="109"/>
                    <a:pt x="283" y="109"/>
                    <a:pt x="283" y="109"/>
                  </a:cubicBezTo>
                  <a:cubicBezTo>
                    <a:pt x="280" y="112"/>
                    <a:pt x="280" y="115"/>
                    <a:pt x="281" y="119"/>
                  </a:cubicBezTo>
                  <a:cubicBezTo>
                    <a:pt x="281" y="119"/>
                    <a:pt x="281" y="119"/>
                    <a:pt x="281" y="119"/>
                  </a:cubicBezTo>
                  <a:cubicBezTo>
                    <a:pt x="281" y="119"/>
                    <a:pt x="281" y="119"/>
                    <a:pt x="281" y="119"/>
                  </a:cubicBezTo>
                  <a:cubicBezTo>
                    <a:pt x="290" y="136"/>
                    <a:pt x="295" y="155"/>
                    <a:pt x="295" y="175"/>
                  </a:cubicBezTo>
                  <a:cubicBezTo>
                    <a:pt x="295" y="195"/>
                    <a:pt x="290" y="214"/>
                    <a:pt x="281" y="231"/>
                  </a:cubicBezTo>
                  <a:cubicBezTo>
                    <a:pt x="280" y="234"/>
                    <a:pt x="280" y="238"/>
                    <a:pt x="283" y="240"/>
                  </a:cubicBezTo>
                  <a:cubicBezTo>
                    <a:pt x="305" y="262"/>
                    <a:pt x="305" y="262"/>
                    <a:pt x="305" y="262"/>
                  </a:cubicBezTo>
                  <a:cubicBezTo>
                    <a:pt x="306" y="264"/>
                    <a:pt x="308" y="265"/>
                    <a:pt x="311" y="265"/>
                  </a:cubicBezTo>
                  <a:cubicBezTo>
                    <a:pt x="313" y="265"/>
                    <a:pt x="315" y="264"/>
                    <a:pt x="316" y="262"/>
                  </a:cubicBezTo>
                  <a:cubicBezTo>
                    <a:pt x="316" y="262"/>
                    <a:pt x="321" y="257"/>
                    <a:pt x="323" y="256"/>
                  </a:cubicBezTo>
                  <a:cubicBezTo>
                    <a:pt x="323" y="255"/>
                    <a:pt x="324" y="255"/>
                    <a:pt x="324" y="255"/>
                  </a:cubicBezTo>
                  <a:cubicBezTo>
                    <a:pt x="324" y="255"/>
                    <a:pt x="324" y="255"/>
                    <a:pt x="324" y="256"/>
                  </a:cubicBezTo>
                  <a:cubicBezTo>
                    <a:pt x="324" y="259"/>
                    <a:pt x="332" y="320"/>
                    <a:pt x="332" y="329"/>
                  </a:cubicBezTo>
                  <a:cubicBezTo>
                    <a:pt x="333" y="329"/>
                    <a:pt x="333" y="330"/>
                    <a:pt x="333" y="330"/>
                  </a:cubicBezTo>
                  <a:cubicBezTo>
                    <a:pt x="332" y="331"/>
                    <a:pt x="332" y="331"/>
                    <a:pt x="332" y="332"/>
                  </a:cubicBezTo>
                  <a:cubicBezTo>
                    <a:pt x="331" y="333"/>
                    <a:pt x="331" y="333"/>
                    <a:pt x="329" y="333"/>
                  </a:cubicBezTo>
                  <a:cubicBezTo>
                    <a:pt x="329" y="333"/>
                    <a:pt x="329" y="333"/>
                    <a:pt x="328" y="333"/>
                  </a:cubicBezTo>
                  <a:cubicBezTo>
                    <a:pt x="320" y="332"/>
                    <a:pt x="265" y="325"/>
                    <a:pt x="255" y="324"/>
                  </a:cubicBezTo>
                  <a:cubicBezTo>
                    <a:pt x="255" y="324"/>
                    <a:pt x="254" y="324"/>
                    <a:pt x="254" y="324"/>
                  </a:cubicBezTo>
                  <a:cubicBezTo>
                    <a:pt x="254" y="324"/>
                    <a:pt x="255" y="324"/>
                    <a:pt x="255" y="323"/>
                  </a:cubicBezTo>
                  <a:cubicBezTo>
                    <a:pt x="257" y="322"/>
                    <a:pt x="262" y="317"/>
                    <a:pt x="262" y="317"/>
                  </a:cubicBezTo>
                  <a:cubicBezTo>
                    <a:pt x="263" y="315"/>
                    <a:pt x="264" y="313"/>
                    <a:pt x="264" y="311"/>
                  </a:cubicBezTo>
                  <a:cubicBezTo>
                    <a:pt x="264" y="309"/>
                    <a:pt x="263" y="307"/>
                    <a:pt x="262" y="305"/>
                  </a:cubicBezTo>
                  <a:cubicBezTo>
                    <a:pt x="239" y="283"/>
                    <a:pt x="239" y="283"/>
                    <a:pt x="239" y="283"/>
                  </a:cubicBezTo>
                  <a:cubicBezTo>
                    <a:pt x="237" y="281"/>
                    <a:pt x="233" y="280"/>
                    <a:pt x="230" y="282"/>
                  </a:cubicBezTo>
                  <a:cubicBezTo>
                    <a:pt x="213" y="291"/>
                    <a:pt x="194" y="296"/>
                    <a:pt x="174" y="296"/>
                  </a:cubicBezTo>
                  <a:cubicBezTo>
                    <a:pt x="154" y="296"/>
                    <a:pt x="135" y="291"/>
                    <a:pt x="118" y="282"/>
                  </a:cubicBezTo>
                  <a:cubicBezTo>
                    <a:pt x="118" y="282"/>
                    <a:pt x="118" y="282"/>
                    <a:pt x="118" y="282"/>
                  </a:cubicBezTo>
                  <a:cubicBezTo>
                    <a:pt x="115" y="280"/>
                    <a:pt x="111" y="281"/>
                    <a:pt x="109" y="284"/>
                  </a:cubicBezTo>
                  <a:cubicBezTo>
                    <a:pt x="87" y="305"/>
                    <a:pt x="87" y="305"/>
                    <a:pt x="87" y="305"/>
                  </a:cubicBezTo>
                  <a:cubicBezTo>
                    <a:pt x="85" y="307"/>
                    <a:pt x="84" y="309"/>
                    <a:pt x="84" y="311"/>
                  </a:cubicBezTo>
                  <a:cubicBezTo>
                    <a:pt x="84" y="313"/>
                    <a:pt x="85" y="315"/>
                    <a:pt x="87" y="317"/>
                  </a:cubicBezTo>
                  <a:cubicBezTo>
                    <a:pt x="87" y="317"/>
                    <a:pt x="92" y="322"/>
                    <a:pt x="93" y="323"/>
                  </a:cubicBezTo>
                  <a:cubicBezTo>
                    <a:pt x="94" y="324"/>
                    <a:pt x="94" y="324"/>
                    <a:pt x="94" y="325"/>
                  </a:cubicBezTo>
                  <a:cubicBezTo>
                    <a:pt x="94" y="325"/>
                    <a:pt x="94" y="325"/>
                    <a:pt x="93" y="325"/>
                  </a:cubicBezTo>
                  <a:cubicBezTo>
                    <a:pt x="90" y="325"/>
                    <a:pt x="28" y="332"/>
                    <a:pt x="20" y="333"/>
                  </a:cubicBezTo>
                  <a:cubicBezTo>
                    <a:pt x="20" y="333"/>
                    <a:pt x="19" y="333"/>
                    <a:pt x="19" y="333"/>
                  </a:cubicBezTo>
                  <a:cubicBezTo>
                    <a:pt x="18" y="333"/>
                    <a:pt x="18" y="333"/>
                    <a:pt x="17" y="332"/>
                  </a:cubicBezTo>
                  <a:cubicBezTo>
                    <a:pt x="16" y="332"/>
                    <a:pt x="16" y="332"/>
                    <a:pt x="16" y="330"/>
                  </a:cubicBezTo>
                  <a:cubicBezTo>
                    <a:pt x="16" y="330"/>
                    <a:pt x="16" y="329"/>
                    <a:pt x="16" y="329"/>
                  </a:cubicBezTo>
                  <a:cubicBezTo>
                    <a:pt x="17" y="321"/>
                    <a:pt x="24" y="265"/>
                    <a:pt x="25" y="256"/>
                  </a:cubicBezTo>
                  <a:cubicBezTo>
                    <a:pt x="25" y="255"/>
                    <a:pt x="25" y="255"/>
                    <a:pt x="25" y="255"/>
                  </a:cubicBezTo>
                  <a:cubicBezTo>
                    <a:pt x="25" y="255"/>
                    <a:pt x="25" y="255"/>
                    <a:pt x="26" y="256"/>
                  </a:cubicBezTo>
                  <a:cubicBezTo>
                    <a:pt x="27" y="257"/>
                    <a:pt x="32" y="262"/>
                    <a:pt x="32" y="262"/>
                  </a:cubicBezTo>
                  <a:cubicBezTo>
                    <a:pt x="34" y="264"/>
                    <a:pt x="36" y="265"/>
                    <a:pt x="38" y="265"/>
                  </a:cubicBezTo>
                  <a:cubicBezTo>
                    <a:pt x="40" y="265"/>
                    <a:pt x="42" y="264"/>
                    <a:pt x="44" y="262"/>
                  </a:cubicBezTo>
                  <a:cubicBezTo>
                    <a:pt x="66" y="240"/>
                    <a:pt x="66" y="240"/>
                    <a:pt x="66" y="240"/>
                  </a:cubicBezTo>
                  <a:cubicBezTo>
                    <a:pt x="68" y="238"/>
                    <a:pt x="69" y="234"/>
                    <a:pt x="67" y="231"/>
                  </a:cubicBezTo>
                  <a:cubicBezTo>
                    <a:pt x="58" y="214"/>
                    <a:pt x="53" y="195"/>
                    <a:pt x="53" y="175"/>
                  </a:cubicBezTo>
                  <a:cubicBezTo>
                    <a:pt x="53" y="155"/>
                    <a:pt x="58" y="136"/>
                    <a:pt x="67" y="119"/>
                  </a:cubicBezTo>
                  <a:cubicBezTo>
                    <a:pt x="69" y="116"/>
                    <a:pt x="68" y="112"/>
                    <a:pt x="66" y="110"/>
                  </a:cubicBezTo>
                  <a:cubicBezTo>
                    <a:pt x="44" y="87"/>
                    <a:pt x="44" y="87"/>
                    <a:pt x="44" y="87"/>
                  </a:cubicBezTo>
                  <a:cubicBezTo>
                    <a:pt x="42" y="86"/>
                    <a:pt x="40" y="85"/>
                    <a:pt x="38" y="85"/>
                  </a:cubicBezTo>
                  <a:cubicBezTo>
                    <a:pt x="36" y="85"/>
                    <a:pt x="34" y="86"/>
                    <a:pt x="32" y="87"/>
                  </a:cubicBezTo>
                  <a:cubicBezTo>
                    <a:pt x="32" y="87"/>
                    <a:pt x="27" y="92"/>
                    <a:pt x="26" y="94"/>
                  </a:cubicBezTo>
                  <a:cubicBezTo>
                    <a:pt x="25" y="94"/>
                    <a:pt x="25" y="95"/>
                    <a:pt x="25" y="95"/>
                  </a:cubicBezTo>
                  <a:cubicBezTo>
                    <a:pt x="24" y="95"/>
                    <a:pt x="24" y="94"/>
                    <a:pt x="24" y="94"/>
                  </a:cubicBezTo>
                  <a:cubicBezTo>
                    <a:pt x="24" y="91"/>
                    <a:pt x="17" y="29"/>
                    <a:pt x="16" y="21"/>
                  </a:cubicBezTo>
                  <a:cubicBezTo>
                    <a:pt x="16" y="20"/>
                    <a:pt x="16" y="20"/>
                    <a:pt x="16" y="20"/>
                  </a:cubicBezTo>
                  <a:cubicBezTo>
                    <a:pt x="16" y="18"/>
                    <a:pt x="16" y="18"/>
                    <a:pt x="17" y="17"/>
                  </a:cubicBezTo>
                  <a:cubicBezTo>
                    <a:pt x="18" y="17"/>
                    <a:pt x="17" y="17"/>
                    <a:pt x="19" y="17"/>
                  </a:cubicBezTo>
                  <a:cubicBezTo>
                    <a:pt x="19" y="17"/>
                    <a:pt x="20" y="17"/>
                    <a:pt x="20" y="17"/>
                  </a:cubicBezTo>
                  <a:cubicBezTo>
                    <a:pt x="28" y="17"/>
                    <a:pt x="84" y="24"/>
                    <a:pt x="93" y="25"/>
                  </a:cubicBezTo>
                  <a:cubicBezTo>
                    <a:pt x="94" y="25"/>
                    <a:pt x="94" y="25"/>
                    <a:pt x="94" y="25"/>
                  </a:cubicBezTo>
                  <a:cubicBezTo>
                    <a:pt x="94" y="26"/>
                    <a:pt x="94" y="26"/>
                    <a:pt x="93" y="26"/>
                  </a:cubicBezTo>
                  <a:cubicBezTo>
                    <a:pt x="92" y="28"/>
                    <a:pt x="87" y="33"/>
                    <a:pt x="87" y="33"/>
                  </a:cubicBezTo>
                  <a:cubicBezTo>
                    <a:pt x="85" y="34"/>
                    <a:pt x="84" y="36"/>
                    <a:pt x="84" y="38"/>
                  </a:cubicBezTo>
                  <a:cubicBezTo>
                    <a:pt x="84" y="41"/>
                    <a:pt x="85" y="43"/>
                    <a:pt x="87" y="44"/>
                  </a:cubicBezTo>
                  <a:cubicBezTo>
                    <a:pt x="109" y="66"/>
                    <a:pt x="109" y="66"/>
                    <a:pt x="109" y="66"/>
                  </a:cubicBezTo>
                  <a:cubicBezTo>
                    <a:pt x="111" y="69"/>
                    <a:pt x="115" y="69"/>
                    <a:pt x="118" y="68"/>
                  </a:cubicBezTo>
                  <a:cubicBezTo>
                    <a:pt x="135" y="59"/>
                    <a:pt x="154" y="54"/>
                    <a:pt x="174" y="54"/>
                  </a:cubicBezTo>
                  <a:cubicBezTo>
                    <a:pt x="194" y="54"/>
                    <a:pt x="213" y="59"/>
                    <a:pt x="230" y="68"/>
                  </a:cubicBezTo>
                  <a:cubicBezTo>
                    <a:pt x="233" y="69"/>
                    <a:pt x="237" y="69"/>
                    <a:pt x="239" y="66"/>
                  </a:cubicBezTo>
                  <a:cubicBezTo>
                    <a:pt x="262" y="44"/>
                    <a:pt x="262" y="44"/>
                    <a:pt x="262" y="44"/>
                  </a:cubicBezTo>
                  <a:cubicBezTo>
                    <a:pt x="263" y="43"/>
                    <a:pt x="264" y="41"/>
                    <a:pt x="264" y="38"/>
                  </a:cubicBezTo>
                  <a:cubicBezTo>
                    <a:pt x="264" y="36"/>
                    <a:pt x="263" y="34"/>
                    <a:pt x="262" y="33"/>
                  </a:cubicBezTo>
                  <a:cubicBezTo>
                    <a:pt x="262" y="33"/>
                    <a:pt x="257" y="28"/>
                    <a:pt x="255" y="26"/>
                  </a:cubicBezTo>
                  <a:cubicBezTo>
                    <a:pt x="255" y="26"/>
                    <a:pt x="254" y="25"/>
                    <a:pt x="254" y="25"/>
                  </a:cubicBezTo>
                  <a:cubicBezTo>
                    <a:pt x="254" y="25"/>
                    <a:pt x="255" y="25"/>
                    <a:pt x="255" y="25"/>
                  </a:cubicBezTo>
                  <a:cubicBezTo>
                    <a:pt x="258" y="25"/>
                    <a:pt x="320" y="17"/>
                    <a:pt x="328" y="17"/>
                  </a:cubicBezTo>
                  <a:cubicBezTo>
                    <a:pt x="329" y="16"/>
                    <a:pt x="329" y="16"/>
                    <a:pt x="329" y="16"/>
                  </a:cubicBezTo>
                  <a:cubicBezTo>
                    <a:pt x="331" y="17"/>
                    <a:pt x="331" y="17"/>
                    <a:pt x="332" y="17"/>
                  </a:cubicBezTo>
                  <a:cubicBezTo>
                    <a:pt x="332" y="18"/>
                    <a:pt x="332" y="18"/>
                    <a:pt x="332" y="20"/>
                  </a:cubicBezTo>
                  <a:cubicBezTo>
                    <a:pt x="332" y="20"/>
                    <a:pt x="332" y="20"/>
                    <a:pt x="332" y="21"/>
                  </a:cubicBezTo>
                  <a:cubicBezTo>
                    <a:pt x="332" y="23"/>
                    <a:pt x="331" y="30"/>
                    <a:pt x="330" y="39"/>
                  </a:cubicBezTo>
                  <a:cubicBezTo>
                    <a:pt x="330" y="43"/>
                    <a:pt x="333" y="47"/>
                    <a:pt x="337" y="48"/>
                  </a:cubicBezTo>
                  <a:cubicBezTo>
                    <a:pt x="342" y="48"/>
                    <a:pt x="346" y="45"/>
                    <a:pt x="346" y="41"/>
                  </a:cubicBezTo>
                  <a:cubicBezTo>
                    <a:pt x="347" y="32"/>
                    <a:pt x="348" y="25"/>
                    <a:pt x="348" y="22"/>
                  </a:cubicBezTo>
                  <a:cubicBezTo>
                    <a:pt x="348" y="21"/>
                    <a:pt x="348" y="21"/>
                    <a:pt x="348" y="20"/>
                  </a:cubicBezTo>
                  <a:cubicBezTo>
                    <a:pt x="349" y="15"/>
                    <a:pt x="347" y="10"/>
                    <a:pt x="343" y="6"/>
                  </a:cubicBezTo>
                  <a:cubicBezTo>
                    <a:pt x="339" y="2"/>
                    <a:pt x="334" y="0"/>
                    <a:pt x="329" y="0"/>
                  </a:cubicBezTo>
                  <a:cubicBezTo>
                    <a:pt x="328" y="0"/>
                    <a:pt x="327" y="1"/>
                    <a:pt x="326" y="1"/>
                  </a:cubicBezTo>
                  <a:cubicBezTo>
                    <a:pt x="318" y="1"/>
                    <a:pt x="256" y="9"/>
                    <a:pt x="253" y="9"/>
                  </a:cubicBezTo>
                  <a:cubicBezTo>
                    <a:pt x="250" y="9"/>
                    <a:pt x="246" y="11"/>
                    <a:pt x="243" y="13"/>
                  </a:cubicBezTo>
                  <a:cubicBezTo>
                    <a:pt x="240" y="15"/>
                    <a:pt x="237" y="20"/>
                    <a:pt x="237" y="24"/>
                  </a:cubicBezTo>
                  <a:cubicBezTo>
                    <a:pt x="237" y="29"/>
                    <a:pt x="240" y="34"/>
                    <a:pt x="244" y="38"/>
                  </a:cubicBezTo>
                  <a:cubicBezTo>
                    <a:pt x="244" y="38"/>
                    <a:pt x="244" y="38"/>
                    <a:pt x="245" y="38"/>
                  </a:cubicBezTo>
                  <a:cubicBezTo>
                    <a:pt x="232" y="51"/>
                    <a:pt x="232" y="51"/>
                    <a:pt x="232" y="51"/>
                  </a:cubicBezTo>
                  <a:cubicBezTo>
                    <a:pt x="215" y="43"/>
                    <a:pt x="195" y="38"/>
                    <a:pt x="174" y="38"/>
                  </a:cubicBezTo>
                  <a:cubicBezTo>
                    <a:pt x="153" y="38"/>
                    <a:pt x="134" y="43"/>
                    <a:pt x="116" y="51"/>
                  </a:cubicBezTo>
                  <a:cubicBezTo>
                    <a:pt x="104" y="38"/>
                    <a:pt x="104" y="38"/>
                    <a:pt x="104" y="38"/>
                  </a:cubicBezTo>
                  <a:cubicBezTo>
                    <a:pt x="104" y="38"/>
                    <a:pt x="104" y="38"/>
                    <a:pt x="105" y="38"/>
                  </a:cubicBezTo>
                  <a:cubicBezTo>
                    <a:pt x="108" y="34"/>
                    <a:pt x="111" y="29"/>
                    <a:pt x="111" y="24"/>
                  </a:cubicBezTo>
                  <a:cubicBezTo>
                    <a:pt x="111" y="20"/>
                    <a:pt x="109" y="15"/>
                    <a:pt x="106" y="13"/>
                  </a:cubicBezTo>
                  <a:cubicBezTo>
                    <a:pt x="102" y="11"/>
                    <a:pt x="99" y="10"/>
                    <a:pt x="95" y="9"/>
                  </a:cubicBezTo>
                  <a:cubicBezTo>
                    <a:pt x="86" y="8"/>
                    <a:pt x="30" y="2"/>
                    <a:pt x="22" y="1"/>
                  </a:cubicBezTo>
                  <a:cubicBezTo>
                    <a:pt x="21" y="1"/>
                    <a:pt x="20" y="1"/>
                    <a:pt x="19" y="1"/>
                  </a:cubicBezTo>
                  <a:cubicBezTo>
                    <a:pt x="14" y="0"/>
                    <a:pt x="9" y="2"/>
                    <a:pt x="5" y="6"/>
                  </a:cubicBezTo>
                  <a:cubicBezTo>
                    <a:pt x="2" y="10"/>
                    <a:pt x="0" y="15"/>
                    <a:pt x="0" y="20"/>
                  </a:cubicBezTo>
                  <a:cubicBezTo>
                    <a:pt x="0" y="21"/>
                    <a:pt x="0" y="22"/>
                    <a:pt x="0" y="23"/>
                  </a:cubicBezTo>
                  <a:cubicBezTo>
                    <a:pt x="1" y="31"/>
                    <a:pt x="8" y="93"/>
                    <a:pt x="8" y="96"/>
                  </a:cubicBezTo>
                  <a:cubicBezTo>
                    <a:pt x="9" y="99"/>
                    <a:pt x="10" y="103"/>
                    <a:pt x="12" y="106"/>
                  </a:cubicBezTo>
                  <a:cubicBezTo>
                    <a:pt x="15" y="109"/>
                    <a:pt x="19" y="112"/>
                    <a:pt x="23" y="112"/>
                  </a:cubicBezTo>
                  <a:cubicBezTo>
                    <a:pt x="29" y="112"/>
                    <a:pt x="33" y="109"/>
                    <a:pt x="37" y="105"/>
                  </a:cubicBezTo>
                  <a:cubicBezTo>
                    <a:pt x="37" y="105"/>
                    <a:pt x="37" y="105"/>
                    <a:pt x="38" y="104"/>
                  </a:cubicBezTo>
                  <a:cubicBezTo>
                    <a:pt x="50" y="117"/>
                    <a:pt x="50" y="117"/>
                    <a:pt x="50" y="117"/>
                  </a:cubicBezTo>
                  <a:cubicBezTo>
                    <a:pt x="42" y="134"/>
                    <a:pt x="37" y="154"/>
                    <a:pt x="37" y="175"/>
                  </a:cubicBezTo>
                  <a:cubicBezTo>
                    <a:pt x="37" y="196"/>
                    <a:pt x="42" y="215"/>
                    <a:pt x="50" y="233"/>
                  </a:cubicBezTo>
                  <a:cubicBezTo>
                    <a:pt x="38" y="245"/>
                    <a:pt x="38" y="245"/>
                    <a:pt x="38" y="245"/>
                  </a:cubicBezTo>
                  <a:cubicBezTo>
                    <a:pt x="38" y="245"/>
                    <a:pt x="37" y="245"/>
                    <a:pt x="37" y="244"/>
                  </a:cubicBezTo>
                  <a:cubicBezTo>
                    <a:pt x="33" y="241"/>
                    <a:pt x="29" y="238"/>
                    <a:pt x="23" y="238"/>
                  </a:cubicBezTo>
                  <a:cubicBezTo>
                    <a:pt x="19" y="238"/>
                    <a:pt x="15" y="240"/>
                    <a:pt x="12" y="243"/>
                  </a:cubicBezTo>
                  <a:cubicBezTo>
                    <a:pt x="10" y="247"/>
                    <a:pt x="9" y="250"/>
                    <a:pt x="9" y="254"/>
                  </a:cubicBezTo>
                  <a:cubicBezTo>
                    <a:pt x="8" y="263"/>
                    <a:pt x="1" y="319"/>
                    <a:pt x="0" y="327"/>
                  </a:cubicBezTo>
                  <a:cubicBezTo>
                    <a:pt x="0" y="328"/>
                    <a:pt x="0" y="329"/>
                    <a:pt x="0" y="330"/>
                  </a:cubicBezTo>
                  <a:cubicBezTo>
                    <a:pt x="0" y="335"/>
                    <a:pt x="2" y="340"/>
                    <a:pt x="5" y="344"/>
                  </a:cubicBezTo>
                  <a:cubicBezTo>
                    <a:pt x="9" y="347"/>
                    <a:pt x="14" y="349"/>
                    <a:pt x="19" y="349"/>
                  </a:cubicBezTo>
                  <a:cubicBezTo>
                    <a:pt x="19" y="349"/>
                    <a:pt x="19" y="349"/>
                    <a:pt x="19" y="349"/>
                  </a:cubicBezTo>
                  <a:cubicBezTo>
                    <a:pt x="20" y="349"/>
                    <a:pt x="21" y="349"/>
                    <a:pt x="22" y="349"/>
                  </a:cubicBezTo>
                  <a:cubicBezTo>
                    <a:pt x="30" y="348"/>
                    <a:pt x="92" y="341"/>
                    <a:pt x="95" y="341"/>
                  </a:cubicBezTo>
                  <a:cubicBezTo>
                    <a:pt x="99" y="340"/>
                    <a:pt x="102" y="339"/>
                    <a:pt x="106" y="337"/>
                  </a:cubicBezTo>
                  <a:cubicBezTo>
                    <a:pt x="109" y="334"/>
                    <a:pt x="111" y="330"/>
                    <a:pt x="111" y="326"/>
                  </a:cubicBezTo>
                  <a:cubicBezTo>
                    <a:pt x="111" y="320"/>
                    <a:pt x="108" y="316"/>
                    <a:pt x="105" y="312"/>
                  </a:cubicBezTo>
                  <a:cubicBezTo>
                    <a:pt x="104" y="312"/>
                    <a:pt x="104" y="312"/>
                    <a:pt x="104" y="311"/>
                  </a:cubicBezTo>
                  <a:cubicBezTo>
                    <a:pt x="116" y="299"/>
                    <a:pt x="116" y="299"/>
                    <a:pt x="116" y="299"/>
                  </a:cubicBezTo>
                  <a:cubicBezTo>
                    <a:pt x="134" y="307"/>
                    <a:pt x="153" y="312"/>
                    <a:pt x="174" y="312"/>
                  </a:cubicBezTo>
                  <a:cubicBezTo>
                    <a:pt x="195" y="312"/>
                    <a:pt x="215" y="307"/>
                    <a:pt x="232" y="299"/>
                  </a:cubicBezTo>
                  <a:cubicBezTo>
                    <a:pt x="245" y="311"/>
                    <a:pt x="245" y="311"/>
                    <a:pt x="245" y="311"/>
                  </a:cubicBezTo>
                  <a:cubicBezTo>
                    <a:pt x="244" y="312"/>
                    <a:pt x="244" y="312"/>
                    <a:pt x="244" y="312"/>
                  </a:cubicBezTo>
                  <a:cubicBezTo>
                    <a:pt x="240" y="316"/>
                    <a:pt x="237" y="320"/>
                    <a:pt x="237" y="326"/>
                  </a:cubicBezTo>
                  <a:cubicBezTo>
                    <a:pt x="237" y="330"/>
                    <a:pt x="240" y="334"/>
                    <a:pt x="243" y="337"/>
                  </a:cubicBezTo>
                  <a:cubicBezTo>
                    <a:pt x="246" y="339"/>
                    <a:pt x="250" y="340"/>
                    <a:pt x="254" y="340"/>
                  </a:cubicBezTo>
                  <a:cubicBezTo>
                    <a:pt x="262" y="341"/>
                    <a:pt x="318" y="348"/>
                    <a:pt x="327" y="349"/>
                  </a:cubicBezTo>
                  <a:cubicBezTo>
                    <a:pt x="328" y="349"/>
                    <a:pt x="328" y="349"/>
                    <a:pt x="329" y="349"/>
                  </a:cubicBezTo>
                  <a:cubicBezTo>
                    <a:pt x="334" y="349"/>
                    <a:pt x="339" y="347"/>
                    <a:pt x="343" y="344"/>
                  </a:cubicBezTo>
                  <a:cubicBezTo>
                    <a:pt x="347" y="340"/>
                    <a:pt x="349" y="334"/>
                    <a:pt x="349" y="330"/>
                  </a:cubicBezTo>
                  <a:cubicBezTo>
                    <a:pt x="349" y="329"/>
                    <a:pt x="348" y="328"/>
                    <a:pt x="348"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TextBox 23">
              <a:extLst>
                <a:ext uri="{FF2B5EF4-FFF2-40B4-BE49-F238E27FC236}">
                  <a16:creationId xmlns:a16="http://schemas.microsoft.com/office/drawing/2014/main" id="{472478DA-F41C-4AB2-9270-487C52CB712D}"/>
                </a:ext>
              </a:extLst>
            </p:cNvPr>
            <p:cNvSpPr txBox="1"/>
            <p:nvPr/>
          </p:nvSpPr>
          <p:spPr>
            <a:xfrm>
              <a:off x="5375030" y="2579259"/>
              <a:ext cx="1554480" cy="492443"/>
            </a:xfrm>
            <a:prstGeom prst="rect">
              <a:avLst/>
            </a:prstGeom>
            <a:noFill/>
          </p:spPr>
          <p:txBody>
            <a:bodyPr wrap="square" rtlCol="0" anchor="ctr">
              <a:spAutoFit/>
            </a:bodyPr>
            <a:lstStyle/>
            <a:p>
              <a:pPr algn="ctr"/>
              <a:r>
                <a:rPr lang="en-US" sz="1300" dirty="0"/>
                <a:t>Qualified AoS from SDOD tool</a:t>
              </a:r>
            </a:p>
          </p:txBody>
        </p:sp>
        <p:sp>
          <p:nvSpPr>
            <p:cNvPr id="25" name="TextBox 24">
              <a:extLst>
                <a:ext uri="{FF2B5EF4-FFF2-40B4-BE49-F238E27FC236}">
                  <a16:creationId xmlns:a16="http://schemas.microsoft.com/office/drawing/2014/main" id="{4D3529BB-7B62-45F0-A04D-3121BB87DA1B}"/>
                </a:ext>
              </a:extLst>
            </p:cNvPr>
            <p:cNvSpPr txBox="1"/>
            <p:nvPr/>
          </p:nvSpPr>
          <p:spPr>
            <a:xfrm>
              <a:off x="5375030" y="5276992"/>
              <a:ext cx="1505272" cy="692497"/>
            </a:xfrm>
            <a:prstGeom prst="rect">
              <a:avLst/>
            </a:prstGeom>
            <a:noFill/>
          </p:spPr>
          <p:txBody>
            <a:bodyPr wrap="square" rtlCol="0" anchor="ctr">
              <a:spAutoFit/>
            </a:bodyPr>
            <a:lstStyle/>
            <a:p>
              <a:pPr algn="ctr"/>
              <a:r>
                <a:rPr lang="en-US" sz="1300" dirty="0"/>
                <a:t>Add approval CCB Steering or Project flow  </a:t>
              </a:r>
            </a:p>
          </p:txBody>
        </p:sp>
        <p:sp>
          <p:nvSpPr>
            <p:cNvPr id="26" name="TextBox 25">
              <a:extLst>
                <a:ext uri="{FF2B5EF4-FFF2-40B4-BE49-F238E27FC236}">
                  <a16:creationId xmlns:a16="http://schemas.microsoft.com/office/drawing/2014/main" id="{04A39250-39D9-4DA0-9D35-39A19D7CE2F7}"/>
                </a:ext>
              </a:extLst>
            </p:cNvPr>
            <p:cNvSpPr txBox="1"/>
            <p:nvPr/>
          </p:nvSpPr>
          <p:spPr>
            <a:xfrm>
              <a:off x="6661069" y="3206350"/>
              <a:ext cx="1188720" cy="292388"/>
            </a:xfrm>
            <a:prstGeom prst="rect">
              <a:avLst/>
            </a:prstGeom>
            <a:noFill/>
          </p:spPr>
          <p:txBody>
            <a:bodyPr wrap="square" rtlCol="0" anchor="ctr">
              <a:spAutoFit/>
            </a:bodyPr>
            <a:lstStyle/>
            <a:p>
              <a:pPr algn="ctr"/>
              <a:r>
                <a:rPr lang="en-US" sz="1300" dirty="0"/>
                <a:t>Create CR</a:t>
              </a:r>
            </a:p>
          </p:txBody>
        </p:sp>
        <p:sp>
          <p:nvSpPr>
            <p:cNvPr id="27" name="TextBox 26">
              <a:extLst>
                <a:ext uri="{FF2B5EF4-FFF2-40B4-BE49-F238E27FC236}">
                  <a16:creationId xmlns:a16="http://schemas.microsoft.com/office/drawing/2014/main" id="{9EA1566A-5F48-47DC-8190-EB16E38FE8C1}"/>
                </a:ext>
              </a:extLst>
            </p:cNvPr>
            <p:cNvSpPr txBox="1"/>
            <p:nvPr/>
          </p:nvSpPr>
          <p:spPr>
            <a:xfrm>
              <a:off x="4411500" y="3158420"/>
              <a:ext cx="1188720" cy="292388"/>
            </a:xfrm>
            <a:prstGeom prst="rect">
              <a:avLst/>
            </a:prstGeom>
            <a:noFill/>
          </p:spPr>
          <p:txBody>
            <a:bodyPr wrap="square" rtlCol="0" anchor="ctr">
              <a:spAutoFit/>
            </a:bodyPr>
            <a:lstStyle/>
            <a:p>
              <a:pPr algn="ctr"/>
              <a:r>
                <a:rPr lang="en-US" sz="1300" dirty="0"/>
                <a:t>*CCB</a:t>
              </a:r>
            </a:p>
          </p:txBody>
        </p:sp>
        <p:sp>
          <p:nvSpPr>
            <p:cNvPr id="28" name="TextBox 27">
              <a:extLst>
                <a:ext uri="{FF2B5EF4-FFF2-40B4-BE49-F238E27FC236}">
                  <a16:creationId xmlns:a16="http://schemas.microsoft.com/office/drawing/2014/main" id="{581E11B5-3C0A-4435-875F-67EB796FF225}"/>
                </a:ext>
              </a:extLst>
            </p:cNvPr>
            <p:cNvSpPr txBox="1"/>
            <p:nvPr/>
          </p:nvSpPr>
          <p:spPr>
            <a:xfrm>
              <a:off x="6711083" y="5003227"/>
              <a:ext cx="1188720" cy="692497"/>
            </a:xfrm>
            <a:prstGeom prst="rect">
              <a:avLst/>
            </a:prstGeom>
            <a:noFill/>
          </p:spPr>
          <p:txBody>
            <a:bodyPr wrap="square" rtlCol="0" anchor="ctr">
              <a:spAutoFit/>
            </a:bodyPr>
            <a:lstStyle/>
            <a:p>
              <a:pPr algn="ctr"/>
              <a:r>
                <a:rPr lang="en-US" sz="1300" dirty="0"/>
                <a:t>Add Status, Financials &amp; Schedule</a:t>
              </a:r>
            </a:p>
          </p:txBody>
        </p:sp>
        <p:sp>
          <p:nvSpPr>
            <p:cNvPr id="29" name="TextBox 28">
              <a:extLst>
                <a:ext uri="{FF2B5EF4-FFF2-40B4-BE49-F238E27FC236}">
                  <a16:creationId xmlns:a16="http://schemas.microsoft.com/office/drawing/2014/main" id="{28C92035-4F1E-4A83-AAE3-44C9D24D8637}"/>
                </a:ext>
              </a:extLst>
            </p:cNvPr>
            <p:cNvSpPr txBox="1"/>
            <p:nvPr/>
          </p:nvSpPr>
          <p:spPr>
            <a:xfrm>
              <a:off x="4312234" y="4989775"/>
              <a:ext cx="1306744" cy="492443"/>
            </a:xfrm>
            <a:prstGeom prst="rect">
              <a:avLst/>
            </a:prstGeom>
            <a:noFill/>
          </p:spPr>
          <p:txBody>
            <a:bodyPr wrap="square" rtlCol="0" anchor="ctr">
              <a:spAutoFit/>
            </a:bodyPr>
            <a:lstStyle/>
            <a:p>
              <a:pPr algn="ctr"/>
              <a:r>
                <a:rPr lang="en-US" sz="1300" dirty="0"/>
                <a:t>Update status </a:t>
              </a:r>
            </a:p>
            <a:p>
              <a:pPr algn="ctr"/>
              <a:r>
                <a:rPr lang="en-US" sz="1300" dirty="0"/>
                <a:t>In GC</a:t>
              </a:r>
            </a:p>
          </p:txBody>
        </p:sp>
      </p:grpSp>
    </p:spTree>
    <p:extLst>
      <p:ext uri="{BB962C8B-B14F-4D97-AF65-F5344CB8AC3E}">
        <p14:creationId xmlns:p14="http://schemas.microsoft.com/office/powerpoint/2010/main" val="3877823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C8F042-1B2D-4100-A348-0B3B7C297952}"/>
              </a:ext>
            </a:extLst>
          </p:cNvPr>
          <p:cNvSpPr>
            <a:spLocks noGrp="1"/>
          </p:cNvSpPr>
          <p:nvPr>
            <p:ph sz="quarter" idx="12"/>
          </p:nvPr>
        </p:nvSpPr>
        <p:spPr>
          <a:xfrm>
            <a:off x="8447080" y="1762919"/>
            <a:ext cx="3266175" cy="1875015"/>
          </a:xfrm>
          <a:ln>
            <a:solidFill>
              <a:schemeClr val="bg1"/>
            </a:solidFill>
          </a:ln>
        </p:spPr>
        <p:txBody>
          <a:bodyPr/>
          <a:lstStyle/>
          <a:p>
            <a:pPr>
              <a:buFont typeface="Wingdings" panose="05000000000000000000" pitchFamily="2" charset="2"/>
              <a:buChar char="§"/>
            </a:pPr>
            <a:r>
              <a:rPr lang="en-US" sz="1200" dirty="0">
                <a:hlinkClick r:id="rId3"/>
              </a:rPr>
              <a:t>CR Handling in Global Chronos</a:t>
            </a:r>
            <a:endParaRPr lang="en-US" sz="1200" dirty="0"/>
          </a:p>
          <a:p>
            <a:pPr marL="642937" lvl="1" indent="-285750">
              <a:buFont typeface="Wingdings" panose="05000000000000000000" pitchFamily="2" charset="2"/>
              <a:buChar char="§"/>
            </a:pPr>
            <a:r>
              <a:rPr lang="en-US" sz="1200" dirty="0"/>
              <a:t>For CPM &amp; Project team. Step A</a:t>
            </a:r>
          </a:p>
          <a:p>
            <a:pPr>
              <a:buFont typeface="Wingdings" panose="05000000000000000000" pitchFamily="2" charset="2"/>
              <a:buChar char="§"/>
            </a:pPr>
            <a:r>
              <a:rPr lang="en-US" sz="1200" dirty="0">
                <a:hlinkClick r:id="rId4"/>
              </a:rPr>
              <a:t>CR Creation in Global Chronos</a:t>
            </a:r>
            <a:endParaRPr lang="en-US" sz="1200" dirty="0"/>
          </a:p>
          <a:p>
            <a:pPr marL="642937" lvl="1" indent="-285750">
              <a:buFont typeface="Wingdings" panose="05000000000000000000" pitchFamily="2" charset="2"/>
              <a:buChar char="§"/>
            </a:pPr>
            <a:r>
              <a:rPr lang="en-US" sz="1200" dirty="0"/>
              <a:t>For CPM &amp; Project team. Step A</a:t>
            </a:r>
          </a:p>
          <a:p>
            <a:pPr>
              <a:buFont typeface="Wingdings" panose="05000000000000000000" pitchFamily="2" charset="2"/>
              <a:buChar char="§"/>
            </a:pPr>
            <a:r>
              <a:rPr lang="en-US" sz="1200" dirty="0">
                <a:hlinkClick r:id="rId5"/>
              </a:rPr>
              <a:t>CR Process Flow – XLPM</a:t>
            </a:r>
            <a:endParaRPr lang="en-US" sz="1200" dirty="0"/>
          </a:p>
          <a:p>
            <a:pPr>
              <a:buFont typeface="Wingdings" panose="05000000000000000000" pitchFamily="2" charset="2"/>
              <a:buChar char="§"/>
            </a:pPr>
            <a:r>
              <a:rPr lang="en-US" sz="1200" dirty="0">
                <a:hlinkClick r:id="rId6"/>
              </a:rPr>
              <a:t>Change Planning Checklist - XLPM</a:t>
            </a:r>
            <a:endParaRPr lang="en-US" sz="1200" dirty="0"/>
          </a:p>
          <a:p>
            <a:pPr>
              <a:buFont typeface="Wingdings" panose="05000000000000000000" pitchFamily="2" charset="2"/>
              <a:buChar char="§"/>
            </a:pPr>
            <a:r>
              <a:rPr lang="en-US" sz="1200" u="sng" dirty="0">
                <a:hlinkClick r:id="rId7"/>
              </a:rPr>
              <a:t>CR Process PROPS-C</a:t>
            </a:r>
          </a:p>
          <a:p>
            <a:pPr marL="0" indent="0">
              <a:buNone/>
            </a:pPr>
            <a:endParaRPr lang="en-US" sz="800" dirty="0"/>
          </a:p>
          <a:p>
            <a:endParaRPr lang="en-US" sz="1200" dirty="0"/>
          </a:p>
          <a:p>
            <a:endParaRPr lang="en-US" sz="1200" dirty="0"/>
          </a:p>
        </p:txBody>
      </p:sp>
      <p:sp>
        <p:nvSpPr>
          <p:cNvPr id="3" name="Content Placeholder 2">
            <a:extLst>
              <a:ext uri="{FF2B5EF4-FFF2-40B4-BE49-F238E27FC236}">
                <a16:creationId xmlns:a16="http://schemas.microsoft.com/office/drawing/2014/main" id="{226E21F6-5D17-414E-BA75-3799EC6A1D49}"/>
              </a:ext>
            </a:extLst>
          </p:cNvPr>
          <p:cNvSpPr>
            <a:spLocks noGrp="1"/>
          </p:cNvSpPr>
          <p:nvPr>
            <p:ph sz="quarter" idx="11"/>
          </p:nvPr>
        </p:nvSpPr>
        <p:spPr>
          <a:xfrm>
            <a:off x="558167" y="2014747"/>
            <a:ext cx="7707142" cy="4798823"/>
          </a:xfrm>
          <a:solidFill>
            <a:schemeClr val="tx1">
              <a:lumMod val="75000"/>
              <a:lumOff val="25000"/>
            </a:schemeClr>
          </a:solidFill>
          <a:ln>
            <a:solidFill>
              <a:schemeClr val="bg1">
                <a:lumMod val="50000"/>
              </a:schemeClr>
            </a:solidFill>
          </a:ln>
        </p:spPr>
        <p:txBody>
          <a:bodyPr/>
          <a:lstStyle/>
          <a:p>
            <a:pPr marL="0" indent="0">
              <a:buNone/>
            </a:pPr>
            <a:endParaRPr lang="en-US" sz="1000" dirty="0"/>
          </a:p>
          <a:p>
            <a:pPr marL="0" indent="0">
              <a:buNone/>
            </a:pPr>
            <a:endParaRPr lang="en-US" sz="1000" dirty="0"/>
          </a:p>
          <a:p>
            <a:pPr marL="0" indent="0">
              <a:buNone/>
            </a:pPr>
            <a:endParaRPr lang="en-US" sz="1000" dirty="0"/>
          </a:p>
          <a:p>
            <a:pPr marL="0" indent="0">
              <a:buNone/>
            </a:pPr>
            <a:endParaRPr lang="en-US" sz="1000" dirty="0"/>
          </a:p>
          <a:p>
            <a:pPr marL="0" indent="0">
              <a:buNone/>
            </a:pPr>
            <a:endParaRPr lang="en-US" sz="1000" dirty="0"/>
          </a:p>
          <a:p>
            <a:pPr marL="0" indent="0">
              <a:buNone/>
            </a:pPr>
            <a:endParaRPr lang="en-US" sz="1000" dirty="0"/>
          </a:p>
          <a:p>
            <a:pPr marL="0" indent="0">
              <a:buClr>
                <a:schemeClr val="bg2">
                  <a:lumMod val="50000"/>
                </a:schemeClr>
              </a:buClr>
              <a:buNone/>
            </a:pPr>
            <a:endParaRPr lang="en-US" sz="1000" dirty="0">
              <a:solidFill>
                <a:schemeClr val="bg1">
                  <a:lumMod val="50000"/>
                </a:schemeClr>
              </a:solidFill>
            </a:endParaRPr>
          </a:p>
        </p:txBody>
      </p:sp>
      <p:pic>
        <p:nvPicPr>
          <p:cNvPr id="13" name="Graphic 12">
            <a:extLst>
              <a:ext uri="{FF2B5EF4-FFF2-40B4-BE49-F238E27FC236}">
                <a16:creationId xmlns:a16="http://schemas.microsoft.com/office/drawing/2014/main" id="{4941EAEB-46C9-42AE-AD27-0CB0CA1B2F7E}"/>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7831940" y="1433747"/>
            <a:ext cx="325136" cy="325136"/>
          </a:xfrm>
          <a:prstGeom prst="rect">
            <a:avLst/>
          </a:prstGeom>
        </p:spPr>
      </p:pic>
      <p:pic>
        <p:nvPicPr>
          <p:cNvPr id="14" name="Graphic 13">
            <a:extLst>
              <a:ext uri="{FF2B5EF4-FFF2-40B4-BE49-F238E27FC236}">
                <a16:creationId xmlns:a16="http://schemas.microsoft.com/office/drawing/2014/main" id="{10A820C3-445C-4F86-AE5C-6BE6E306D4D4}"/>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11002475" y="1240735"/>
            <a:ext cx="271932" cy="325136"/>
          </a:xfrm>
          <a:prstGeom prst="rect">
            <a:avLst/>
          </a:prstGeom>
        </p:spPr>
      </p:pic>
      <p:sp>
        <p:nvSpPr>
          <p:cNvPr id="15" name="TextBox 14">
            <a:extLst>
              <a:ext uri="{FF2B5EF4-FFF2-40B4-BE49-F238E27FC236}">
                <a16:creationId xmlns:a16="http://schemas.microsoft.com/office/drawing/2014/main" id="{E16FE3C5-4CF8-4015-A160-8819F25FBEA8}"/>
              </a:ext>
            </a:extLst>
          </p:cNvPr>
          <p:cNvSpPr txBox="1"/>
          <p:nvPr/>
        </p:nvSpPr>
        <p:spPr>
          <a:xfrm>
            <a:off x="1189028" y="665132"/>
            <a:ext cx="5198709" cy="415755"/>
          </a:xfrm>
          <a:prstGeom prst="rect">
            <a:avLst/>
          </a:prstGeom>
          <a:noFill/>
        </p:spPr>
        <p:txBody>
          <a:bodyPr wrap="square" rtlCol="0" anchor="ctr">
            <a:spAutoFit/>
          </a:bodyPr>
          <a:lstStyle/>
          <a:p>
            <a:pPr>
              <a:lnSpc>
                <a:spcPct val="80000"/>
              </a:lnSpc>
              <a:spcBef>
                <a:spcPts val="0"/>
              </a:spcBef>
            </a:pPr>
            <a:r>
              <a:rPr lang="en-US" sz="2600" dirty="0">
                <a:solidFill>
                  <a:srgbClr val="89BA17"/>
                </a:solidFill>
                <a:latin typeface="+mj-lt"/>
              </a:rPr>
              <a:t>Global Chronos Change Request</a:t>
            </a:r>
            <a:endParaRPr lang="en-US" sz="2650" dirty="0">
              <a:solidFill>
                <a:srgbClr val="89BA17"/>
              </a:solidFill>
              <a:latin typeface="+mj-lt"/>
            </a:endParaRPr>
          </a:p>
        </p:txBody>
      </p:sp>
      <p:sp>
        <p:nvSpPr>
          <p:cNvPr id="16" name="Freeform 3">
            <a:extLst>
              <a:ext uri="{FF2B5EF4-FFF2-40B4-BE49-F238E27FC236}">
                <a16:creationId xmlns:a16="http://schemas.microsoft.com/office/drawing/2014/main" id="{02167767-8BC4-4F35-9656-9983E257D2A2}"/>
              </a:ext>
            </a:extLst>
          </p:cNvPr>
          <p:cNvSpPr>
            <a:spLocks noChangeAspect="1" noEditPoints="1"/>
          </p:cNvSpPr>
          <p:nvPr/>
        </p:nvSpPr>
        <p:spPr bwMode="auto">
          <a:xfrm>
            <a:off x="479424" y="493951"/>
            <a:ext cx="682668" cy="626012"/>
          </a:xfrm>
          <a:custGeom>
            <a:avLst/>
            <a:gdLst>
              <a:gd name="T0" fmla="*/ 2147483647 w 277"/>
              <a:gd name="T1" fmla="*/ 0 h 278"/>
              <a:gd name="T2" fmla="*/ 2147483647 w 277"/>
              <a:gd name="T3" fmla="*/ 0 h 278"/>
              <a:gd name="T4" fmla="*/ 2147483647 w 277"/>
              <a:gd name="T5" fmla="*/ 2147483647 h 278"/>
              <a:gd name="T6" fmla="*/ 2147483647 w 277"/>
              <a:gd name="T7" fmla="*/ 2147483647 h 278"/>
              <a:gd name="T8" fmla="*/ 2147483647 w 277"/>
              <a:gd name="T9" fmla="*/ 2147483647 h 278"/>
              <a:gd name="T10" fmla="*/ 2147483647 w 277"/>
              <a:gd name="T11" fmla="*/ 2147483647 h 278"/>
              <a:gd name="T12" fmla="*/ 2147483647 w 277"/>
              <a:gd name="T13" fmla="*/ 2147483647 h 278"/>
              <a:gd name="T14" fmla="*/ 2147483647 w 277"/>
              <a:gd name="T15" fmla="*/ 2147483647 h 278"/>
              <a:gd name="T16" fmla="*/ 2147483647 w 277"/>
              <a:gd name="T17" fmla="*/ 0 h 278"/>
              <a:gd name="T18" fmla="*/ 2147483647 w 277"/>
              <a:gd name="T19" fmla="*/ 2147483647 h 278"/>
              <a:gd name="T20" fmla="*/ 2147483647 w 277"/>
              <a:gd name="T21" fmla="*/ 2147483647 h 278"/>
              <a:gd name="T22" fmla="*/ 2147483647 w 277"/>
              <a:gd name="T23" fmla="*/ 2147483647 h 278"/>
              <a:gd name="T24" fmla="*/ 2147483647 w 277"/>
              <a:gd name="T25" fmla="*/ 2147483647 h 278"/>
              <a:gd name="T26" fmla="*/ 2147483647 w 277"/>
              <a:gd name="T27" fmla="*/ 2147483647 h 278"/>
              <a:gd name="T28" fmla="*/ 2147483647 w 277"/>
              <a:gd name="T29" fmla="*/ 2147483647 h 278"/>
              <a:gd name="T30" fmla="*/ 2147483647 w 277"/>
              <a:gd name="T31" fmla="*/ 2147483647 h 278"/>
              <a:gd name="T32" fmla="*/ 2147483647 w 277"/>
              <a:gd name="T33" fmla="*/ 2147483647 h 278"/>
              <a:gd name="T34" fmla="*/ 2147483647 w 277"/>
              <a:gd name="T35" fmla="*/ 2147483647 h 278"/>
              <a:gd name="T36" fmla="*/ 2147483647 w 277"/>
              <a:gd name="T37" fmla="*/ 2147483647 h 278"/>
              <a:gd name="T38" fmla="*/ 2147483647 w 277"/>
              <a:gd name="T39" fmla="*/ 2147483647 h 278"/>
              <a:gd name="T40" fmla="*/ 0 w 277"/>
              <a:gd name="T41" fmla="*/ 2147483647 h 278"/>
              <a:gd name="T42" fmla="*/ 0 w 277"/>
              <a:gd name="T43" fmla="*/ 2147483647 h 278"/>
              <a:gd name="T44" fmla="*/ 2147483647 w 277"/>
              <a:gd name="T45" fmla="*/ 2147483647 h 278"/>
              <a:gd name="T46" fmla="*/ 2147483647 w 277"/>
              <a:gd name="T47" fmla="*/ 2147483647 h 278"/>
              <a:gd name="T48" fmla="*/ 2147483647 w 277"/>
              <a:gd name="T49" fmla="*/ 2147483647 h 278"/>
              <a:gd name="T50" fmla="*/ 2147483647 w 277"/>
              <a:gd name="T51" fmla="*/ 2147483647 h 278"/>
              <a:gd name="T52" fmla="*/ 2147483647 w 277"/>
              <a:gd name="T53" fmla="*/ 2147483647 h 278"/>
              <a:gd name="T54" fmla="*/ 2147483647 w 277"/>
              <a:gd name="T55" fmla="*/ 2147483647 h 278"/>
              <a:gd name="T56" fmla="*/ 2147483647 w 277"/>
              <a:gd name="T57" fmla="*/ 2147483647 h 278"/>
              <a:gd name="T58" fmla="*/ 2147483647 w 277"/>
              <a:gd name="T59" fmla="*/ 2147483647 h 278"/>
              <a:gd name="T60" fmla="*/ 2147483647 w 277"/>
              <a:gd name="T61" fmla="*/ 2147483647 h 278"/>
              <a:gd name="T62" fmla="*/ 2147483647 w 277"/>
              <a:gd name="T63" fmla="*/ 2147483647 h 278"/>
              <a:gd name="T64" fmla="*/ 2147483647 w 277"/>
              <a:gd name="T65" fmla="*/ 2147483647 h 278"/>
              <a:gd name="T66" fmla="*/ 2147483647 w 277"/>
              <a:gd name="T67" fmla="*/ 2147483647 h 278"/>
              <a:gd name="T68" fmla="*/ 2147483647 w 277"/>
              <a:gd name="T69" fmla="*/ 2147483647 h 278"/>
              <a:gd name="T70" fmla="*/ 2147483647 w 277"/>
              <a:gd name="T71" fmla="*/ 2147483647 h 278"/>
              <a:gd name="T72" fmla="*/ 2147483647 w 277"/>
              <a:gd name="T73" fmla="*/ 2147483647 h 278"/>
              <a:gd name="T74" fmla="*/ 2147483647 w 277"/>
              <a:gd name="T75" fmla="*/ 2147483647 h 278"/>
              <a:gd name="T76" fmla="*/ 2147483647 w 277"/>
              <a:gd name="T77" fmla="*/ 2147483647 h 278"/>
              <a:gd name="T78" fmla="*/ 2147483647 w 277"/>
              <a:gd name="T79" fmla="*/ 2147483647 h 278"/>
              <a:gd name="T80" fmla="*/ 2147483647 w 277"/>
              <a:gd name="T81" fmla="*/ 2147483647 h 278"/>
              <a:gd name="T82" fmla="*/ 2147483647 w 277"/>
              <a:gd name="T83" fmla="*/ 2147483647 h 278"/>
              <a:gd name="T84" fmla="*/ 2147483647 w 277"/>
              <a:gd name="T85" fmla="*/ 2147483647 h 278"/>
              <a:gd name="T86" fmla="*/ 2147483647 w 277"/>
              <a:gd name="T87" fmla="*/ 2147483647 h 278"/>
              <a:gd name="T88" fmla="*/ 2147483647 w 277"/>
              <a:gd name="T89" fmla="*/ 2147483647 h 2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77" h="278">
                <a:moveTo>
                  <a:pt x="84" y="0"/>
                </a:moveTo>
                <a:cubicBezTo>
                  <a:pt x="72" y="0"/>
                  <a:pt x="72" y="0"/>
                  <a:pt x="72" y="0"/>
                </a:cubicBezTo>
                <a:cubicBezTo>
                  <a:pt x="65" y="0"/>
                  <a:pt x="60" y="6"/>
                  <a:pt x="60" y="13"/>
                </a:cubicBezTo>
                <a:cubicBezTo>
                  <a:pt x="60" y="265"/>
                  <a:pt x="60" y="265"/>
                  <a:pt x="60" y="265"/>
                </a:cubicBezTo>
                <a:cubicBezTo>
                  <a:pt x="60" y="272"/>
                  <a:pt x="65" y="278"/>
                  <a:pt x="72" y="278"/>
                </a:cubicBezTo>
                <a:cubicBezTo>
                  <a:pt x="84" y="278"/>
                  <a:pt x="84" y="278"/>
                  <a:pt x="84" y="278"/>
                </a:cubicBezTo>
                <a:cubicBezTo>
                  <a:pt x="92" y="278"/>
                  <a:pt x="97" y="272"/>
                  <a:pt x="97" y="265"/>
                </a:cubicBezTo>
                <a:cubicBezTo>
                  <a:pt x="97" y="13"/>
                  <a:pt x="97" y="13"/>
                  <a:pt x="97" y="13"/>
                </a:cubicBezTo>
                <a:cubicBezTo>
                  <a:pt x="97" y="6"/>
                  <a:pt x="92" y="0"/>
                  <a:pt x="84" y="0"/>
                </a:cubicBezTo>
                <a:close/>
                <a:moveTo>
                  <a:pt x="144" y="98"/>
                </a:moveTo>
                <a:cubicBezTo>
                  <a:pt x="132" y="98"/>
                  <a:pt x="132" y="98"/>
                  <a:pt x="132" y="98"/>
                </a:cubicBezTo>
                <a:cubicBezTo>
                  <a:pt x="125" y="98"/>
                  <a:pt x="119" y="104"/>
                  <a:pt x="119" y="111"/>
                </a:cubicBezTo>
                <a:cubicBezTo>
                  <a:pt x="119" y="265"/>
                  <a:pt x="119" y="265"/>
                  <a:pt x="119" y="265"/>
                </a:cubicBezTo>
                <a:cubicBezTo>
                  <a:pt x="119" y="272"/>
                  <a:pt x="125" y="278"/>
                  <a:pt x="132" y="278"/>
                </a:cubicBezTo>
                <a:cubicBezTo>
                  <a:pt x="144" y="278"/>
                  <a:pt x="144" y="278"/>
                  <a:pt x="144" y="278"/>
                </a:cubicBezTo>
                <a:cubicBezTo>
                  <a:pt x="151" y="278"/>
                  <a:pt x="157" y="272"/>
                  <a:pt x="157" y="265"/>
                </a:cubicBezTo>
                <a:cubicBezTo>
                  <a:pt x="157" y="111"/>
                  <a:pt x="157" y="111"/>
                  <a:pt x="157" y="111"/>
                </a:cubicBezTo>
                <a:cubicBezTo>
                  <a:pt x="157" y="104"/>
                  <a:pt x="151" y="98"/>
                  <a:pt x="144" y="98"/>
                </a:cubicBezTo>
                <a:close/>
                <a:moveTo>
                  <a:pt x="25" y="144"/>
                </a:moveTo>
                <a:cubicBezTo>
                  <a:pt x="13" y="144"/>
                  <a:pt x="13" y="144"/>
                  <a:pt x="13" y="144"/>
                </a:cubicBezTo>
                <a:cubicBezTo>
                  <a:pt x="6" y="144"/>
                  <a:pt x="0" y="149"/>
                  <a:pt x="0" y="157"/>
                </a:cubicBezTo>
                <a:cubicBezTo>
                  <a:pt x="0" y="265"/>
                  <a:pt x="0" y="265"/>
                  <a:pt x="0" y="265"/>
                </a:cubicBezTo>
                <a:cubicBezTo>
                  <a:pt x="0" y="272"/>
                  <a:pt x="6" y="278"/>
                  <a:pt x="13" y="278"/>
                </a:cubicBezTo>
                <a:cubicBezTo>
                  <a:pt x="25" y="278"/>
                  <a:pt x="25" y="278"/>
                  <a:pt x="25" y="278"/>
                </a:cubicBezTo>
                <a:cubicBezTo>
                  <a:pt x="32" y="278"/>
                  <a:pt x="38" y="272"/>
                  <a:pt x="38" y="265"/>
                </a:cubicBezTo>
                <a:cubicBezTo>
                  <a:pt x="38" y="157"/>
                  <a:pt x="38" y="157"/>
                  <a:pt x="38" y="157"/>
                </a:cubicBezTo>
                <a:cubicBezTo>
                  <a:pt x="38" y="149"/>
                  <a:pt x="32" y="144"/>
                  <a:pt x="25" y="144"/>
                </a:cubicBezTo>
                <a:close/>
                <a:moveTo>
                  <a:pt x="204" y="184"/>
                </a:moveTo>
                <a:cubicBezTo>
                  <a:pt x="192" y="184"/>
                  <a:pt x="192" y="184"/>
                  <a:pt x="192" y="184"/>
                </a:cubicBezTo>
                <a:cubicBezTo>
                  <a:pt x="185" y="184"/>
                  <a:pt x="179" y="190"/>
                  <a:pt x="179" y="197"/>
                </a:cubicBezTo>
                <a:cubicBezTo>
                  <a:pt x="179" y="265"/>
                  <a:pt x="179" y="265"/>
                  <a:pt x="179" y="265"/>
                </a:cubicBezTo>
                <a:cubicBezTo>
                  <a:pt x="179" y="272"/>
                  <a:pt x="185" y="278"/>
                  <a:pt x="192" y="278"/>
                </a:cubicBezTo>
                <a:cubicBezTo>
                  <a:pt x="204" y="278"/>
                  <a:pt x="204" y="278"/>
                  <a:pt x="204" y="278"/>
                </a:cubicBezTo>
                <a:cubicBezTo>
                  <a:pt x="211" y="278"/>
                  <a:pt x="217" y="272"/>
                  <a:pt x="217" y="265"/>
                </a:cubicBezTo>
                <a:cubicBezTo>
                  <a:pt x="217" y="197"/>
                  <a:pt x="217" y="197"/>
                  <a:pt x="217" y="197"/>
                </a:cubicBezTo>
                <a:cubicBezTo>
                  <a:pt x="217" y="190"/>
                  <a:pt x="211" y="184"/>
                  <a:pt x="204" y="184"/>
                </a:cubicBezTo>
                <a:close/>
                <a:moveTo>
                  <a:pt x="264" y="52"/>
                </a:moveTo>
                <a:cubicBezTo>
                  <a:pt x="252" y="52"/>
                  <a:pt x="252" y="52"/>
                  <a:pt x="252" y="52"/>
                </a:cubicBezTo>
                <a:cubicBezTo>
                  <a:pt x="244" y="52"/>
                  <a:pt x="239" y="58"/>
                  <a:pt x="239" y="65"/>
                </a:cubicBezTo>
                <a:cubicBezTo>
                  <a:pt x="239" y="265"/>
                  <a:pt x="239" y="265"/>
                  <a:pt x="239" y="265"/>
                </a:cubicBezTo>
                <a:cubicBezTo>
                  <a:pt x="239" y="272"/>
                  <a:pt x="244" y="278"/>
                  <a:pt x="252" y="278"/>
                </a:cubicBezTo>
                <a:cubicBezTo>
                  <a:pt x="264" y="278"/>
                  <a:pt x="264" y="278"/>
                  <a:pt x="264" y="278"/>
                </a:cubicBezTo>
                <a:cubicBezTo>
                  <a:pt x="271" y="278"/>
                  <a:pt x="277" y="272"/>
                  <a:pt x="277" y="265"/>
                </a:cubicBezTo>
                <a:cubicBezTo>
                  <a:pt x="277" y="65"/>
                  <a:pt x="277" y="65"/>
                  <a:pt x="277" y="65"/>
                </a:cubicBezTo>
                <a:cubicBezTo>
                  <a:pt x="277" y="58"/>
                  <a:pt x="271" y="52"/>
                  <a:pt x="264" y="52"/>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89BA17"/>
              </a:solidFill>
            </a:endParaRPr>
          </a:p>
        </p:txBody>
      </p:sp>
      <p:sp>
        <p:nvSpPr>
          <p:cNvPr id="18" name="Rectangle 17">
            <a:extLst>
              <a:ext uri="{FF2B5EF4-FFF2-40B4-BE49-F238E27FC236}">
                <a16:creationId xmlns:a16="http://schemas.microsoft.com/office/drawing/2014/main" id="{FE9D53EC-4109-469B-B5E7-40A5AAC379D3}"/>
              </a:ext>
            </a:extLst>
          </p:cNvPr>
          <p:cNvSpPr/>
          <p:nvPr/>
        </p:nvSpPr>
        <p:spPr>
          <a:xfrm>
            <a:off x="5404020" y="333235"/>
            <a:ext cx="6096000" cy="800219"/>
          </a:xfrm>
          <a:prstGeom prst="rect">
            <a:avLst/>
          </a:prstGeom>
        </p:spPr>
        <p:txBody>
          <a:bodyPr>
            <a:spAutoFit/>
          </a:bodyPr>
          <a:lstStyle/>
          <a:p>
            <a:pPr marL="0" lvl="1" algn="ctr" fontAlgn="base">
              <a:spcBef>
                <a:spcPct val="0"/>
              </a:spcBef>
              <a:spcAft>
                <a:spcPct val="0"/>
              </a:spcAft>
              <a:defRPr/>
            </a:pPr>
            <a:r>
              <a:rPr lang="en-US" b="1" dirty="0">
                <a:solidFill>
                  <a:srgbClr val="181818"/>
                </a:solidFill>
                <a:latin typeface="Arial" charset="0"/>
                <a:cs typeface="Arial" charset="0"/>
              </a:rPr>
              <a:t>Improve Visibility</a:t>
            </a:r>
            <a:r>
              <a:rPr lang="en-US" sz="1400" dirty="0">
                <a:solidFill>
                  <a:srgbClr val="181818"/>
                </a:solidFill>
                <a:latin typeface="Arial" charset="0"/>
                <a:cs typeface="Arial" charset="0"/>
              </a:rPr>
              <a:t/>
            </a:r>
            <a:br>
              <a:rPr lang="en-US" sz="1400" dirty="0">
                <a:solidFill>
                  <a:srgbClr val="181818"/>
                </a:solidFill>
                <a:latin typeface="Arial" charset="0"/>
                <a:cs typeface="Arial" charset="0"/>
              </a:rPr>
            </a:br>
            <a:r>
              <a:rPr lang="en-US" sz="1400" dirty="0">
                <a:solidFill>
                  <a:srgbClr val="181818"/>
                </a:solidFill>
                <a:latin typeface="Arial" charset="0"/>
                <a:cs typeface="Arial" charset="0"/>
              </a:rPr>
              <a:t>Change Requests enforced for all significant changes</a:t>
            </a:r>
          </a:p>
          <a:p>
            <a:pPr marL="0" lvl="1" algn="ctr" fontAlgn="base">
              <a:spcBef>
                <a:spcPct val="0"/>
              </a:spcBef>
              <a:spcAft>
                <a:spcPct val="0"/>
              </a:spcAft>
              <a:defRPr/>
            </a:pPr>
            <a:r>
              <a:rPr lang="en-US" sz="1400" dirty="0">
                <a:solidFill>
                  <a:srgbClr val="181818"/>
                </a:solidFill>
                <a:latin typeface="Arial" charset="0"/>
                <a:cs typeface="Arial" charset="0"/>
              </a:rPr>
              <a:t>Clearer financial tracking &amp; project control of changes</a:t>
            </a:r>
          </a:p>
        </p:txBody>
      </p:sp>
      <p:sp>
        <p:nvSpPr>
          <p:cNvPr id="17" name="Rectangle 16">
            <a:extLst>
              <a:ext uri="{FF2B5EF4-FFF2-40B4-BE49-F238E27FC236}">
                <a16:creationId xmlns:a16="http://schemas.microsoft.com/office/drawing/2014/main" id="{F77ED170-5F10-4D4B-A38F-B887D7258FE8}"/>
              </a:ext>
            </a:extLst>
          </p:cNvPr>
          <p:cNvSpPr/>
          <p:nvPr/>
        </p:nvSpPr>
        <p:spPr bwMode="auto">
          <a:xfrm>
            <a:off x="572792" y="1177883"/>
            <a:ext cx="7707142" cy="836865"/>
          </a:xfrm>
          <a:prstGeom prst="rect">
            <a:avLst/>
          </a:prstGeom>
          <a:noFill/>
          <a:ln w="12700" cap="flat" cmpd="sng" algn="ctr">
            <a:solidFill>
              <a:schemeClr val="bg1">
                <a:lumMod val="50000"/>
              </a:schemeClr>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en-US" sz="1000" dirty="0"/>
              <a:t>The purpose of </a:t>
            </a:r>
            <a:r>
              <a:rPr lang="en-US" sz="1000" b="1" dirty="0">
                <a:solidFill>
                  <a:srgbClr val="92D050"/>
                </a:solidFill>
              </a:rPr>
              <a:t>Change Request </a:t>
            </a:r>
            <a:r>
              <a:rPr lang="en-US" sz="1000" dirty="0"/>
              <a:t>handling is to ensure that all changes are handled in a controlled, timely and professional manner. Global Chronos helps CPMs manage change requests in a structured way. All changes are stored in a register and easy to track. The workflow of a change request can be easily tracked to see how the approval process is proceeding.</a:t>
            </a:r>
          </a:p>
          <a:p>
            <a:r>
              <a:rPr lang="en-US" sz="1000" dirty="0"/>
              <a:t>To have a change request approved, Tollgate 2 must be approved first. If Tollgate 2 has not been approved, then the baseline for a project has not yet been established and formal change management only occurs after a baseline is in place</a:t>
            </a:r>
            <a:endParaRPr lang="en-US" sz="800" dirty="0">
              <a:solidFill>
                <a:schemeClr val="bg1">
                  <a:lumMod val="50000"/>
                </a:schemeClr>
              </a:solidFill>
            </a:endParaRPr>
          </a:p>
        </p:txBody>
      </p:sp>
      <p:sp>
        <p:nvSpPr>
          <p:cNvPr id="19" name="Rectangle 18">
            <a:extLst>
              <a:ext uri="{FF2B5EF4-FFF2-40B4-BE49-F238E27FC236}">
                <a16:creationId xmlns:a16="http://schemas.microsoft.com/office/drawing/2014/main" id="{DAE62291-8427-4BAA-BA09-61D116E1DC8F}"/>
              </a:ext>
            </a:extLst>
          </p:cNvPr>
          <p:cNvSpPr/>
          <p:nvPr/>
        </p:nvSpPr>
        <p:spPr bwMode="auto">
          <a:xfrm>
            <a:off x="8452020" y="1178324"/>
            <a:ext cx="3266174" cy="494829"/>
          </a:xfrm>
          <a:prstGeom prst="rect">
            <a:avLst/>
          </a:prstGeom>
          <a:noFill/>
          <a:ln w="12700" cap="flat" cmpd="sng" algn="ctr">
            <a:solidFill>
              <a:schemeClr val="bg1">
                <a:lumMod val="50000"/>
              </a:schemeClr>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50000"/>
              </a:spcBef>
              <a:spcAft>
                <a:spcPct val="0"/>
              </a:spcAft>
            </a:pPr>
            <a:r>
              <a:rPr lang="en-US" sz="1600" dirty="0">
                <a:solidFill>
                  <a:srgbClr val="92D050"/>
                </a:solidFill>
                <a:latin typeface="Ericsson Hilda"/>
              </a:rPr>
              <a:t>Important Links </a:t>
            </a:r>
          </a:p>
        </p:txBody>
      </p:sp>
      <p:grpSp>
        <p:nvGrpSpPr>
          <p:cNvPr id="12" name="Group 11">
            <a:extLst>
              <a:ext uri="{FF2B5EF4-FFF2-40B4-BE49-F238E27FC236}">
                <a16:creationId xmlns:a16="http://schemas.microsoft.com/office/drawing/2014/main" id="{C32A9C66-AF59-4EF0-8538-249454BD96CC}"/>
              </a:ext>
            </a:extLst>
          </p:cNvPr>
          <p:cNvGrpSpPr/>
          <p:nvPr/>
        </p:nvGrpSpPr>
        <p:grpSpPr>
          <a:xfrm>
            <a:off x="620785" y="2492801"/>
            <a:ext cx="7536291" cy="3964778"/>
            <a:chOff x="908372" y="1859056"/>
            <a:chExt cx="10501430" cy="4297872"/>
          </a:xfrm>
        </p:grpSpPr>
        <p:cxnSp>
          <p:nvCxnSpPr>
            <p:cNvPr id="20" name="Shape 25060">
              <a:extLst>
                <a:ext uri="{FF2B5EF4-FFF2-40B4-BE49-F238E27FC236}">
                  <a16:creationId xmlns:a16="http://schemas.microsoft.com/office/drawing/2014/main" id="{B8FBBC0E-8B96-41EE-A00A-B093506E42CB}"/>
                </a:ext>
              </a:extLst>
            </p:cNvPr>
            <p:cNvCxnSpPr>
              <a:cxnSpLocks/>
            </p:cNvCxnSpPr>
            <p:nvPr/>
          </p:nvCxnSpPr>
          <p:spPr>
            <a:xfrm>
              <a:off x="4903577" y="4015841"/>
              <a:ext cx="2607665" cy="0"/>
            </a:xfrm>
            <a:prstGeom prst="straightConnector1">
              <a:avLst/>
            </a:prstGeom>
            <a:noFill/>
            <a:ln w="101600" cap="flat" cmpd="sng">
              <a:solidFill>
                <a:schemeClr val="bg1"/>
              </a:solidFill>
              <a:prstDash val="solid"/>
              <a:round/>
              <a:headEnd type="none" w="sm" len="sm"/>
              <a:tailEnd type="none" w="sm" len="sm"/>
            </a:ln>
          </p:spPr>
        </p:cxnSp>
        <p:sp>
          <p:nvSpPr>
            <p:cNvPr id="21" name="Shape 25063">
              <a:extLst>
                <a:ext uri="{FF2B5EF4-FFF2-40B4-BE49-F238E27FC236}">
                  <a16:creationId xmlns:a16="http://schemas.microsoft.com/office/drawing/2014/main" id="{F9861F1B-2C90-4BBE-A107-3980D0F8C39B}"/>
                </a:ext>
              </a:extLst>
            </p:cNvPr>
            <p:cNvSpPr txBox="1"/>
            <p:nvPr/>
          </p:nvSpPr>
          <p:spPr>
            <a:xfrm>
              <a:off x="8604614" y="3174973"/>
              <a:ext cx="2805188" cy="571096"/>
            </a:xfrm>
            <a:prstGeom prst="rect">
              <a:avLst/>
            </a:prstGeom>
            <a:noFill/>
            <a:ln>
              <a:noFill/>
            </a:ln>
          </p:spPr>
          <p:txBody>
            <a:bodyPr spcFirstLastPara="1" wrap="square" lIns="0" tIns="16933" rIns="0" bIns="0" anchor="b" anchorCtr="0">
              <a:noAutofit/>
            </a:bodyPr>
            <a:lstStyle/>
            <a:p>
              <a:r>
                <a:rPr lang="en-US" sz="800" dirty="0">
                  <a:solidFill>
                    <a:schemeClr val="bg1"/>
                  </a:solidFill>
                </a:rPr>
                <a:t>COMPULSARY fields:  each of the Analysis and Impact fields to be completed with accurate information</a:t>
              </a:r>
            </a:p>
            <a:p>
              <a:r>
                <a:rPr lang="en-US" sz="800" dirty="0">
                  <a:solidFill>
                    <a:schemeClr val="bg1"/>
                  </a:solidFill>
                </a:rPr>
                <a:t> Enter </a:t>
              </a:r>
              <a:r>
                <a:rPr lang="en-US" sz="800" b="1" dirty="0">
                  <a:solidFill>
                    <a:schemeClr val="bg1"/>
                  </a:solidFill>
                </a:rPr>
                <a:t>SW Revenue Delta  </a:t>
              </a:r>
              <a:r>
                <a:rPr lang="en-US" sz="800" dirty="0">
                  <a:solidFill>
                    <a:schemeClr val="bg1"/>
                  </a:solidFill>
                </a:rPr>
                <a:t>e.g. 1000 and  Enter </a:t>
              </a:r>
              <a:r>
                <a:rPr lang="en-US" sz="800" b="1" dirty="0">
                  <a:solidFill>
                    <a:schemeClr val="bg1"/>
                  </a:solidFill>
                </a:rPr>
                <a:t>Service Cost Delta </a:t>
              </a:r>
              <a:r>
                <a:rPr lang="en-US" sz="800" dirty="0">
                  <a:solidFill>
                    <a:schemeClr val="bg1"/>
                  </a:solidFill>
                </a:rPr>
                <a:t>e.g. 1000 </a:t>
              </a:r>
            </a:p>
          </p:txBody>
        </p:sp>
        <p:sp>
          <p:nvSpPr>
            <p:cNvPr id="22" name="Shape 25064">
              <a:extLst>
                <a:ext uri="{FF2B5EF4-FFF2-40B4-BE49-F238E27FC236}">
                  <a16:creationId xmlns:a16="http://schemas.microsoft.com/office/drawing/2014/main" id="{F19E5A2C-D237-499A-A6BB-88FBA2732654}"/>
                </a:ext>
              </a:extLst>
            </p:cNvPr>
            <p:cNvSpPr txBox="1"/>
            <p:nvPr/>
          </p:nvSpPr>
          <p:spPr>
            <a:xfrm>
              <a:off x="4526885" y="1859056"/>
              <a:ext cx="2828167" cy="571096"/>
            </a:xfrm>
            <a:prstGeom prst="rect">
              <a:avLst/>
            </a:prstGeom>
            <a:noFill/>
            <a:ln>
              <a:noFill/>
            </a:ln>
          </p:spPr>
          <p:txBody>
            <a:bodyPr spcFirstLastPara="1" wrap="square" lIns="0" tIns="16933" rIns="0" bIns="0" anchor="b" anchorCtr="0">
              <a:noAutofit/>
            </a:bodyPr>
            <a:lstStyle/>
            <a:p>
              <a:pPr>
                <a:buClr>
                  <a:schemeClr val="bg2">
                    <a:lumMod val="50000"/>
                  </a:schemeClr>
                </a:buClr>
              </a:pPr>
              <a:r>
                <a:rPr lang="en-US" sz="900" dirty="0">
                  <a:solidFill>
                    <a:schemeClr val="bg1"/>
                  </a:solidFill>
                </a:rPr>
                <a:t>Select Add-on Sale </a:t>
              </a:r>
              <a:r>
                <a:rPr lang="en-US" sz="900" b="1" dirty="0">
                  <a:solidFill>
                    <a:schemeClr val="bg1"/>
                  </a:solidFill>
                </a:rPr>
                <a:t>Change</a:t>
              </a:r>
              <a:r>
                <a:rPr lang="en-US" sz="900" dirty="0">
                  <a:solidFill>
                    <a:schemeClr val="bg1"/>
                  </a:solidFill>
                </a:rPr>
                <a:t> </a:t>
              </a:r>
              <a:r>
                <a:rPr lang="en-US" sz="900" b="1" dirty="0">
                  <a:solidFill>
                    <a:schemeClr val="bg1"/>
                  </a:solidFill>
                </a:rPr>
                <a:t>Category</a:t>
              </a:r>
              <a:r>
                <a:rPr lang="en-US" sz="900" dirty="0">
                  <a:solidFill>
                    <a:schemeClr val="bg1"/>
                  </a:solidFill>
                </a:rPr>
                <a:t> by clicking on the drop down</a:t>
              </a:r>
            </a:p>
            <a:p>
              <a:r>
                <a:rPr lang="en-US" sz="900" dirty="0">
                  <a:solidFill>
                    <a:schemeClr val="bg1"/>
                  </a:solidFill>
                </a:rPr>
                <a:t>Select Add On Sales - Initiated by Operations, or Additional Sales - Initiated by non-Operations, including additional</a:t>
              </a:r>
            </a:p>
            <a:p>
              <a:r>
                <a:rPr lang="en-US" sz="900" dirty="0">
                  <a:solidFill>
                    <a:schemeClr val="bg1"/>
                  </a:solidFill>
                </a:rPr>
                <a:t>in the </a:t>
              </a:r>
              <a:r>
                <a:rPr lang="en-US" sz="900" b="1" dirty="0">
                  <a:solidFill>
                    <a:schemeClr val="bg1"/>
                  </a:solidFill>
                </a:rPr>
                <a:t>sub - Change Category </a:t>
              </a:r>
              <a:r>
                <a:rPr lang="en-US" sz="900" dirty="0">
                  <a:solidFill>
                    <a:schemeClr val="bg1"/>
                  </a:solidFill>
                </a:rPr>
                <a:t>by clicking on the drop down</a:t>
              </a:r>
            </a:p>
          </p:txBody>
        </p:sp>
        <p:sp>
          <p:nvSpPr>
            <p:cNvPr id="24" name="Shape 25066">
              <a:extLst>
                <a:ext uri="{FF2B5EF4-FFF2-40B4-BE49-F238E27FC236}">
                  <a16:creationId xmlns:a16="http://schemas.microsoft.com/office/drawing/2014/main" id="{BD0628C8-43B2-410C-9F28-C5C2F7605958}"/>
                </a:ext>
              </a:extLst>
            </p:cNvPr>
            <p:cNvSpPr txBox="1"/>
            <p:nvPr/>
          </p:nvSpPr>
          <p:spPr>
            <a:xfrm>
              <a:off x="1007335" y="2116371"/>
              <a:ext cx="2283633" cy="571096"/>
            </a:xfrm>
            <a:prstGeom prst="rect">
              <a:avLst/>
            </a:prstGeom>
            <a:noFill/>
            <a:ln>
              <a:noFill/>
            </a:ln>
          </p:spPr>
          <p:txBody>
            <a:bodyPr spcFirstLastPara="1" wrap="square" lIns="0" tIns="16933" rIns="0" bIns="0" anchor="b" anchorCtr="0">
              <a:noAutofit/>
            </a:bodyPr>
            <a:lstStyle/>
            <a:p>
              <a:pPr>
                <a:buClr>
                  <a:schemeClr val="bg2">
                    <a:lumMod val="50000"/>
                  </a:schemeClr>
                </a:buClr>
              </a:pPr>
              <a:r>
                <a:rPr lang="en-US" sz="900" dirty="0">
                  <a:solidFill>
                    <a:schemeClr val="bg1"/>
                  </a:solidFill>
                </a:rPr>
                <a:t>Open the project </a:t>
              </a:r>
              <a:r>
                <a:rPr lang="en-US" sz="900" b="1" dirty="0">
                  <a:solidFill>
                    <a:schemeClr val="bg1"/>
                  </a:solidFill>
                </a:rPr>
                <a:t>click </a:t>
              </a:r>
              <a:r>
                <a:rPr lang="en-US" sz="900" dirty="0">
                  <a:solidFill>
                    <a:schemeClr val="bg1"/>
                  </a:solidFill>
                </a:rPr>
                <a:t>on Risk/Issue/Changes</a:t>
              </a:r>
            </a:p>
            <a:p>
              <a:pPr>
                <a:buClr>
                  <a:schemeClr val="bg2">
                    <a:lumMod val="50000"/>
                  </a:schemeClr>
                </a:buClr>
              </a:pPr>
              <a:r>
                <a:rPr lang="en-US" sz="900" dirty="0">
                  <a:solidFill>
                    <a:schemeClr val="bg1"/>
                  </a:solidFill>
                </a:rPr>
                <a:t>Hover over the dropdown and </a:t>
              </a:r>
              <a:r>
                <a:rPr lang="en-US" sz="900" b="1" dirty="0">
                  <a:solidFill>
                    <a:schemeClr val="bg1"/>
                  </a:solidFill>
                </a:rPr>
                <a:t>click </a:t>
              </a:r>
              <a:r>
                <a:rPr lang="en-US" sz="900" dirty="0">
                  <a:solidFill>
                    <a:schemeClr val="bg1"/>
                  </a:solidFill>
                </a:rPr>
                <a:t>on Change Request.</a:t>
              </a:r>
            </a:p>
            <a:p>
              <a:pPr>
                <a:buClr>
                  <a:schemeClr val="bg2">
                    <a:lumMod val="50000"/>
                  </a:schemeClr>
                </a:buClr>
              </a:pPr>
              <a:r>
                <a:rPr lang="en-US" sz="900" dirty="0">
                  <a:solidFill>
                    <a:schemeClr val="bg1"/>
                  </a:solidFill>
                </a:rPr>
                <a:t>To create a new change request click on </a:t>
              </a:r>
              <a:r>
                <a:rPr lang="en-US" sz="900" b="1" dirty="0">
                  <a:solidFill>
                    <a:schemeClr val="bg1"/>
                  </a:solidFill>
                </a:rPr>
                <a:t>New</a:t>
              </a:r>
            </a:p>
            <a:p>
              <a:pPr>
                <a:buClr>
                  <a:schemeClr val="bg2">
                    <a:lumMod val="50000"/>
                  </a:schemeClr>
                </a:buClr>
              </a:pPr>
              <a:r>
                <a:rPr lang="en-US" sz="900" dirty="0">
                  <a:solidFill>
                    <a:schemeClr val="bg1"/>
                  </a:solidFill>
                </a:rPr>
                <a:t>Input a CR name, </a:t>
              </a:r>
              <a:r>
                <a:rPr lang="en-ZA" sz="900" dirty="0">
                  <a:solidFill>
                    <a:schemeClr val="bg1"/>
                  </a:solidFill>
                </a:rPr>
                <a:t>Add a Description and Select Priority.</a:t>
              </a:r>
            </a:p>
            <a:p>
              <a:pPr>
                <a:buClr>
                  <a:schemeClr val="bg2">
                    <a:lumMod val="50000"/>
                  </a:schemeClr>
                </a:buClr>
              </a:pPr>
              <a:endParaRPr lang="en-US" sz="900" b="1" dirty="0">
                <a:solidFill>
                  <a:schemeClr val="bg1"/>
                </a:solidFill>
              </a:endParaRPr>
            </a:p>
          </p:txBody>
        </p:sp>
        <p:sp>
          <p:nvSpPr>
            <p:cNvPr id="27" name="Shape 25069">
              <a:extLst>
                <a:ext uri="{FF2B5EF4-FFF2-40B4-BE49-F238E27FC236}">
                  <a16:creationId xmlns:a16="http://schemas.microsoft.com/office/drawing/2014/main" id="{90662599-1F5F-4325-8CE7-B33559BA52CC}"/>
                </a:ext>
              </a:extLst>
            </p:cNvPr>
            <p:cNvSpPr txBox="1"/>
            <p:nvPr/>
          </p:nvSpPr>
          <p:spPr>
            <a:xfrm>
              <a:off x="908372" y="4356610"/>
              <a:ext cx="2943868" cy="580901"/>
            </a:xfrm>
            <a:prstGeom prst="rect">
              <a:avLst/>
            </a:prstGeom>
            <a:noFill/>
            <a:ln>
              <a:noFill/>
            </a:ln>
          </p:spPr>
          <p:txBody>
            <a:bodyPr spcFirstLastPara="1" wrap="square" lIns="0" tIns="10133" rIns="0" bIns="0" anchor="ctr" anchorCtr="0">
              <a:noAutofit/>
            </a:bodyPr>
            <a:lstStyle/>
            <a:p>
              <a:r>
                <a:rPr lang="en-US" sz="800" dirty="0">
                  <a:solidFill>
                    <a:schemeClr val="bg1"/>
                  </a:solidFill>
                </a:rPr>
                <a:t>Click on the Calendar ICON to se the date for CCB  </a:t>
              </a:r>
            </a:p>
            <a:p>
              <a:r>
                <a:rPr lang="en-US" sz="800" dirty="0">
                  <a:solidFill>
                    <a:schemeClr val="bg1"/>
                  </a:solidFill>
                </a:rPr>
                <a:t>CCB decision will be set once CCB meeting is set to YES and saved, CCB meeting date is defined and Project has passed TG2</a:t>
              </a:r>
            </a:p>
            <a:p>
              <a:r>
                <a:rPr lang="en-US" sz="800" dirty="0">
                  <a:solidFill>
                    <a:schemeClr val="bg1"/>
                  </a:solidFill>
                </a:rPr>
                <a:t>Click on SAVE</a:t>
              </a:r>
            </a:p>
          </p:txBody>
        </p:sp>
        <p:sp>
          <p:nvSpPr>
            <p:cNvPr id="28" name="Shape 25070">
              <a:extLst>
                <a:ext uri="{FF2B5EF4-FFF2-40B4-BE49-F238E27FC236}">
                  <a16:creationId xmlns:a16="http://schemas.microsoft.com/office/drawing/2014/main" id="{5F142EA6-65A6-4DB5-B9BD-947828299A91}"/>
                </a:ext>
              </a:extLst>
            </p:cNvPr>
            <p:cNvSpPr txBox="1"/>
            <p:nvPr/>
          </p:nvSpPr>
          <p:spPr>
            <a:xfrm>
              <a:off x="7471999" y="4232570"/>
              <a:ext cx="3594384" cy="326034"/>
            </a:xfrm>
            <a:prstGeom prst="rect">
              <a:avLst/>
            </a:prstGeom>
            <a:noFill/>
            <a:ln>
              <a:noFill/>
            </a:ln>
          </p:spPr>
          <p:txBody>
            <a:bodyPr spcFirstLastPara="1" wrap="square" lIns="0" tIns="16933" rIns="0" bIns="0" anchor="t" anchorCtr="0">
              <a:noAutofit/>
            </a:bodyPr>
            <a:lstStyle/>
            <a:p>
              <a:r>
                <a:rPr lang="en-US" sz="800" dirty="0">
                  <a:solidFill>
                    <a:schemeClr val="bg1"/>
                  </a:solidFill>
                </a:rPr>
                <a:t>Set to Steering CCB. the Approval Route is automatically </a:t>
              </a:r>
            </a:p>
          </p:txBody>
        </p:sp>
        <p:sp>
          <p:nvSpPr>
            <p:cNvPr id="29" name="Shape 25071">
              <a:extLst>
                <a:ext uri="{FF2B5EF4-FFF2-40B4-BE49-F238E27FC236}">
                  <a16:creationId xmlns:a16="http://schemas.microsoft.com/office/drawing/2014/main" id="{E3DFDA5B-0EA4-44B0-B365-8842CFD0C745}"/>
                </a:ext>
              </a:extLst>
            </p:cNvPr>
            <p:cNvSpPr txBox="1"/>
            <p:nvPr/>
          </p:nvSpPr>
          <p:spPr>
            <a:xfrm>
              <a:off x="7957217" y="5648098"/>
              <a:ext cx="2920783" cy="508830"/>
            </a:xfrm>
            <a:prstGeom prst="rect">
              <a:avLst/>
            </a:prstGeom>
            <a:noFill/>
            <a:ln>
              <a:noFill/>
            </a:ln>
          </p:spPr>
          <p:txBody>
            <a:bodyPr spcFirstLastPara="1" wrap="square" lIns="0" tIns="10133" rIns="0" bIns="0" anchor="t" anchorCtr="0">
              <a:noAutofit/>
            </a:bodyPr>
            <a:lstStyle/>
            <a:p>
              <a:r>
                <a:rPr lang="en-US" sz="800" dirty="0">
                  <a:solidFill>
                    <a:schemeClr val="bg1"/>
                  </a:solidFill>
                </a:rPr>
                <a:t>. </a:t>
              </a:r>
            </a:p>
            <a:p>
              <a:r>
                <a:rPr lang="en-US" sz="800" dirty="0">
                  <a:solidFill>
                    <a:schemeClr val="bg1"/>
                  </a:solidFill>
                </a:rPr>
                <a:t>Click SAVE </a:t>
              </a:r>
            </a:p>
            <a:p>
              <a:r>
                <a:rPr lang="en-US" sz="800" b="1" dirty="0">
                  <a:solidFill>
                    <a:schemeClr val="bg1"/>
                  </a:solidFill>
                </a:rPr>
                <a:t>CR Status</a:t>
              </a:r>
              <a:r>
                <a:rPr lang="en-US" sz="800" dirty="0">
                  <a:solidFill>
                    <a:schemeClr val="bg1"/>
                  </a:solidFill>
                </a:rPr>
                <a:t> is changed once Refresh Icon is clicked </a:t>
              </a:r>
            </a:p>
          </p:txBody>
        </p:sp>
        <p:cxnSp>
          <p:nvCxnSpPr>
            <p:cNvPr id="30" name="Shape 25072">
              <a:extLst>
                <a:ext uri="{FF2B5EF4-FFF2-40B4-BE49-F238E27FC236}">
                  <a16:creationId xmlns:a16="http://schemas.microsoft.com/office/drawing/2014/main" id="{E3C6DB60-6643-49D4-9D6F-104C2575E6A0}"/>
                </a:ext>
              </a:extLst>
            </p:cNvPr>
            <p:cNvCxnSpPr/>
            <p:nvPr/>
          </p:nvCxnSpPr>
          <p:spPr>
            <a:xfrm>
              <a:off x="2136801" y="2699891"/>
              <a:ext cx="5407200" cy="0"/>
            </a:xfrm>
            <a:prstGeom prst="straightConnector1">
              <a:avLst/>
            </a:prstGeom>
            <a:noFill/>
            <a:ln w="101600" cap="flat" cmpd="sng">
              <a:solidFill>
                <a:schemeClr val="bg1"/>
              </a:solidFill>
              <a:prstDash val="solid"/>
              <a:round/>
              <a:headEnd type="none" w="sm" len="sm"/>
              <a:tailEnd type="none" w="sm" len="sm"/>
            </a:ln>
          </p:spPr>
        </p:cxnSp>
        <p:cxnSp>
          <p:nvCxnSpPr>
            <p:cNvPr id="31" name="Shape 25073">
              <a:extLst>
                <a:ext uri="{FF2B5EF4-FFF2-40B4-BE49-F238E27FC236}">
                  <a16:creationId xmlns:a16="http://schemas.microsoft.com/office/drawing/2014/main" id="{B007E04E-FB16-41EC-8D45-763AC2EF27C3}"/>
                </a:ext>
              </a:extLst>
            </p:cNvPr>
            <p:cNvCxnSpPr/>
            <p:nvPr/>
          </p:nvCxnSpPr>
          <p:spPr>
            <a:xfrm>
              <a:off x="4965116" y="5369227"/>
              <a:ext cx="5751200" cy="0"/>
            </a:xfrm>
            <a:prstGeom prst="straightConnector1">
              <a:avLst/>
            </a:prstGeom>
            <a:noFill/>
            <a:ln w="101600" cap="flat" cmpd="sng">
              <a:solidFill>
                <a:schemeClr val="bg1"/>
              </a:solidFill>
              <a:prstDash val="solid"/>
              <a:round/>
              <a:headEnd type="none" w="sm" len="sm"/>
              <a:tailEnd type="triangle" w="med" len="med"/>
            </a:ln>
          </p:spPr>
        </p:cxnSp>
        <p:sp>
          <p:nvSpPr>
            <p:cNvPr id="32" name="Shape 25074">
              <a:extLst>
                <a:ext uri="{FF2B5EF4-FFF2-40B4-BE49-F238E27FC236}">
                  <a16:creationId xmlns:a16="http://schemas.microsoft.com/office/drawing/2014/main" id="{866095D1-0566-42A3-9332-D4E16134BA29}"/>
                </a:ext>
              </a:extLst>
            </p:cNvPr>
            <p:cNvSpPr/>
            <p:nvPr/>
          </p:nvSpPr>
          <p:spPr>
            <a:xfrm>
              <a:off x="7016246" y="2632917"/>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33" name="Shape 25080">
              <a:extLst>
                <a:ext uri="{FF2B5EF4-FFF2-40B4-BE49-F238E27FC236}">
                  <a16:creationId xmlns:a16="http://schemas.microsoft.com/office/drawing/2014/main" id="{82EE8805-BB53-4A12-8517-6B79AFCD3A64}"/>
                </a:ext>
              </a:extLst>
            </p:cNvPr>
            <p:cNvSpPr/>
            <p:nvPr/>
          </p:nvSpPr>
          <p:spPr>
            <a:xfrm>
              <a:off x="4548761" y="2632917"/>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34" name="Shape 25081">
              <a:extLst>
                <a:ext uri="{FF2B5EF4-FFF2-40B4-BE49-F238E27FC236}">
                  <a16:creationId xmlns:a16="http://schemas.microsoft.com/office/drawing/2014/main" id="{019E3359-AA00-44CB-BFFF-239623856328}"/>
                </a:ext>
              </a:extLst>
            </p:cNvPr>
            <p:cNvSpPr/>
            <p:nvPr/>
          </p:nvSpPr>
          <p:spPr>
            <a:xfrm>
              <a:off x="2081277" y="2632917"/>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35" name="Shape 25083">
              <a:extLst>
                <a:ext uri="{FF2B5EF4-FFF2-40B4-BE49-F238E27FC236}">
                  <a16:creationId xmlns:a16="http://schemas.microsoft.com/office/drawing/2014/main" id="{88BDB387-1DB1-49B0-93D0-564D75596970}"/>
                </a:ext>
              </a:extLst>
            </p:cNvPr>
            <p:cNvSpPr/>
            <p:nvPr/>
          </p:nvSpPr>
          <p:spPr>
            <a:xfrm>
              <a:off x="6758220" y="2699819"/>
              <a:ext cx="1586222" cy="1357067"/>
            </a:xfrm>
            <a:prstGeom prst="arc">
              <a:avLst>
                <a:gd name="adj1" fmla="val 16101423"/>
                <a:gd name="adj2" fmla="val 21463720"/>
              </a:avLst>
            </a:prstGeom>
            <a:noFill/>
            <a:ln w="101600" cap="flat" cmpd="sng">
              <a:solidFill>
                <a:schemeClr val="bg1"/>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36" name="Shape 25061">
              <a:extLst>
                <a:ext uri="{FF2B5EF4-FFF2-40B4-BE49-F238E27FC236}">
                  <a16:creationId xmlns:a16="http://schemas.microsoft.com/office/drawing/2014/main" id="{C951396D-5F6E-4F68-A849-C56173B621D0}"/>
                </a:ext>
              </a:extLst>
            </p:cNvPr>
            <p:cNvSpPr/>
            <p:nvPr/>
          </p:nvSpPr>
          <p:spPr>
            <a:xfrm rot="10800000" flipH="1">
              <a:off x="6756477" y="2664886"/>
              <a:ext cx="1574627" cy="1357067"/>
            </a:xfrm>
            <a:prstGeom prst="arc">
              <a:avLst>
                <a:gd name="adj1" fmla="val 16035078"/>
                <a:gd name="adj2" fmla="val 64140"/>
              </a:avLst>
            </a:prstGeom>
            <a:noFill/>
            <a:ln w="101600" cap="flat" cmpd="sng">
              <a:solidFill>
                <a:schemeClr val="bg1"/>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37" name="Shape 25085">
              <a:extLst>
                <a:ext uri="{FF2B5EF4-FFF2-40B4-BE49-F238E27FC236}">
                  <a16:creationId xmlns:a16="http://schemas.microsoft.com/office/drawing/2014/main" id="{DBD7466F-F647-4AC1-BC4A-C24F03D1A961}"/>
                </a:ext>
              </a:extLst>
            </p:cNvPr>
            <p:cNvSpPr/>
            <p:nvPr/>
          </p:nvSpPr>
          <p:spPr>
            <a:xfrm flipH="1">
              <a:off x="4150666" y="4014197"/>
              <a:ext cx="1586222" cy="1383421"/>
            </a:xfrm>
            <a:prstGeom prst="arc">
              <a:avLst>
                <a:gd name="adj1" fmla="val 16101423"/>
                <a:gd name="adj2" fmla="val 21463720"/>
              </a:avLst>
            </a:prstGeom>
            <a:noFill/>
            <a:ln w="101600" cap="flat" cmpd="sng">
              <a:solidFill>
                <a:schemeClr val="bg1"/>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38" name="Shape 25086">
              <a:extLst>
                <a:ext uri="{FF2B5EF4-FFF2-40B4-BE49-F238E27FC236}">
                  <a16:creationId xmlns:a16="http://schemas.microsoft.com/office/drawing/2014/main" id="{88C4B608-0489-41D8-A842-0313330F8F8B}"/>
                </a:ext>
              </a:extLst>
            </p:cNvPr>
            <p:cNvSpPr/>
            <p:nvPr/>
          </p:nvSpPr>
          <p:spPr>
            <a:xfrm rot="10800000">
              <a:off x="4150463" y="3978589"/>
              <a:ext cx="1574627" cy="1383421"/>
            </a:xfrm>
            <a:prstGeom prst="arc">
              <a:avLst>
                <a:gd name="adj1" fmla="val 16035078"/>
                <a:gd name="adj2" fmla="val 64140"/>
              </a:avLst>
            </a:prstGeom>
            <a:noFill/>
            <a:ln w="101600" cap="flat" cmpd="sng">
              <a:solidFill>
                <a:schemeClr val="bg1"/>
              </a:solidFill>
              <a:prstDash val="solid"/>
              <a:round/>
              <a:headEnd type="none" w="sm" len="sm"/>
              <a:tailEnd type="none" w="sm" len="sm"/>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39" name="Shape 25087">
              <a:extLst>
                <a:ext uri="{FF2B5EF4-FFF2-40B4-BE49-F238E27FC236}">
                  <a16:creationId xmlns:a16="http://schemas.microsoft.com/office/drawing/2014/main" id="{447F8A7C-0AB3-41CB-B863-52663DCF47CA}"/>
                </a:ext>
              </a:extLst>
            </p:cNvPr>
            <p:cNvSpPr/>
            <p:nvPr/>
          </p:nvSpPr>
          <p:spPr>
            <a:xfrm>
              <a:off x="4053630" y="4588367"/>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40" name="Shape 25088">
              <a:extLst>
                <a:ext uri="{FF2B5EF4-FFF2-40B4-BE49-F238E27FC236}">
                  <a16:creationId xmlns:a16="http://schemas.microsoft.com/office/drawing/2014/main" id="{DE709941-2047-4864-A835-66E852994C3B}"/>
                </a:ext>
              </a:extLst>
            </p:cNvPr>
            <p:cNvSpPr/>
            <p:nvPr/>
          </p:nvSpPr>
          <p:spPr>
            <a:xfrm>
              <a:off x="8271706" y="3296801"/>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41" name="Shape 25090">
              <a:extLst>
                <a:ext uri="{FF2B5EF4-FFF2-40B4-BE49-F238E27FC236}">
                  <a16:creationId xmlns:a16="http://schemas.microsoft.com/office/drawing/2014/main" id="{33366AF1-6267-46BC-AD54-2A26FCBABA03}"/>
                </a:ext>
              </a:extLst>
            </p:cNvPr>
            <p:cNvSpPr/>
            <p:nvPr/>
          </p:nvSpPr>
          <p:spPr>
            <a:xfrm>
              <a:off x="5050277" y="5299529"/>
              <a:ext cx="134000" cy="134000"/>
            </a:xfrm>
            <a:prstGeom prst="ellipse">
              <a:avLst/>
            </a:prstGeom>
            <a:solidFill>
              <a:schemeClr val="accent5"/>
            </a:solidFill>
            <a:ln>
              <a:noFill/>
            </a:ln>
          </p:spPr>
          <p:txBody>
            <a:bodyPr spcFirstLastPara="1" wrap="square" lIns="121900" tIns="60933" rIns="121900" bIns="60933" anchor="ctr" anchorCtr="0">
              <a:noAutofit/>
            </a:bodyPr>
            <a:lstStyle/>
            <a:p>
              <a:pPr algn="ctr">
                <a:spcBef>
                  <a:spcPts val="0"/>
                </a:spcBef>
                <a:spcAft>
                  <a:spcPts val="0"/>
                </a:spcAft>
              </a:pPr>
              <a:endParaRPr sz="1000">
                <a:solidFill>
                  <a:schemeClr val="bg1"/>
                </a:solidFill>
                <a:latin typeface="Ericsson Hilda"/>
                <a:ea typeface="Ericsson Hilda"/>
                <a:cs typeface="Ericsson Hilda"/>
                <a:sym typeface="Ericsson Hilda"/>
              </a:endParaRPr>
            </a:p>
          </p:txBody>
        </p:sp>
        <p:sp>
          <p:nvSpPr>
            <p:cNvPr id="42" name="Oval 41">
              <a:extLst>
                <a:ext uri="{FF2B5EF4-FFF2-40B4-BE49-F238E27FC236}">
                  <a16:creationId xmlns:a16="http://schemas.microsoft.com/office/drawing/2014/main" id="{FFEADEF4-DDE7-4110-B65F-709EB72E4FFC}"/>
                </a:ext>
              </a:extLst>
            </p:cNvPr>
            <p:cNvSpPr>
              <a:spLocks noChangeAspect="1"/>
            </p:cNvSpPr>
            <p:nvPr/>
          </p:nvSpPr>
          <p:spPr>
            <a:xfrm>
              <a:off x="4414551" y="2496946"/>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2</a:t>
              </a:r>
              <a:endParaRPr lang="en-SG" sz="2400" dirty="0">
                <a:solidFill>
                  <a:schemeClr val="bg1"/>
                </a:solidFill>
              </a:endParaRPr>
            </a:p>
          </p:txBody>
        </p:sp>
        <p:sp>
          <p:nvSpPr>
            <p:cNvPr id="43" name="Oval 42">
              <a:extLst>
                <a:ext uri="{FF2B5EF4-FFF2-40B4-BE49-F238E27FC236}">
                  <a16:creationId xmlns:a16="http://schemas.microsoft.com/office/drawing/2014/main" id="{977F5C47-EA41-4D39-BCB9-3C9B130C3E24}"/>
                </a:ext>
              </a:extLst>
            </p:cNvPr>
            <p:cNvSpPr>
              <a:spLocks noChangeAspect="1"/>
            </p:cNvSpPr>
            <p:nvPr/>
          </p:nvSpPr>
          <p:spPr>
            <a:xfrm>
              <a:off x="6921486" y="2496946"/>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3</a:t>
              </a:r>
              <a:endParaRPr lang="en-SG" sz="2400" dirty="0">
                <a:solidFill>
                  <a:schemeClr val="bg1"/>
                </a:solidFill>
              </a:endParaRPr>
            </a:p>
          </p:txBody>
        </p:sp>
        <p:sp>
          <p:nvSpPr>
            <p:cNvPr id="44" name="Oval 43">
              <a:extLst>
                <a:ext uri="{FF2B5EF4-FFF2-40B4-BE49-F238E27FC236}">
                  <a16:creationId xmlns:a16="http://schemas.microsoft.com/office/drawing/2014/main" id="{D76F9C13-D414-4B93-A5F8-413303C2CA54}"/>
                </a:ext>
              </a:extLst>
            </p:cNvPr>
            <p:cNvSpPr>
              <a:spLocks noChangeAspect="1"/>
            </p:cNvSpPr>
            <p:nvPr/>
          </p:nvSpPr>
          <p:spPr>
            <a:xfrm>
              <a:off x="8093828" y="3147801"/>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4</a:t>
              </a:r>
              <a:endParaRPr lang="en-SG" sz="2400" dirty="0">
                <a:solidFill>
                  <a:schemeClr val="bg1"/>
                </a:solidFill>
              </a:endParaRPr>
            </a:p>
          </p:txBody>
        </p:sp>
        <p:sp>
          <p:nvSpPr>
            <p:cNvPr id="45" name="Oval 44">
              <a:extLst>
                <a:ext uri="{FF2B5EF4-FFF2-40B4-BE49-F238E27FC236}">
                  <a16:creationId xmlns:a16="http://schemas.microsoft.com/office/drawing/2014/main" id="{D9F81E45-EA56-49B3-9BDC-5E3EC005ED35}"/>
                </a:ext>
              </a:extLst>
            </p:cNvPr>
            <p:cNvSpPr>
              <a:spLocks noChangeAspect="1"/>
            </p:cNvSpPr>
            <p:nvPr/>
          </p:nvSpPr>
          <p:spPr>
            <a:xfrm>
              <a:off x="7140425" y="3814017"/>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5</a:t>
              </a:r>
              <a:endParaRPr lang="en-SG" sz="2400" dirty="0">
                <a:solidFill>
                  <a:schemeClr val="bg1"/>
                </a:solidFill>
              </a:endParaRPr>
            </a:p>
          </p:txBody>
        </p:sp>
        <p:sp>
          <p:nvSpPr>
            <p:cNvPr id="46" name="Oval 45">
              <a:extLst>
                <a:ext uri="{FF2B5EF4-FFF2-40B4-BE49-F238E27FC236}">
                  <a16:creationId xmlns:a16="http://schemas.microsoft.com/office/drawing/2014/main" id="{87F332C3-821B-493B-AAB6-97A3B971217A}"/>
                </a:ext>
              </a:extLst>
            </p:cNvPr>
            <p:cNvSpPr>
              <a:spLocks noChangeAspect="1"/>
            </p:cNvSpPr>
            <p:nvPr/>
          </p:nvSpPr>
          <p:spPr>
            <a:xfrm>
              <a:off x="4912425" y="3814017"/>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6</a:t>
              </a:r>
              <a:endParaRPr lang="en-SG" sz="2400" dirty="0">
                <a:solidFill>
                  <a:schemeClr val="bg1"/>
                </a:solidFill>
              </a:endParaRPr>
            </a:p>
          </p:txBody>
        </p:sp>
        <p:sp>
          <p:nvSpPr>
            <p:cNvPr id="47" name="Oval 46">
              <a:extLst>
                <a:ext uri="{FF2B5EF4-FFF2-40B4-BE49-F238E27FC236}">
                  <a16:creationId xmlns:a16="http://schemas.microsoft.com/office/drawing/2014/main" id="{58349A2D-E558-44DB-9486-F42179FAA3C6}"/>
                </a:ext>
              </a:extLst>
            </p:cNvPr>
            <p:cNvSpPr>
              <a:spLocks noChangeAspect="1"/>
            </p:cNvSpPr>
            <p:nvPr/>
          </p:nvSpPr>
          <p:spPr>
            <a:xfrm>
              <a:off x="3970848" y="4439367"/>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7</a:t>
              </a:r>
              <a:endParaRPr lang="en-SG" sz="2400" dirty="0">
                <a:solidFill>
                  <a:schemeClr val="bg1"/>
                </a:solidFill>
              </a:endParaRPr>
            </a:p>
          </p:txBody>
        </p:sp>
        <p:sp>
          <p:nvSpPr>
            <p:cNvPr id="48" name="Oval 47">
              <a:extLst>
                <a:ext uri="{FF2B5EF4-FFF2-40B4-BE49-F238E27FC236}">
                  <a16:creationId xmlns:a16="http://schemas.microsoft.com/office/drawing/2014/main" id="{2AAC7DF1-1D9D-420C-AF6A-D10094484D02}"/>
                </a:ext>
              </a:extLst>
            </p:cNvPr>
            <p:cNvSpPr>
              <a:spLocks noChangeAspect="1"/>
            </p:cNvSpPr>
            <p:nvPr/>
          </p:nvSpPr>
          <p:spPr>
            <a:xfrm>
              <a:off x="1920019" y="2496946"/>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1</a:t>
              </a:r>
              <a:endParaRPr lang="en-SG" sz="2400" dirty="0">
                <a:solidFill>
                  <a:schemeClr val="bg1"/>
                </a:solidFill>
              </a:endParaRPr>
            </a:p>
          </p:txBody>
        </p:sp>
        <p:sp>
          <p:nvSpPr>
            <p:cNvPr id="49" name="Oval 48">
              <a:extLst>
                <a:ext uri="{FF2B5EF4-FFF2-40B4-BE49-F238E27FC236}">
                  <a16:creationId xmlns:a16="http://schemas.microsoft.com/office/drawing/2014/main" id="{5316FA99-86FF-41A2-BDF2-AF1867887A52}"/>
                </a:ext>
              </a:extLst>
            </p:cNvPr>
            <p:cNvSpPr>
              <a:spLocks noChangeAspect="1"/>
            </p:cNvSpPr>
            <p:nvPr/>
          </p:nvSpPr>
          <p:spPr>
            <a:xfrm>
              <a:off x="4912425" y="5167937"/>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8</a:t>
              </a:r>
              <a:endParaRPr lang="en-SG" sz="2400" dirty="0">
                <a:solidFill>
                  <a:schemeClr val="bg1"/>
                </a:solidFill>
              </a:endParaRPr>
            </a:p>
          </p:txBody>
        </p:sp>
        <p:sp>
          <p:nvSpPr>
            <p:cNvPr id="50" name="Oval 49">
              <a:extLst>
                <a:ext uri="{FF2B5EF4-FFF2-40B4-BE49-F238E27FC236}">
                  <a16:creationId xmlns:a16="http://schemas.microsoft.com/office/drawing/2014/main" id="{E3EF66A8-25CC-4128-B596-7C051CB9446A}"/>
                </a:ext>
              </a:extLst>
            </p:cNvPr>
            <p:cNvSpPr>
              <a:spLocks noChangeAspect="1"/>
            </p:cNvSpPr>
            <p:nvPr/>
          </p:nvSpPr>
          <p:spPr>
            <a:xfrm>
              <a:off x="8087441" y="5167937"/>
              <a:ext cx="433564" cy="432000"/>
            </a:xfrm>
            <a:prstGeom prst="ellipse">
              <a:avLst/>
            </a:prstGeom>
            <a:solidFill>
              <a:srgbClr val="92D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bg1"/>
                  </a:solidFill>
                </a:rPr>
                <a:t>9</a:t>
              </a:r>
              <a:endParaRPr lang="en-SG" sz="2400" dirty="0">
                <a:solidFill>
                  <a:schemeClr val="bg1"/>
                </a:solidFill>
              </a:endParaRPr>
            </a:p>
          </p:txBody>
        </p:sp>
      </p:grpSp>
      <p:sp>
        <p:nvSpPr>
          <p:cNvPr id="51" name="Content Placeholder 1">
            <a:extLst>
              <a:ext uri="{FF2B5EF4-FFF2-40B4-BE49-F238E27FC236}">
                <a16:creationId xmlns:a16="http://schemas.microsoft.com/office/drawing/2014/main" id="{0FC0DAFE-5D33-4D9E-92E4-C53249B03B41}"/>
              </a:ext>
            </a:extLst>
          </p:cNvPr>
          <p:cNvSpPr txBox="1">
            <a:spLocks/>
          </p:cNvSpPr>
          <p:nvPr/>
        </p:nvSpPr>
        <p:spPr bwMode="auto">
          <a:xfrm>
            <a:off x="8465215" y="4276993"/>
            <a:ext cx="3266175" cy="2356491"/>
          </a:xfrm>
          <a:prstGeom prst="rect">
            <a:avLst/>
          </a:prstGeom>
          <a:noFill/>
          <a:ln w="9525">
            <a:solidFill>
              <a:schemeClr val="bg1"/>
            </a:solidFill>
            <a:miter lim="800000"/>
            <a:headEnd/>
            <a:tailEnd/>
          </a:ln>
        </p:spPr>
        <p:txBody>
          <a:bodyPr vert="horz" wrap="square" lIns="72000" tIns="36000" rIns="0" bIns="0" numCol="1" anchor="t" anchorCtr="0" compatLnSpc="1">
            <a:prstTxWarp prst="textNoShape">
              <a:avLst/>
            </a:prstTxWarp>
          </a:bodyPr>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6858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0287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3716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a:buFont typeface="Wingdings" panose="05000000000000000000" pitchFamily="2" charset="2"/>
              <a:buChar char="§"/>
            </a:pPr>
            <a:r>
              <a:rPr lang="en-US" sz="900" b="1" dirty="0"/>
              <a:t>Change</a:t>
            </a:r>
            <a:r>
              <a:rPr lang="en-US" sz="900" dirty="0"/>
              <a:t> </a:t>
            </a:r>
            <a:r>
              <a:rPr lang="en-US" sz="900" b="1" dirty="0"/>
              <a:t>Sub Category</a:t>
            </a:r>
            <a:r>
              <a:rPr lang="en-US" sz="900" dirty="0"/>
              <a:t> will be enabled only after selecting Change Category</a:t>
            </a:r>
          </a:p>
          <a:p>
            <a:pPr>
              <a:buFont typeface="Wingdings" panose="05000000000000000000" pitchFamily="2" charset="2"/>
              <a:buChar char="§"/>
            </a:pPr>
            <a:r>
              <a:rPr lang="en-US" sz="900" dirty="0"/>
              <a:t>By default status of Billability is "Non-Billable", Status will be automatically updated once Project Revenue Delta is calculated and once Ready for CCB Meeting is set to Yes, saved and the page is refreshed.</a:t>
            </a:r>
          </a:p>
          <a:p>
            <a:pPr>
              <a:buFont typeface="Wingdings" panose="05000000000000000000" pitchFamily="2" charset="2"/>
              <a:buChar char="§"/>
            </a:pPr>
            <a:r>
              <a:rPr lang="en-US" sz="900" dirty="0"/>
              <a:t>Impact Financials checkbox will be </a:t>
            </a:r>
            <a:r>
              <a:rPr lang="en-US" sz="900" dirty="0" err="1"/>
              <a:t>autochecked</a:t>
            </a:r>
            <a:r>
              <a:rPr lang="en-US" sz="900" dirty="0"/>
              <a:t> if the CR covers financial changes (delta for cost and revenue). </a:t>
            </a:r>
          </a:p>
          <a:p>
            <a:pPr>
              <a:buFont typeface="Wingdings" panose="05000000000000000000" pitchFamily="2" charset="2"/>
              <a:buChar char="§"/>
            </a:pPr>
            <a:r>
              <a:rPr lang="en-US" sz="900" dirty="0"/>
              <a:t>Sum of HW Revenue Delta, SW Revenue Delta and Services Revenue Delta will be displayed here once Ready for CCB Meeting is set to Yes, saved and the page is refreshed.</a:t>
            </a:r>
          </a:p>
          <a:p>
            <a:pPr>
              <a:buFont typeface="Wingdings" panose="05000000000000000000" pitchFamily="2" charset="2"/>
              <a:buChar char="§"/>
            </a:pPr>
            <a:r>
              <a:rPr lang="en-US" sz="900" dirty="0"/>
              <a:t>If the CPM wish to make changes in the Revenue or Cost Delta, CPM has to select </a:t>
            </a:r>
            <a:r>
              <a:rPr lang="en-US" sz="900" b="1" dirty="0"/>
              <a:t>"Resubmit"</a:t>
            </a:r>
          </a:p>
          <a:p>
            <a:pPr>
              <a:buFont typeface="Wingdings" panose="05000000000000000000" pitchFamily="2" charset="2"/>
              <a:buChar char="§"/>
            </a:pPr>
            <a:r>
              <a:rPr lang="en-US" sz="900" dirty="0"/>
              <a:t>The status of the Change Request will be changed once the approval is done</a:t>
            </a:r>
            <a:endParaRPr lang="en-US" sz="1400" dirty="0"/>
          </a:p>
        </p:txBody>
      </p:sp>
      <p:sp>
        <p:nvSpPr>
          <p:cNvPr id="52" name="Rectangle 51">
            <a:extLst>
              <a:ext uri="{FF2B5EF4-FFF2-40B4-BE49-F238E27FC236}">
                <a16:creationId xmlns:a16="http://schemas.microsoft.com/office/drawing/2014/main" id="{036AF3C2-6828-4FCC-B681-6BC96A930135}"/>
              </a:ext>
            </a:extLst>
          </p:cNvPr>
          <p:cNvSpPr/>
          <p:nvPr/>
        </p:nvSpPr>
        <p:spPr bwMode="auto">
          <a:xfrm>
            <a:off x="8452020" y="3804469"/>
            <a:ext cx="3292566" cy="418433"/>
          </a:xfrm>
          <a:prstGeom prst="rect">
            <a:avLst/>
          </a:prstGeom>
          <a:noFill/>
          <a:ln w="12700" cap="flat" cmpd="sng" algn="ctr">
            <a:solidFill>
              <a:schemeClr val="bg1">
                <a:lumMod val="50000"/>
              </a:schemeClr>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50000"/>
              </a:spcBef>
              <a:spcAft>
                <a:spcPct val="0"/>
              </a:spcAft>
            </a:pPr>
            <a:r>
              <a:rPr lang="en-US" sz="1600" dirty="0">
                <a:solidFill>
                  <a:srgbClr val="92D050"/>
                </a:solidFill>
                <a:latin typeface="Ericsson Hilda"/>
              </a:rPr>
              <a:t>Tips</a:t>
            </a:r>
          </a:p>
        </p:txBody>
      </p:sp>
      <p:sp>
        <p:nvSpPr>
          <p:cNvPr id="53" name="Freeform 3">
            <a:extLst>
              <a:ext uri="{FF2B5EF4-FFF2-40B4-BE49-F238E27FC236}">
                <a16:creationId xmlns:a16="http://schemas.microsoft.com/office/drawing/2014/main" id="{C6F2A08F-66B7-417B-88D4-88FA6BD5217D}"/>
              </a:ext>
            </a:extLst>
          </p:cNvPr>
          <p:cNvSpPr>
            <a:spLocks noChangeAspect="1" noEditPoints="1"/>
          </p:cNvSpPr>
          <p:nvPr/>
        </p:nvSpPr>
        <p:spPr bwMode="auto">
          <a:xfrm>
            <a:off x="10822792" y="3819128"/>
            <a:ext cx="421250" cy="318910"/>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rgbClr val="84D300"/>
          </a:solidFill>
          <a:ln>
            <a:noFill/>
          </a:ln>
          <a:extLst/>
        </p:spPr>
        <p:txBody>
          <a:bodyPr/>
          <a:lstStyle/>
          <a:p>
            <a:endParaRPr lang="en-US"/>
          </a:p>
        </p:txBody>
      </p:sp>
      <p:sp>
        <p:nvSpPr>
          <p:cNvPr id="54" name="Shape 25063">
            <a:extLst>
              <a:ext uri="{FF2B5EF4-FFF2-40B4-BE49-F238E27FC236}">
                <a16:creationId xmlns:a16="http://schemas.microsoft.com/office/drawing/2014/main" id="{5F770504-33CE-4EF7-8883-682E7FFF20BE}"/>
              </a:ext>
            </a:extLst>
          </p:cNvPr>
          <p:cNvSpPr txBox="1"/>
          <p:nvPr/>
        </p:nvSpPr>
        <p:spPr>
          <a:xfrm>
            <a:off x="5259499" y="2673320"/>
            <a:ext cx="2354984" cy="526835"/>
          </a:xfrm>
          <a:prstGeom prst="rect">
            <a:avLst/>
          </a:prstGeom>
          <a:noFill/>
          <a:ln>
            <a:noFill/>
          </a:ln>
        </p:spPr>
        <p:txBody>
          <a:bodyPr spcFirstLastPara="1" wrap="square" lIns="0" tIns="16933" rIns="0" bIns="0" anchor="b" anchorCtr="0">
            <a:noAutofit/>
          </a:bodyPr>
          <a:lstStyle/>
          <a:p>
            <a:r>
              <a:rPr lang="en-US" sz="1000" dirty="0">
                <a:solidFill>
                  <a:schemeClr val="bg1"/>
                </a:solidFill>
              </a:rPr>
              <a:t>"Billable" requires revenue delta to be non-zero, "Non-billable" requires revenue delta to be zero</a:t>
            </a:r>
          </a:p>
        </p:txBody>
      </p:sp>
      <p:sp>
        <p:nvSpPr>
          <p:cNvPr id="56" name="Shape 25069">
            <a:extLst>
              <a:ext uri="{FF2B5EF4-FFF2-40B4-BE49-F238E27FC236}">
                <a16:creationId xmlns:a16="http://schemas.microsoft.com/office/drawing/2014/main" id="{94CF52E6-092E-41FC-9759-5DF9510BF891}"/>
              </a:ext>
            </a:extLst>
          </p:cNvPr>
          <p:cNvSpPr txBox="1"/>
          <p:nvPr/>
        </p:nvSpPr>
        <p:spPr>
          <a:xfrm>
            <a:off x="3524770" y="4722628"/>
            <a:ext cx="1527378" cy="535880"/>
          </a:xfrm>
          <a:prstGeom prst="rect">
            <a:avLst/>
          </a:prstGeom>
          <a:noFill/>
          <a:ln>
            <a:noFill/>
          </a:ln>
        </p:spPr>
        <p:txBody>
          <a:bodyPr spcFirstLastPara="1" wrap="square" lIns="0" tIns="10133" rIns="0" bIns="0" anchor="ctr" anchorCtr="0">
            <a:noAutofit/>
          </a:bodyPr>
          <a:lstStyle/>
          <a:p>
            <a:r>
              <a:rPr lang="en-US" sz="800" dirty="0">
                <a:solidFill>
                  <a:schemeClr val="bg1"/>
                </a:solidFill>
              </a:rPr>
              <a:t>Click Drop Down against </a:t>
            </a:r>
            <a:r>
              <a:rPr lang="en-US" sz="800" b="1" dirty="0">
                <a:solidFill>
                  <a:schemeClr val="bg1"/>
                </a:solidFill>
              </a:rPr>
              <a:t>Ready for CCB Meeting</a:t>
            </a:r>
          </a:p>
          <a:p>
            <a:r>
              <a:rPr lang="en-US" sz="800" dirty="0">
                <a:solidFill>
                  <a:schemeClr val="bg1"/>
                </a:solidFill>
              </a:rPr>
              <a:t>Select the </a:t>
            </a:r>
            <a:r>
              <a:rPr lang="en-US" sz="800" b="1" dirty="0">
                <a:solidFill>
                  <a:schemeClr val="bg1"/>
                </a:solidFill>
              </a:rPr>
              <a:t>Approval Route </a:t>
            </a:r>
            <a:r>
              <a:rPr lang="en-US" sz="800" dirty="0">
                <a:solidFill>
                  <a:schemeClr val="bg1"/>
                </a:solidFill>
              </a:rPr>
              <a:t>Steering CCB from the drop down.</a:t>
            </a:r>
          </a:p>
        </p:txBody>
      </p:sp>
      <p:sp>
        <p:nvSpPr>
          <p:cNvPr id="58" name="Shape 25071">
            <a:extLst>
              <a:ext uri="{FF2B5EF4-FFF2-40B4-BE49-F238E27FC236}">
                <a16:creationId xmlns:a16="http://schemas.microsoft.com/office/drawing/2014/main" id="{C9AD648E-488B-467A-A591-757649ABBABF}"/>
              </a:ext>
            </a:extLst>
          </p:cNvPr>
          <p:cNvSpPr txBox="1"/>
          <p:nvPr/>
        </p:nvSpPr>
        <p:spPr>
          <a:xfrm>
            <a:off x="3380479" y="5988184"/>
            <a:ext cx="2096083" cy="469395"/>
          </a:xfrm>
          <a:prstGeom prst="rect">
            <a:avLst/>
          </a:prstGeom>
          <a:noFill/>
          <a:ln>
            <a:noFill/>
          </a:ln>
        </p:spPr>
        <p:txBody>
          <a:bodyPr spcFirstLastPara="1" wrap="square" lIns="0" tIns="10133" rIns="0" bIns="0" anchor="t" anchorCtr="0">
            <a:noAutofit/>
          </a:bodyPr>
          <a:lstStyle/>
          <a:p>
            <a:r>
              <a:rPr lang="en-US" sz="800" dirty="0">
                <a:solidFill>
                  <a:schemeClr val="bg1"/>
                </a:solidFill>
              </a:rPr>
              <a:t>CR to be sent for approval  - change of status </a:t>
            </a:r>
          </a:p>
          <a:p>
            <a:r>
              <a:rPr lang="en-US" sz="800" dirty="0">
                <a:solidFill>
                  <a:schemeClr val="bg1"/>
                </a:solidFill>
              </a:rPr>
              <a:t>Click on CCB Meeting Decision  - CPM can select either Approved, Cancelled, Postponed, Rejected or Resubmit. </a:t>
            </a:r>
          </a:p>
          <a:p>
            <a:endParaRPr lang="en-US" sz="800" dirty="0">
              <a:solidFill>
                <a:schemeClr val="bg1"/>
              </a:solidFill>
            </a:endParaRPr>
          </a:p>
        </p:txBody>
      </p:sp>
    </p:spTree>
    <p:extLst>
      <p:ext uri="{BB962C8B-B14F-4D97-AF65-F5344CB8AC3E}">
        <p14:creationId xmlns:p14="http://schemas.microsoft.com/office/powerpoint/2010/main" val="3374021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215E50A-1418-46D5-85EB-798BADF4D72D}"/>
              </a:ext>
            </a:extLst>
          </p:cNvPr>
          <p:cNvSpPr/>
          <p:nvPr/>
        </p:nvSpPr>
        <p:spPr bwMode="auto">
          <a:xfrm>
            <a:off x="6240465" y="1102147"/>
            <a:ext cx="5472112" cy="797771"/>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lvl="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a:pPr>
            <a:endParaRPr kumimoji="0" lang="en-US" sz="2000" b="0" i="0" u="none" strike="noStrike" kern="1200" cap="none" spc="0" normalizeH="0" baseline="0" noProof="0" dirty="0" err="1">
              <a:ln>
                <a:noFill/>
              </a:ln>
              <a:solidFill>
                <a:srgbClr val="FFFFFF"/>
              </a:solidFill>
              <a:effectLst/>
              <a:uLnTx/>
              <a:uFillTx/>
              <a:latin typeface="Ericsson Hilda"/>
              <a:ea typeface="+mn-ea"/>
              <a:cs typeface="+mn-cs"/>
            </a:endParaRPr>
          </a:p>
        </p:txBody>
      </p:sp>
      <p:sp>
        <p:nvSpPr>
          <p:cNvPr id="10" name="Rectangle 9">
            <a:extLst>
              <a:ext uri="{FF2B5EF4-FFF2-40B4-BE49-F238E27FC236}">
                <a16:creationId xmlns:a16="http://schemas.microsoft.com/office/drawing/2014/main" id="{EF5D8901-B2B9-4F3B-839F-9894F8BC763B}"/>
              </a:ext>
            </a:extLst>
          </p:cNvPr>
          <p:cNvSpPr/>
          <p:nvPr/>
        </p:nvSpPr>
        <p:spPr bwMode="auto">
          <a:xfrm>
            <a:off x="479428" y="1102148"/>
            <a:ext cx="5472112" cy="797771"/>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lvl="0" algn="ctr" fontAlgn="base">
              <a:spcBef>
                <a:spcPts val="300"/>
              </a:spcBef>
              <a:spcAft>
                <a:spcPct val="0"/>
              </a:spcAft>
            </a:pPr>
            <a:r>
              <a:rPr lang="en-US" sz="2800" dirty="0">
                <a:solidFill>
                  <a:schemeClr val="bg1"/>
                </a:solidFill>
              </a:rPr>
              <a:t>Do’s</a:t>
            </a:r>
            <a:r>
              <a:rPr lang="en-US" sz="4400" b="1" dirty="0">
                <a:solidFill>
                  <a:schemeClr val="bg1"/>
                </a:solidFill>
                <a:latin typeface="Arial" charset="0"/>
              </a:rPr>
              <a:t> </a:t>
            </a:r>
            <a:endParaRPr kumimoji="0" lang="en-US" sz="2000" b="0" i="0" u="none" strike="noStrike" kern="1200" cap="none" spc="0" normalizeH="0" baseline="0" noProof="0" dirty="0" err="1">
              <a:ln>
                <a:noFill/>
              </a:ln>
              <a:solidFill>
                <a:schemeClr val="bg1"/>
              </a:solidFill>
              <a:effectLst/>
              <a:uLnTx/>
              <a:uFillTx/>
              <a:latin typeface="Ericsson Hilda"/>
            </a:endParaRPr>
          </a:p>
        </p:txBody>
      </p:sp>
      <p:sp>
        <p:nvSpPr>
          <p:cNvPr id="11" name="Content Placeholder 5">
            <a:extLst>
              <a:ext uri="{FF2B5EF4-FFF2-40B4-BE49-F238E27FC236}">
                <a16:creationId xmlns:a16="http://schemas.microsoft.com/office/drawing/2014/main" id="{24848789-7212-41C5-AD24-805932D8DD0C}"/>
              </a:ext>
            </a:extLst>
          </p:cNvPr>
          <p:cNvSpPr txBox="1">
            <a:spLocks/>
          </p:cNvSpPr>
          <p:nvPr/>
        </p:nvSpPr>
        <p:spPr>
          <a:xfrm>
            <a:off x="6240465" y="997218"/>
            <a:ext cx="5472112" cy="3688959"/>
          </a:xfrm>
          <a:prstGeom prst="rect">
            <a:avLst/>
          </a:prstGeom>
        </p:spPr>
        <p:txBody>
          <a:bodyPr lIns="182880" tIns="182880" rIns="182880" bIns="182880"/>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0" marR="0" lvl="0" indent="0" algn="ctr" defTabSz="914400" rtl="0" eaLnBrk="1" fontAlgn="base" latinLnBrk="0" hangingPunct="1">
              <a:lnSpc>
                <a:spcPct val="100000"/>
              </a:lnSpc>
              <a:spcBef>
                <a:spcPts val="300"/>
              </a:spcBef>
              <a:spcAft>
                <a:spcPct val="0"/>
              </a:spcAft>
              <a:buClr>
                <a:srgbClr val="181818"/>
              </a:buClr>
              <a:buSzTx/>
              <a:buFont typeface="Ericsson Hilda Light" panose="00000400000000000000" pitchFamily="2" charset="0"/>
              <a:buNone/>
              <a:tabLst/>
              <a:defRPr/>
            </a:pPr>
            <a:r>
              <a:rPr kumimoji="0" lang="en-US" sz="2800" b="0" i="0" u="none" strike="noStrike" kern="1000" cap="none" spc="-30" normalizeH="0" baseline="0" noProof="0" dirty="0">
                <a:ln>
                  <a:noFill/>
                </a:ln>
                <a:solidFill>
                  <a:srgbClr val="FFFFFF"/>
                </a:solidFill>
                <a:effectLst/>
                <a:uLnTx/>
                <a:uFillTx/>
                <a:latin typeface="Ericsson Hilda"/>
                <a:ea typeface="+mn-ea"/>
                <a:cs typeface="+mn-cs"/>
              </a:rPr>
              <a:t>DON’TS</a:t>
            </a:r>
            <a:r>
              <a:rPr kumimoji="0" lang="en-US" sz="2000" b="0" i="0" u="none" strike="noStrike" kern="1000" cap="none" spc="-30" normalizeH="0" baseline="0" noProof="0" dirty="0">
                <a:ln>
                  <a:noFill/>
                </a:ln>
                <a:solidFill>
                  <a:srgbClr val="FFFFFF"/>
                </a:solidFill>
                <a:effectLst/>
                <a:uLnTx/>
                <a:uFillTx/>
                <a:latin typeface="Ericsson Hilda"/>
                <a:ea typeface="+mn-ea"/>
                <a:cs typeface="+mn-cs"/>
              </a:rPr>
              <a:t> </a:t>
            </a:r>
          </a:p>
        </p:txBody>
      </p:sp>
      <p:sp>
        <p:nvSpPr>
          <p:cNvPr id="12" name="Content Placeholder 4">
            <a:extLst>
              <a:ext uri="{FF2B5EF4-FFF2-40B4-BE49-F238E27FC236}">
                <a16:creationId xmlns:a16="http://schemas.microsoft.com/office/drawing/2014/main" id="{9EEC136A-417A-48B2-9719-937AA36265B3}"/>
              </a:ext>
            </a:extLst>
          </p:cNvPr>
          <p:cNvSpPr txBox="1">
            <a:spLocks/>
          </p:cNvSpPr>
          <p:nvPr/>
        </p:nvSpPr>
        <p:spPr>
          <a:xfrm>
            <a:off x="479426" y="883922"/>
            <a:ext cx="5472113" cy="3688958"/>
          </a:xfrm>
          <a:prstGeom prst="rect">
            <a:avLst/>
          </a:prstGeom>
        </p:spPr>
        <p:txBody>
          <a:bodyPr lIns="182880" tIns="182880" rIns="182880" bIns="182880"/>
          <a:lstStyle>
            <a:lvl1pPr marL="3429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ea typeface="+mn-ea"/>
                <a:cs typeface="+mn-cs"/>
              </a:defRPr>
            </a:lvl1pPr>
            <a:lvl2pPr marL="712788"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2pPr>
            <a:lvl3pPr marL="10795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3pPr>
            <a:lvl4pPr marL="1435100"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4pPr>
            <a:lvl5pPr marL="1770063" indent="-342900" algn="l" rtl="0" eaLnBrk="1" fontAlgn="base" hangingPunct="1">
              <a:spcBef>
                <a:spcPts val="300"/>
              </a:spcBef>
              <a:spcAft>
                <a:spcPct val="0"/>
              </a:spcAft>
              <a:buClr>
                <a:schemeClr val="tx1"/>
              </a:buClr>
              <a:buFont typeface="Ericsson Hilda Light" panose="00000400000000000000" pitchFamily="2" charset="0"/>
              <a:buChar char="—"/>
              <a:defRPr sz="2000" kern="1000" spc="-30">
                <a:solidFill>
                  <a:schemeClr val="tx1"/>
                </a:solidFill>
                <a:latin typeface="+mn-lt"/>
              </a:defRPr>
            </a:lvl5pPr>
            <a:lvl6pPr marL="20716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Hilda" pitchFamily="2" charset="0"/>
              <a:buChar char="›"/>
              <a:defRPr sz="2000">
                <a:solidFill>
                  <a:schemeClr val="tx1"/>
                </a:solidFill>
                <a:latin typeface="+mn-lt"/>
              </a:defRPr>
            </a:lvl9pPr>
          </a:lstStyle>
          <a:p>
            <a:pPr marL="0" lvl="0" indent="0">
              <a:buClr>
                <a:srgbClr val="181818"/>
              </a:buClr>
              <a:buNone/>
            </a:pPr>
            <a:r>
              <a:rPr lang="en-US" sz="3200" b="1" dirty="0">
                <a:solidFill>
                  <a:schemeClr val="accent2"/>
                </a:solidFill>
                <a:latin typeface="Arial" charset="0"/>
              </a:rPr>
              <a:t> </a:t>
            </a:r>
          </a:p>
          <a:p>
            <a:pPr>
              <a:spcBef>
                <a:spcPct val="50000"/>
              </a:spcBef>
              <a:buClrTx/>
            </a:pPr>
            <a:endParaRPr lang="en-US" sz="1800" b="1" dirty="0">
              <a:solidFill>
                <a:schemeClr val="accent2"/>
              </a:solidFill>
            </a:endParaRPr>
          </a:p>
          <a:p>
            <a:pPr marL="285750" indent="-285750">
              <a:spcBef>
                <a:spcPct val="50000"/>
              </a:spcBef>
              <a:buClrTx/>
              <a:buFont typeface="Wingdings" panose="05000000000000000000" pitchFamily="2" charset="2"/>
              <a:buChar char="ü"/>
            </a:pPr>
            <a:r>
              <a:rPr lang="en-US" sz="1600" b="1" dirty="0">
                <a:solidFill>
                  <a:schemeClr val="accent2"/>
                </a:solidFill>
              </a:rPr>
              <a:t>Review Chronos learning portal material specifically for Change requests before creating a CR in Chronos </a:t>
            </a:r>
          </a:p>
          <a:p>
            <a:pPr marL="285750" indent="-285750">
              <a:spcBef>
                <a:spcPct val="50000"/>
              </a:spcBef>
              <a:buClrTx/>
              <a:buFont typeface="Wingdings" panose="05000000000000000000" pitchFamily="2" charset="2"/>
              <a:buChar char="ü"/>
            </a:pPr>
            <a:r>
              <a:rPr lang="en-US" sz="1600" b="1" dirty="0">
                <a:solidFill>
                  <a:schemeClr val="accent2"/>
                </a:solidFill>
              </a:rPr>
              <a:t>Get fully familiar with the customer CR process and related contractual T’s &amp; C’s</a:t>
            </a:r>
          </a:p>
          <a:p>
            <a:pPr marL="285750" indent="-285750">
              <a:buFont typeface="Wingdings" panose="05000000000000000000" pitchFamily="2" charset="2"/>
              <a:buChar char="ü"/>
            </a:pPr>
            <a:r>
              <a:rPr lang="en-US" sz="1600" b="1" dirty="0">
                <a:solidFill>
                  <a:schemeClr val="accent2"/>
                </a:solidFill>
              </a:rPr>
              <a:t>Raise CR in case of any change impacting scope, schedule, requirements, procedures and/or financials</a:t>
            </a:r>
          </a:p>
          <a:p>
            <a:pPr marL="285750" indent="-285750">
              <a:spcBef>
                <a:spcPct val="50000"/>
              </a:spcBef>
              <a:buClrTx/>
              <a:buFont typeface="Wingdings" panose="05000000000000000000" pitchFamily="2" charset="2"/>
              <a:buChar char="ü"/>
            </a:pPr>
            <a:r>
              <a:rPr lang="en-US" sz="1600" b="1" dirty="0">
                <a:solidFill>
                  <a:schemeClr val="accent2"/>
                </a:solidFill>
              </a:rPr>
              <a:t>If unsure, ask GC SME how to qualify CR</a:t>
            </a:r>
          </a:p>
          <a:p>
            <a:pPr marL="285750" indent="-285750">
              <a:spcBef>
                <a:spcPct val="50000"/>
              </a:spcBef>
              <a:buClrTx/>
              <a:buFont typeface="Wingdings" panose="05000000000000000000" pitchFamily="2" charset="2"/>
              <a:buChar char="ü"/>
            </a:pPr>
            <a:r>
              <a:rPr lang="en-US" sz="1600" b="1" dirty="0">
                <a:solidFill>
                  <a:schemeClr val="accent2"/>
                </a:solidFill>
              </a:rPr>
              <a:t>Express CR financials always in currency of the project in Chronos</a:t>
            </a:r>
          </a:p>
          <a:p>
            <a:pPr marL="285750" indent="-285750">
              <a:buFont typeface="Wingdings" panose="05000000000000000000" pitchFamily="2" charset="2"/>
              <a:buChar char="ü"/>
            </a:pPr>
            <a:r>
              <a:rPr lang="en-US" sz="1600" b="1" dirty="0">
                <a:solidFill>
                  <a:schemeClr val="accent2"/>
                </a:solidFill>
              </a:rPr>
              <a:t>CR value should ONLY reflect the difference (delta) before and after the change.</a:t>
            </a:r>
          </a:p>
          <a:p>
            <a:pPr marL="285750" indent="-285750">
              <a:spcBef>
                <a:spcPct val="50000"/>
              </a:spcBef>
              <a:buClrTx/>
              <a:buFont typeface="Wingdings" panose="05000000000000000000" pitchFamily="2" charset="2"/>
              <a:buChar char="ü"/>
            </a:pPr>
            <a:r>
              <a:rPr lang="en-US" sz="1600" b="1" dirty="0">
                <a:solidFill>
                  <a:schemeClr val="accent2"/>
                </a:solidFill>
              </a:rPr>
              <a:t>Present CR’s in the local CCB before entering them in GC</a:t>
            </a:r>
          </a:p>
        </p:txBody>
      </p:sp>
      <p:sp>
        <p:nvSpPr>
          <p:cNvPr id="2" name="Rectangle 1">
            <a:extLst>
              <a:ext uri="{FF2B5EF4-FFF2-40B4-BE49-F238E27FC236}">
                <a16:creationId xmlns:a16="http://schemas.microsoft.com/office/drawing/2014/main" id="{9DB1CBE8-BB85-47F5-92BF-110BA8A1C589}"/>
              </a:ext>
            </a:extLst>
          </p:cNvPr>
          <p:cNvSpPr/>
          <p:nvPr/>
        </p:nvSpPr>
        <p:spPr>
          <a:xfrm>
            <a:off x="6096002" y="2430258"/>
            <a:ext cx="6096000" cy="2446824"/>
          </a:xfrm>
          <a:prstGeom prst="rect">
            <a:avLst/>
          </a:prstGeom>
        </p:spPr>
        <p:txBody>
          <a:bodyPr>
            <a:spAutoFit/>
          </a:bodyPr>
          <a:lstStyle/>
          <a:p>
            <a:pPr marL="285750" indent="-285750" fontAlgn="base">
              <a:spcBef>
                <a:spcPct val="50000"/>
              </a:spcBef>
              <a:spcAft>
                <a:spcPct val="0"/>
              </a:spcAft>
              <a:buClr>
                <a:srgbClr val="FF0000"/>
              </a:buClr>
              <a:buFont typeface="Arial" panose="020B0604020202020204" pitchFamily="34" charset="0"/>
              <a:buChar char="X"/>
            </a:pPr>
            <a:r>
              <a:rPr lang="en-US" b="1" dirty="0">
                <a:solidFill>
                  <a:srgbClr val="FF0000"/>
                </a:solidFill>
              </a:rPr>
              <a:t>Raise CR without properly documented reason and qualified / quantified impact</a:t>
            </a:r>
          </a:p>
          <a:p>
            <a:pPr marL="285750" indent="-285750" fontAlgn="base">
              <a:spcBef>
                <a:spcPct val="50000"/>
              </a:spcBef>
              <a:spcAft>
                <a:spcPct val="0"/>
              </a:spcAft>
              <a:buClr>
                <a:srgbClr val="FF0000"/>
              </a:buClr>
              <a:buFont typeface="Arial" panose="020B0604020202020204" pitchFamily="34" charset="0"/>
              <a:buChar char="X"/>
            </a:pPr>
            <a:r>
              <a:rPr lang="en-US" b="1" dirty="0">
                <a:solidFill>
                  <a:srgbClr val="FF0000"/>
                </a:solidFill>
              </a:rPr>
              <a:t>Perform work related to the CR prior to the CR approval, be it external or internal</a:t>
            </a:r>
          </a:p>
          <a:p>
            <a:pPr marL="285750" indent="-285750" fontAlgn="base">
              <a:spcBef>
                <a:spcPct val="50000"/>
              </a:spcBef>
              <a:spcAft>
                <a:spcPct val="0"/>
              </a:spcAft>
              <a:buClr>
                <a:srgbClr val="FF0000"/>
              </a:buClr>
              <a:buFont typeface="Arial" panose="020B0604020202020204" pitchFamily="34" charset="0"/>
              <a:buChar char="X"/>
            </a:pPr>
            <a:r>
              <a:rPr lang="en-US" b="1" dirty="0">
                <a:solidFill>
                  <a:srgbClr val="FF0000"/>
                </a:solidFill>
              </a:rPr>
              <a:t>Mark CR as an add-on sales before consulting ACR</a:t>
            </a:r>
          </a:p>
          <a:p>
            <a:pPr marL="285750" indent="-285750" fontAlgn="base">
              <a:spcBef>
                <a:spcPct val="50000"/>
              </a:spcBef>
              <a:spcAft>
                <a:spcPct val="0"/>
              </a:spcAft>
              <a:buClr>
                <a:srgbClr val="FF0000"/>
              </a:buClr>
              <a:buFont typeface="Arial" panose="020B0604020202020204" pitchFamily="34" charset="0"/>
              <a:buChar char="X"/>
            </a:pPr>
            <a:r>
              <a:rPr lang="en-US" b="1" dirty="0">
                <a:solidFill>
                  <a:srgbClr val="FF0000"/>
                </a:solidFill>
              </a:rPr>
              <a:t>Position CR value reflecting full project financials including the change.  </a:t>
            </a:r>
          </a:p>
        </p:txBody>
      </p:sp>
    </p:spTree>
    <p:extLst>
      <p:ext uri="{BB962C8B-B14F-4D97-AF65-F5344CB8AC3E}">
        <p14:creationId xmlns:p14="http://schemas.microsoft.com/office/powerpoint/2010/main" val="1967141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none"/>
        </a:ln>
        <a:effectLst/>
      </a:spPr>
      <a:bodyPr/>
      <a:lstStyle/>
    </a:lnDef>
    <a:txDef>
      <a:spPr bwMode="auto">
        <a:noFill/>
        <a:ln w="9525">
          <a:noFill/>
          <a:miter lim="800000"/>
          <a:headEnd/>
          <a:tailEnd/>
        </a:ln>
      </a:spPr>
      <a:bodyPr vert="horz" wrap="square" lIns="72000" tIns="36000" rIns="0" bIns="0" numCol="1" rtlCol="0" anchor="t" anchorCtr="0" compatLnSpc="1">
        <a:prstTxWarp prst="textNoShape">
          <a:avLst/>
        </a:prstTxWarp>
        <a:spAutoFit/>
      </a:bodyPr>
      <a:lstStyle>
        <a:defPPr marL="344488" indent="-344488">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_Template_Early_Adopter_Beta_6.potx" id="{23309F28-07FE-4A4F-B22B-D909528E4804}" vid="{3F95330C-3735-4FC1-A35C-EA324CFEAFA4}"/>
    </a:ext>
  </a:extLst>
</a:theme>
</file>

<file path=ppt/theme/theme2.xml><?xml version="1.0" encoding="utf-8"?>
<a:theme xmlns:a="http://schemas.openxmlformats.org/drawingml/2006/main" name="1_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def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2700" cap="flat" cmpd="sng" algn="ctr">
          <a:solidFill>
            <a:schemeClr val="tx1"/>
          </a:solidFill>
          <a:prstDash val="solid"/>
          <a:round/>
          <a:headEnd type="none" w="med" len="med"/>
          <a:tailEnd type="none"/>
        </a:ln>
        <a:effectLst/>
      </a:spPr>
      <a:bodyPr/>
      <a:lstStyle/>
    </a:lnDef>
    <a:txDef>
      <a:spPr bwMode="auto">
        <a:noFill/>
        <a:ln w="12700">
          <a:noFill/>
          <a:miter lim="800000"/>
          <a:headEnd/>
          <a:tailEnd/>
        </a:ln>
      </a:spPr>
      <a:bodyPr vert="horz" wrap="square" lIns="72000" tIns="36000" rIns="73152" bIns="36576" numCol="1" rtlCol="0" anchor="t" anchorCtr="0" compatLnSpc="1">
        <a:prstTxWarp prst="textNoShape">
          <a:avLst/>
        </a:prstTxWarp>
        <a:noAutofit/>
      </a:bodyPr>
      <a:lstStyle>
        <a:defPPr marL="344488" indent="-344488" algn="l">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Template2017.potx" id="{F394490D-1954-44FE-B8ED-56040734EC47}" vid="{6EB75BB7-B825-43F3-83B5-9802AE7E790E}"/>
    </a:ext>
  </a:extLst>
</a:theme>
</file>

<file path=ppt/theme/theme3.xml><?xml version="1.0" encoding="utf-8"?>
<a:theme xmlns:a="http://schemas.openxmlformats.org/drawingml/2006/main" name="2_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def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2700" cap="flat" cmpd="sng" algn="ctr">
          <a:solidFill>
            <a:schemeClr val="tx1"/>
          </a:solidFill>
          <a:prstDash val="solid"/>
          <a:round/>
          <a:headEnd type="none" w="med" len="med"/>
          <a:tailEnd type="none"/>
        </a:ln>
        <a:effectLst/>
      </a:spPr>
      <a:bodyPr/>
      <a:lstStyle/>
    </a:lnDef>
    <a:txDef>
      <a:spPr bwMode="auto">
        <a:noFill/>
        <a:ln w="12700">
          <a:noFill/>
          <a:miter lim="800000"/>
          <a:headEnd/>
          <a:tailEnd/>
        </a:ln>
      </a:spPr>
      <a:bodyPr vert="horz" wrap="square" lIns="72000" tIns="36000" rIns="73152" bIns="36576" numCol="1" rtlCol="0" anchor="t" anchorCtr="0" compatLnSpc="1">
        <a:prstTxWarp prst="textNoShape">
          <a:avLst/>
        </a:prstTxWarp>
        <a:noAutofit/>
      </a:bodyPr>
      <a:lstStyle>
        <a:defPPr marL="344488" indent="-344488" algn="l">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 PPT TEMPLATE.potx" id="{5C4214EF-07C0-4DCA-8509-773C750C38FC}" vid="{A3297B06-2688-4BB2-881C-93FA24F6FE17}"/>
    </a:ext>
  </a:extLst>
</a:theme>
</file>

<file path=ppt/theme/theme4.xml><?xml version="1.0" encoding="utf-8"?>
<a:theme xmlns:a="http://schemas.openxmlformats.org/drawingml/2006/main" name="PresentationTemplate2011">
  <a:themeElements>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fontScheme name="Landscape2009">
      <a:majorFont>
        <a:latin typeface="Ericsson Capital 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def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2700" cap="flat" cmpd="sng" algn="ctr">
          <a:solidFill>
            <a:schemeClr val="tx1"/>
          </a:solidFill>
          <a:prstDash val="solid"/>
          <a:round/>
          <a:headEnd type="none" w="med" len="med"/>
          <a:tailEnd type="none"/>
        </a:ln>
        <a:effectLst/>
      </a:spPr>
      <a:bodyPr/>
      <a:lstStyle/>
    </a:lnDef>
    <a:txDef>
      <a:spPr bwMode="auto">
        <a:noFill/>
        <a:ln w="12700">
          <a:noFill/>
          <a:miter lim="800000"/>
          <a:headEnd/>
          <a:tailEnd/>
        </a:ln>
      </a:spPr>
      <a:bodyPr vert="horz" wrap="square" lIns="72000" tIns="36000" rIns="73152" bIns="36576" numCol="1" rtlCol="0" anchor="t" anchorCtr="0" compatLnSpc="1">
        <a:prstTxWarp prst="textNoShape">
          <a:avLst/>
        </a:prstTxWarp>
        <a:noAutofit/>
      </a:bodyPr>
      <a:lstStyle>
        <a:defPPr marL="344488" indent="-344488" algn="l">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 PPT TEMPLATE.potx" id="{5C4214EF-07C0-4DCA-8509-773C750C38FC}" vid="{A3297B06-2688-4BB2-881C-93FA24F6FE17}"/>
    </a:ext>
  </a:extLst>
</a:theme>
</file>

<file path=ppt/theme/theme6.xml><?xml version="1.0" encoding="utf-8"?>
<a:theme xmlns:a="http://schemas.openxmlformats.org/drawingml/2006/main" name="3_PresentationTemplate2017">
  <a:themeElements>
    <a:clrScheme name="Custom 6">
      <a:dk1>
        <a:srgbClr val="181818"/>
      </a:dk1>
      <a:lt1>
        <a:srgbClr val="FFFFFF"/>
      </a:lt1>
      <a:dk2>
        <a:srgbClr val="181818"/>
      </a:dk2>
      <a:lt2>
        <a:srgbClr val="E0E0E0"/>
      </a:lt2>
      <a:accent1>
        <a:srgbClr val="0082F0"/>
      </a:accent1>
      <a:accent2>
        <a:srgbClr val="0FC373"/>
      </a:accent2>
      <a:accent3>
        <a:srgbClr val="AF78D2"/>
      </a:accent3>
      <a:accent4>
        <a:srgbClr val="FAD22D"/>
      </a:accent4>
      <a:accent5>
        <a:srgbClr val="FF8C0A"/>
      </a:accent5>
      <a:accent6>
        <a:srgbClr val="FF3232"/>
      </a:accent6>
      <a:hlink>
        <a:srgbClr val="0A14D2"/>
      </a:hlink>
      <a:folHlink>
        <a:srgbClr val="040969"/>
      </a:folHlink>
    </a:clrScheme>
    <a:fontScheme name="Ericsson Brand 2.0">
      <a:majorFont>
        <a:latin typeface="Ericsson Hilda Light"/>
        <a:ea typeface=""/>
        <a:cs typeface=""/>
      </a:majorFont>
      <a:minorFont>
        <a:latin typeface="Ericsson Hild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sz="2000" b="0" i="0" u="none" strike="noStrike" cap="none" normalizeH="0" baseline="0" dirty="0" err="1" smtClean="0">
            <a:ln>
              <a:noFill/>
            </a:ln>
            <a:solidFill>
              <a:schemeClr val="bg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none"/>
        </a:ln>
        <a:effectLst/>
      </a:spPr>
      <a:bodyPr/>
      <a:lstStyle/>
    </a:lnDef>
    <a:txDef>
      <a:spPr bwMode="auto">
        <a:noFill/>
        <a:ln w="9525">
          <a:noFill/>
          <a:miter lim="800000"/>
          <a:headEnd/>
          <a:tailEnd/>
        </a:ln>
      </a:spPr>
      <a:bodyPr vert="horz" wrap="square" lIns="72000" tIns="36000" rIns="0" bIns="0" numCol="1" rtlCol="0" anchor="t" anchorCtr="0" compatLnSpc="1">
        <a:prstTxWarp prst="textNoShape">
          <a:avLst/>
        </a:prstTxWarp>
        <a:spAutoFit/>
      </a:bodyPr>
      <a:lstStyle>
        <a:defPPr marL="344488" indent="-344488">
          <a:buClr>
            <a:schemeClr val="tx1"/>
          </a:buClr>
          <a:buFont typeface="Ericsson Hilda Light" panose="00000400000000000000" pitchFamily="2" charset="0"/>
          <a:buChar char="—"/>
          <a:defRPr sz="2000" dirty="0" err="1" smtClean="0"/>
        </a:defPPr>
      </a:lstStyle>
    </a:tx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_Template_Early_Adopter_Beta_6.potx" id="{23309F28-07FE-4A4F-B22B-D909528E4804}" vid="{3F95330C-3735-4FC1-A35C-EA324CFEAFA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Ericsson Hilda" panose="020F0302020204030204"/>
        <a:ea typeface=""/>
        <a:cs typeface=""/>
        <a:font script="Jpan" typeface="游ゴシック Light"/>
        <a:font script="Hang" typeface="맑은 고딕"/>
        <a:font script="Hans" typeface="等线 Light"/>
        <a:font script="Hant" typeface="新細明體"/>
        <a:font script="Arab" typeface="Ericsson Hilda"/>
        <a:font script="Hebr" typeface="Ericsson Hilda"/>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Ericsson Hilda"/>
        <a:font script="Uigh" typeface="Microsoft Uighur"/>
        <a:font script="Geor" typeface="Sylfaen"/>
        <a:font script="Armn" typeface="Ericsson Hilda Light"/>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ricsson Hilda" panose="020F0502020204030204"/>
        <a:ea typeface=""/>
        <a:cs typeface=""/>
        <a:font script="Jpan" typeface="游ゴシック"/>
        <a:font script="Hang" typeface="맑은 고딕"/>
        <a:font script="Hans" typeface="等线"/>
        <a:font script="Hant" typeface="新細明體"/>
        <a:font script="Arab" typeface="Ericsson Hilda Light"/>
        <a:font script="Hebr" typeface="Ericsson Hilda Light"/>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Ericsson Hilda Light"/>
        <a:font script="Uigh" typeface="Microsoft Uighur"/>
        <a:font script="Geor" typeface="Sylfaen"/>
        <a:font script="Armn" typeface="Ericsson Hilda Light"/>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Ericsson Hilda" panose="020F0302020204030204"/>
        <a:ea typeface=""/>
        <a:cs typeface=""/>
        <a:font script="Jpan" typeface="游ゴシック Light"/>
        <a:font script="Hang" typeface="맑은 고딕"/>
        <a:font script="Hans" typeface="等线 Light"/>
        <a:font script="Hant" typeface="新細明體"/>
        <a:font script="Arab" typeface="Ericsson Hilda"/>
        <a:font script="Hebr" typeface="Ericsson Hilda"/>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Ericsson Hilda"/>
        <a:font script="Uigh" typeface="Microsoft Uighur"/>
        <a:font script="Geor" typeface="Sylfaen"/>
        <a:font script="Armn" typeface="Ericsson Hilda"/>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ricsson Hilda" panose="020F0502020204030204"/>
        <a:ea typeface=""/>
        <a:cs typeface=""/>
        <a:font script="Jpan" typeface="游ゴシック"/>
        <a:font script="Hang" typeface="맑은 고딕"/>
        <a:font script="Hans" typeface="等线"/>
        <a:font script="Hant" typeface="新細明體"/>
        <a:font script="Arab" typeface="Ericsson Hilda"/>
        <a:font script="Hebr" typeface="Ericsson Hilda"/>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Ericsson Hilda"/>
        <a:font script="Uigh" typeface="Microsoft Uighur"/>
        <a:font script="Geor" typeface="Sylfaen"/>
        <a:font script="Armn" typeface="Ericsson Hilda"/>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2CFB2AFFE5A1B4F980C3F302956CA54" ma:contentTypeVersion="6" ma:contentTypeDescription="Create a new document." ma:contentTypeScope="" ma:versionID="163c26c2a10701ac202b838aba12fa3a">
  <xsd:schema xmlns:xsd="http://www.w3.org/2001/XMLSchema" xmlns:xs="http://www.w3.org/2001/XMLSchema" xmlns:p="http://schemas.microsoft.com/office/2006/metadata/properties" xmlns:ns2="6ca2bdae-88f6-45ca-8284-f1f052172376" xmlns:ns3="3e940cbc-e4f6-4f58-a22f-b9e7585e90fc" targetNamespace="http://schemas.microsoft.com/office/2006/metadata/properties" ma:root="true" ma:fieldsID="ac7c7c5d6ab825d1bed638f758f0fb5c" ns2:_="" ns3:_="">
    <xsd:import namespace="6ca2bdae-88f6-45ca-8284-f1f052172376"/>
    <xsd:import namespace="3e940cbc-e4f6-4f58-a22f-b9e7585e90f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a2bdae-88f6-45ca-8284-f1f05217237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940cbc-e4f6-4f58-a22f-b9e7585e90fc"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B1F769F-D60C-44C8-9F22-48399161D7C2}">
  <ds:schemaRefs>
    <ds:schemaRef ds:uri="http://schemas.microsoft.com/sharepoint/v3/contenttype/forms"/>
  </ds:schemaRefs>
</ds:datastoreItem>
</file>

<file path=customXml/itemProps2.xml><?xml version="1.0" encoding="utf-8"?>
<ds:datastoreItem xmlns:ds="http://schemas.openxmlformats.org/officeDocument/2006/customXml" ds:itemID="{C164E903-56EE-411C-9B42-9BDD616784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a2bdae-88f6-45ca-8284-f1f052172376"/>
    <ds:schemaRef ds:uri="3e940cbc-e4f6-4f58-a22f-b9e7585e90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AAEEBC5-C475-4699-BC23-E597F2521563}">
  <ds:schemaRefs>
    <ds:schemaRef ds:uri="http://schemas.openxmlformats.org/package/2006/metadata/core-properties"/>
    <ds:schemaRef ds:uri="6ca2bdae-88f6-45ca-8284-f1f052172376"/>
    <ds:schemaRef ds:uri="http://schemas.microsoft.com/office/2006/documentManagement/types"/>
    <ds:schemaRef ds:uri="http://schemas.microsoft.com/office/infopath/2007/PartnerControls"/>
    <ds:schemaRef ds:uri="3e940cbc-e4f6-4f58-a22f-b9e7585e90fc"/>
    <ds:schemaRef ds:uri="http://purl.org/dc/elements/1.1/"/>
    <ds:schemaRef ds:uri="http://schemas.microsoft.com/office/2006/metadata/properties"/>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8994</TotalTime>
  <Words>2423</Words>
  <Application>Microsoft Office PowerPoint</Application>
  <PresentationFormat>Widescreen</PresentationFormat>
  <Paragraphs>625</Paragraphs>
  <Slides>20</Slides>
  <Notes>20</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41" baseType="lpstr">
      <vt:lpstr>Ericsson Capital TT</vt:lpstr>
      <vt:lpstr>Ericsson Technical Icons</vt:lpstr>
      <vt:lpstr>Ericsson Hilda</vt:lpstr>
      <vt:lpstr>Arial Unicode MS</vt:lpstr>
      <vt:lpstr>Wingdings</vt:lpstr>
      <vt:lpstr>MS PGothic</vt:lpstr>
      <vt:lpstr>Ericsson Hilda Light</vt:lpstr>
      <vt:lpstr>Segoe UI Semilight</vt:lpstr>
      <vt:lpstr>Hilda Light</vt:lpstr>
      <vt:lpstr>Times New Roman</vt:lpstr>
      <vt:lpstr>Batang</vt:lpstr>
      <vt:lpstr>Arial</vt:lpstr>
      <vt:lpstr>MS PGothic</vt:lpstr>
      <vt:lpstr>Calibri</vt:lpstr>
      <vt:lpstr>PresentationTemplate2017</vt:lpstr>
      <vt:lpstr>1_PresentationTemplate2017</vt:lpstr>
      <vt:lpstr>2_PresentationTemplate2017</vt:lpstr>
      <vt:lpstr>PresentationTemplate2011</vt:lpstr>
      <vt:lpstr>4_PresentationTemplate2017</vt:lpstr>
      <vt:lpstr>3_PresentationTemplate2017</vt:lpstr>
      <vt:lpstr>think-cell Slide</vt:lpstr>
      <vt:lpstr>Change Management  GUIDE  </vt:lpstr>
      <vt:lpstr>Change Management Networks &amp; DGS </vt:lpstr>
      <vt:lpstr>Purpose of Change Management  Networks &amp; DGS </vt:lpstr>
      <vt:lpstr>The SDOD3.0 guide</vt:lpstr>
      <vt:lpstr>PowerPoint Presentation</vt:lpstr>
      <vt:lpstr> SDOD tools schematic view </vt:lpstr>
      <vt:lpstr>The Global Chronos/Change request AoS guide</vt:lpstr>
      <vt:lpstr>PowerPoint Presentation</vt:lpstr>
      <vt:lpstr>PowerPoint Presentation</vt:lpstr>
      <vt:lpstr>PowerPoint Presentation</vt:lpstr>
      <vt:lpstr>PowerPoint Presentation</vt:lpstr>
      <vt:lpstr>PowerPoint Presentation</vt:lpstr>
      <vt:lpstr>Standard CR Flow overview Internal Ericsson</vt:lpstr>
      <vt:lpstr>The Change Control Board guide</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 Management GUIDE MMEA BNEW SL BUILD</dc:title>
  <dc:subject>Wrap Up Downloadable Guide</dc:subject>
  <dc:creator>ERANMOO Ranu Moodley</dc:creator>
  <dc:description>019/0113-1 Uen_x000d_  Rev PB2</dc:description>
  <cp:lastModifiedBy>PAM WHIP</cp:lastModifiedBy>
  <cp:revision>329</cp:revision>
  <cp:lastPrinted>2018-06-11T05:29:54Z</cp:lastPrinted>
  <dcterms:created xsi:type="dcterms:W3CDTF">2018-02-07T13:45:44Z</dcterms:created>
  <dcterms:modified xsi:type="dcterms:W3CDTF">2019-06-19T13:2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Presentation2011</vt:lpwstr>
  </property>
  <property fmtid="{D5CDD505-2E9C-101B-9397-08002B2CF9AE}" pid="3" name="TemplateName">
    <vt:lpwstr>CXC 173 2731/1</vt:lpwstr>
  </property>
  <property fmtid="{D5CDD505-2E9C-101B-9397-08002B2CF9AE}" pid="4" name="TemplateVersion">
    <vt:lpwstr>R2A</vt:lpwstr>
  </property>
  <property fmtid="{D5CDD505-2E9C-101B-9397-08002B2CF9AE}" pid="5" name="EmbeddedFonts">
    <vt:bool>false</vt:bool>
  </property>
  <property fmtid="{D5CDD505-2E9C-101B-9397-08002B2CF9AE}" pid="6" name="PackageNo">
    <vt:lpwstr>LXA 119 603</vt:lpwstr>
  </property>
  <property fmtid="{D5CDD505-2E9C-101B-9397-08002B2CF9AE}" pid="7" name="PackageVersion">
    <vt:lpwstr>R6B</vt:lpwstr>
  </property>
  <property fmtid="{D5CDD505-2E9C-101B-9397-08002B2CF9AE}" pid="8" name="TemplateName2">
    <vt:lpwstr>CXC 173 2731/1</vt:lpwstr>
  </property>
  <property fmtid="{D5CDD505-2E9C-101B-9397-08002B2CF9AE}" pid="9" name="TemplateVersion2">
    <vt:lpwstr>R2A</vt:lpwstr>
  </property>
  <property fmtid="{D5CDD505-2E9C-101B-9397-08002B2CF9AE}" pid="10" name="UsedFont">
    <vt:lpwstr>Arial</vt:lpwstr>
  </property>
  <property fmtid="{D5CDD505-2E9C-101B-9397-08002B2CF9AE}" pid="11" name="x">
    <vt:lpwstr>1</vt:lpwstr>
  </property>
  <property fmtid="{D5CDD505-2E9C-101B-9397-08002B2CF9AE}" pid="12" name="SecurityClass">
    <vt:lpwstr>Ericsson Internal</vt:lpwstr>
  </property>
  <property fmtid="{D5CDD505-2E9C-101B-9397-08002B2CF9AE}" pid="13" name="txtConfLabel">
    <vt:lpwstr>Ericsson Internal</vt:lpwstr>
  </property>
  <property fmtid="{D5CDD505-2E9C-101B-9397-08002B2CF9AE}" pid="14" name="DocumentType2">
    <vt:lpwstr>Presentation2011</vt:lpwstr>
  </property>
  <property fmtid="{D5CDD505-2E9C-101B-9397-08002B2CF9AE}" pid="15" name="FooterType">
    <vt:lpwstr>PresTemp</vt:lpwstr>
  </property>
  <property fmtid="{D5CDD505-2E9C-101B-9397-08002B2CF9AE}" pid="16" name="UpdateProcess">
    <vt:lpwstr>End</vt:lpwstr>
  </property>
  <property fmtid="{D5CDD505-2E9C-101B-9397-08002B2CF9AE}" pid="17" name="White">
    <vt:bool>true</vt:bool>
  </property>
  <property fmtid="{D5CDD505-2E9C-101B-9397-08002B2CF9AE}" pid="18" name="chkTaglines">
    <vt:bool>false</vt:bool>
  </property>
  <property fmtid="{D5CDD505-2E9C-101B-9397-08002B2CF9AE}" pid="19" name="chkMetaData">
    <vt:bool>false</vt:bool>
  </property>
  <property fmtid="{D5CDD505-2E9C-101B-9397-08002B2CF9AE}" pid="20" name="Checked">
    <vt:lpwstr/>
  </property>
  <property fmtid="{D5CDD505-2E9C-101B-9397-08002B2CF9AE}" pid="21" name="Reference">
    <vt:lpwstr/>
  </property>
  <property fmtid="{D5CDD505-2E9C-101B-9397-08002B2CF9AE}" pid="22" name="Keyword">
    <vt:lpwstr/>
  </property>
  <property fmtid="{D5CDD505-2E9C-101B-9397-08002B2CF9AE}" pid="23" name="optUseConfClass">
    <vt:bool>true</vt:bool>
  </property>
  <property fmtid="{D5CDD505-2E9C-101B-9397-08002B2CF9AE}" pid="24" name="optUseConfLabel">
    <vt:bool>false</vt:bool>
  </property>
  <property fmtid="{D5CDD505-2E9C-101B-9397-08002B2CF9AE}" pid="25" name="optFooterCVLDocNo">
    <vt:bool>true</vt:bool>
  </property>
  <property fmtid="{D5CDD505-2E9C-101B-9397-08002B2CF9AE}" pid="26" name="optFooterCVLCopyright">
    <vt:bool>false</vt:bool>
  </property>
  <property fmtid="{D5CDD505-2E9C-101B-9397-08002B2CF9AE}" pid="27" name="optEnterText1">
    <vt:bool>false</vt:bool>
  </property>
  <property fmtid="{D5CDD505-2E9C-101B-9397-08002B2CF9AE}" pid="28" name="LeftFooterField">
    <vt:lpwstr>019/0113-1 Uen, Rev PB3</vt:lpwstr>
  </property>
  <property fmtid="{D5CDD505-2E9C-101B-9397-08002B2CF9AE}" pid="29" name="optFooterCVLConfLabel">
    <vt:bool>true</vt:bool>
  </property>
  <property fmtid="{D5CDD505-2E9C-101B-9397-08002B2CF9AE}" pid="30" name="optEnterText2">
    <vt:bool>false</vt:bool>
  </property>
  <property fmtid="{D5CDD505-2E9C-101B-9397-08002B2CF9AE}" pid="31" name="MiddleFooterField">
    <vt:lpwstr>Ericsson Internal</vt:lpwstr>
  </property>
  <property fmtid="{D5CDD505-2E9C-101B-9397-08002B2CF9AE}" pid="32" name="optFooterCVLTitle">
    <vt:bool>true</vt:bool>
  </property>
  <property fmtid="{D5CDD505-2E9C-101B-9397-08002B2CF9AE}" pid="33" name="optFooterCVLPrep">
    <vt:bool>false</vt:bool>
  </property>
  <property fmtid="{D5CDD505-2E9C-101B-9397-08002B2CF9AE}" pid="34" name="optEnterText3">
    <vt:bool>false</vt:bool>
  </property>
  <property fmtid="{D5CDD505-2E9C-101B-9397-08002B2CF9AE}" pid="35" name="RightFooterField">
    <vt:lpwstr>Change Management GUIDE SDOD GC CR CCB</vt:lpwstr>
  </property>
  <property fmtid="{D5CDD505-2E9C-101B-9397-08002B2CF9AE}" pid="36" name="optFooterCVLDate">
    <vt:bool>true</vt:bool>
  </property>
  <property fmtid="{D5CDD505-2E9C-101B-9397-08002B2CF9AE}" pid="37" name="optEnterText4">
    <vt:bool>false</vt:bool>
  </property>
  <property fmtid="{D5CDD505-2E9C-101B-9397-08002B2CF9AE}" pid="38" name="RightFooterField2">
    <vt:lpwstr>2019-06-19</vt:lpwstr>
  </property>
  <property fmtid="{D5CDD505-2E9C-101B-9397-08002B2CF9AE}" pid="39" name="Pages">
    <vt:bool>false</vt:bool>
  </property>
  <property fmtid="{D5CDD505-2E9C-101B-9397-08002B2CF9AE}" pid="40" name="TotalNumb">
    <vt:bool>false</vt:bool>
  </property>
  <property fmtid="{D5CDD505-2E9C-101B-9397-08002B2CF9AE}" pid="41" name="ContentTypeId">
    <vt:lpwstr>0x01010082CFB2AFFE5A1B4F980C3F302956CA54</vt:lpwstr>
  </property>
  <property fmtid="{D5CDD505-2E9C-101B-9397-08002B2CF9AE}" pid="42" name="chkShowAll">
    <vt:bool>false</vt:bool>
  </property>
  <property fmtid="{D5CDD505-2E9C-101B-9397-08002B2CF9AE}" pid="43" name="chkOnlyTitle">
    <vt:bool>false</vt:bool>
  </property>
  <property fmtid="{D5CDD505-2E9C-101B-9397-08002B2CF9AE}" pid="44" name="chkPrep">
    <vt:bool>true</vt:bool>
  </property>
  <property fmtid="{D5CDD505-2E9C-101B-9397-08002B2CF9AE}" pid="45" name="chkAppr">
    <vt:bool>true</vt:bool>
  </property>
  <property fmtid="{D5CDD505-2E9C-101B-9397-08002B2CF9AE}" pid="46" name="chkDocNo">
    <vt:bool>true</vt:bool>
  </property>
  <property fmtid="{D5CDD505-2E9C-101B-9397-08002B2CF9AE}" pid="47" name="chkRev">
    <vt:bool>true</vt:bool>
  </property>
  <property fmtid="{D5CDD505-2E9C-101B-9397-08002B2CF9AE}" pid="48" name="chkTitle">
    <vt:bool>false</vt:bool>
  </property>
  <property fmtid="{D5CDD505-2E9C-101B-9397-08002B2CF9AE}" pid="49" name="chkConf">
    <vt:bool>true</vt:bool>
  </property>
  <property fmtid="{D5CDD505-2E9C-101B-9397-08002B2CF9AE}" pid="50" name="ExtConf">
    <vt:lpwstr/>
  </property>
  <property fmtid="{D5CDD505-2E9C-101B-9397-08002B2CF9AE}" pid="51" name="chkDate">
    <vt:bool>true</vt:bool>
  </property>
  <property fmtid="{D5CDD505-2E9C-101B-9397-08002B2CF9AE}" pid="52" name="chkExtConf">
    <vt:bool>false</vt:bool>
  </property>
  <property fmtid="{D5CDD505-2E9C-101B-9397-08002B2CF9AE}" pid="53" name="Prepared">
    <vt:lpwstr>ERANMOO Ranu Moodley</vt:lpwstr>
  </property>
  <property fmtid="{D5CDD505-2E9C-101B-9397-08002B2CF9AE}" pid="54" name="BCategory">
    <vt:lpwstr>Service Development &amp; Delivery</vt:lpwstr>
  </property>
  <property fmtid="{D5CDD505-2E9C-101B-9397-08002B2CF9AE}" pid="55" name="BSubject">
    <vt:lpwstr>Process, Information &amp; Master Data Management</vt:lpwstr>
  </property>
  <property fmtid="{D5CDD505-2E9C-101B-9397-08002B2CF9AE}" pid="56" name="DocType">
    <vt:lpwstr>Guideline</vt:lpwstr>
  </property>
  <property fmtid="{D5CDD505-2E9C-101B-9397-08002B2CF9AE}" pid="57" name="DocName">
    <vt:lpwstr>GUIDELINES</vt:lpwstr>
  </property>
  <property fmtid="{D5CDD505-2E9C-101B-9397-08002B2CF9AE}" pid="58" name="DocNo">
    <vt:lpwstr>019/0113-1 Uen</vt:lpwstr>
  </property>
  <property fmtid="{D5CDD505-2E9C-101B-9397-08002B2CF9AE}" pid="59" name="ApprovedBy">
    <vt:lpwstr/>
  </property>
  <property fmtid="{D5CDD505-2E9C-101B-9397-08002B2CF9AE}" pid="60" name="Date">
    <vt:lpwstr>2019-06-19</vt:lpwstr>
  </property>
  <property fmtid="{D5CDD505-2E9C-101B-9397-08002B2CF9AE}" pid="61" name="Title">
    <vt:lpwstr>Change Management GUIDE SDOD GC CR CCB</vt:lpwstr>
  </property>
  <property fmtid="{D5CDD505-2E9C-101B-9397-08002B2CF9AE}" pid="62" name="Revision">
    <vt:lpwstr>PB3</vt:lpwstr>
  </property>
</Properties>
</file>